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5.xml" ContentType="application/vnd.openxmlformats-officedocument.them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6.xml" ContentType="application/vnd.openxmlformats-officedocument.them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3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3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5.xml" ContentType="application/vnd.openxmlformats-officedocument.drawingml.chart+xml"/>
  <Override PartName="/ppt/notesSlides/notesSlide17.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20.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21.xml" ContentType="application/vnd.openxmlformats-officedocument.presentationml.notesSlide+xml"/>
  <Override PartName="/ppt/charts/chart12.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3.xml" ContentType="application/vnd.openxmlformats-officedocument.drawingml.chart+xml"/>
  <Override PartName="/ppt/charts/style5.xml" ContentType="application/vnd.ms-office.chartstyle+xml"/>
  <Override PartName="/ppt/charts/colors5.xml" ContentType="application/vnd.ms-office.chartcolorstyle+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8"/>
    <p:sldMasterId id="2147483696" r:id="rId9"/>
    <p:sldMasterId id="2147483733" r:id="rId10"/>
    <p:sldMasterId id="2147483779" r:id="rId11"/>
    <p:sldMasterId id="2147483818" r:id="rId12"/>
    <p:sldMasterId id="2147483856" r:id="rId13"/>
    <p:sldMasterId id="2147483894" r:id="rId14"/>
  </p:sldMasterIdLst>
  <p:notesMasterIdLst>
    <p:notesMasterId r:id="rId73"/>
  </p:notesMasterIdLst>
  <p:sldIdLst>
    <p:sldId id="302" r:id="rId15"/>
    <p:sldId id="2147483536" r:id="rId16"/>
    <p:sldId id="2147472002" r:id="rId17"/>
    <p:sldId id="2147483537" r:id="rId18"/>
    <p:sldId id="2147483241" r:id="rId19"/>
    <p:sldId id="2147471927" r:id="rId20"/>
    <p:sldId id="265" r:id="rId21"/>
    <p:sldId id="996" r:id="rId22"/>
    <p:sldId id="2134804850" r:id="rId23"/>
    <p:sldId id="2147471999" r:id="rId24"/>
    <p:sldId id="2096975438" r:id="rId25"/>
    <p:sldId id="2147472003" r:id="rId26"/>
    <p:sldId id="2147483603" r:id="rId27"/>
    <p:sldId id="2147483602" r:id="rId28"/>
    <p:sldId id="2147471984" r:id="rId29"/>
    <p:sldId id="2147483604" r:id="rId30"/>
    <p:sldId id="2147471905" r:id="rId31"/>
    <p:sldId id="2147471954" r:id="rId32"/>
    <p:sldId id="2147483452" r:id="rId33"/>
    <p:sldId id="522" r:id="rId34"/>
    <p:sldId id="5952" r:id="rId35"/>
    <p:sldId id="326" r:id="rId36"/>
    <p:sldId id="2147483611" r:id="rId37"/>
    <p:sldId id="394" r:id="rId38"/>
    <p:sldId id="393" r:id="rId39"/>
    <p:sldId id="395" r:id="rId40"/>
    <p:sldId id="396" r:id="rId41"/>
    <p:sldId id="482" r:id="rId42"/>
    <p:sldId id="2147480908" r:id="rId43"/>
    <p:sldId id="374" r:id="rId44"/>
    <p:sldId id="2147480188" r:id="rId45"/>
    <p:sldId id="2147483612" r:id="rId46"/>
    <p:sldId id="321" r:id="rId47"/>
    <p:sldId id="2147480918" r:id="rId48"/>
    <p:sldId id="2147480921" r:id="rId49"/>
    <p:sldId id="2147480919" r:id="rId50"/>
    <p:sldId id="2147480920" r:id="rId51"/>
    <p:sldId id="2147480922" r:id="rId52"/>
    <p:sldId id="2147480923" r:id="rId53"/>
    <p:sldId id="2147480924" r:id="rId54"/>
    <p:sldId id="2147483615" r:id="rId55"/>
    <p:sldId id="2147483614" r:id="rId56"/>
    <p:sldId id="256" r:id="rId57"/>
    <p:sldId id="257" r:id="rId58"/>
    <p:sldId id="258" r:id="rId59"/>
    <p:sldId id="259" r:id="rId60"/>
    <p:sldId id="260" r:id="rId61"/>
    <p:sldId id="261" r:id="rId62"/>
    <p:sldId id="275" r:id="rId63"/>
    <p:sldId id="264" r:id="rId64"/>
    <p:sldId id="266" r:id="rId65"/>
    <p:sldId id="267" r:id="rId66"/>
    <p:sldId id="268" r:id="rId67"/>
    <p:sldId id="269" r:id="rId68"/>
    <p:sldId id="270" r:id="rId69"/>
    <p:sldId id="272" r:id="rId70"/>
    <p:sldId id="2147483531" r:id="rId71"/>
    <p:sldId id="2147483533"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694C963A-18E1-DB85-B554-7938796198D9}" name="JGHB (Jigish Bhavsar)" initials="JB" userId="S::JGHB@novonordisk.com::8028647f-a0ad-4949-9c24-ccb9a19b8ea8" providerId="AD"/>
  <p188:author id="{C22225AE-5C79-4651-B364-25AE925C46C3}" name="JEZD (Jake Zondagh)" initials="JZ" userId="S::JEZD@novonordisk.com::7a4332f6-eff2-45eb-9cfb-dbd7d0ec5bc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94624" autoAdjust="0"/>
  </p:normalViewPr>
  <p:slideViewPr>
    <p:cSldViewPr>
      <p:cViewPr varScale="1">
        <p:scale>
          <a:sx n="150" d="100"/>
          <a:sy n="150" d="100"/>
        </p:scale>
        <p:origin x="432" y="12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60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16" Type="http://schemas.openxmlformats.org/officeDocument/2006/relationships/slide" Target="slides/slide2.xml"/><Relationship Id="rId11" Type="http://schemas.openxmlformats.org/officeDocument/2006/relationships/slideMaster" Target="slideMasters/slideMaster4.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7.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37.xml"/><Relationship Id="rId72" Type="http://schemas.openxmlformats.org/officeDocument/2006/relationships/slide" Target="slides/slide58.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3.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notesMaster" Target="notesMasters/notesMaster1.xml"/><Relationship Id="rId78"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B1D5F2"/>
            </a:solidFill>
            <a:ln>
              <a:noFill/>
            </a:ln>
          </c:spPr>
          <c:dPt>
            <c:idx val="0"/>
            <c:bubble3D val="0"/>
            <c:spPr>
              <a:solidFill>
                <a:srgbClr val="3B97DE"/>
              </a:solidFill>
              <a:ln w="19050">
                <a:noFill/>
              </a:ln>
              <a:effectLst/>
            </c:spPr>
            <c:extLst>
              <c:ext xmlns:c16="http://schemas.microsoft.com/office/drawing/2014/chart" uri="{C3380CC4-5D6E-409C-BE32-E72D297353CC}">
                <c16:uniqueId val="{00000001-D5A0-4CAF-8B51-830FCCE27E53}"/>
              </c:ext>
            </c:extLst>
          </c:dPt>
          <c:dPt>
            <c:idx val="1"/>
            <c:bubble3D val="0"/>
            <c:spPr>
              <a:solidFill>
                <a:srgbClr val="B1D5F2"/>
              </a:solidFill>
              <a:ln w="19050">
                <a:noFill/>
              </a:ln>
              <a:effectLst/>
            </c:spPr>
            <c:extLst>
              <c:ext xmlns:c16="http://schemas.microsoft.com/office/drawing/2014/chart" uri="{C3380CC4-5D6E-409C-BE32-E72D297353CC}">
                <c16:uniqueId val="{00000003-D5A0-4CAF-8B51-830FCCE27E53}"/>
              </c:ext>
            </c:extLst>
          </c:dPt>
          <c:cat>
            <c:strRef>
              <c:f>Sheet1!$A$2:$A$3</c:f>
              <c:strCache>
                <c:ptCount val="2"/>
                <c:pt idx="0">
                  <c:v>1st Qtr</c:v>
                </c:pt>
                <c:pt idx="1">
                  <c:v>2nd Qtr</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D5A0-4CAF-8B51-830FCCE27E5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74194669264811"/>
          <c:y val="0.10469813583872778"/>
          <c:w val="0.86087375411019007"/>
          <c:h val="0.83448625957867995"/>
        </c:manualLayout>
      </c:layout>
      <c:barChart>
        <c:barDir val="col"/>
        <c:grouping val="clustered"/>
        <c:varyColors val="0"/>
        <c:ser>
          <c:idx val="0"/>
          <c:order val="0"/>
          <c:tx>
            <c:strRef>
              <c:f>Sheet1!$B$1</c:f>
              <c:strCache>
                <c:ptCount val="1"/>
                <c:pt idx="0">
                  <c:v>Treatment policy</c:v>
                </c:pt>
              </c:strCache>
            </c:strRef>
          </c:tx>
          <c:spPr>
            <a:solidFill>
              <a:srgbClr val="82786F"/>
            </a:solidFill>
            <a:ln>
              <a:noFill/>
            </a:ln>
            <a:effectLst/>
          </c:spPr>
          <c:invertIfNegative val="0"/>
          <c:dPt>
            <c:idx val="0"/>
            <c:invertIfNegative val="0"/>
            <c:bubble3D val="0"/>
            <c:spPr>
              <a:solidFill>
                <a:srgbClr val="001965"/>
              </a:solidFill>
              <a:ln w="25400">
                <a:noFill/>
              </a:ln>
              <a:effectLst/>
            </c:spPr>
            <c:extLst>
              <c:ext xmlns:c16="http://schemas.microsoft.com/office/drawing/2014/chart" uri="{C3380CC4-5D6E-409C-BE32-E72D297353CC}">
                <c16:uniqueId val="{00000001-B65A-495C-BAAD-D2B60D7E44F4}"/>
              </c:ext>
            </c:extLst>
          </c:dPt>
          <c:dPt>
            <c:idx val="1"/>
            <c:invertIfNegative val="0"/>
            <c:bubble3D val="0"/>
            <c:spPr>
              <a:solidFill>
                <a:srgbClr val="939AA7"/>
              </a:solidFill>
              <a:ln w="25400">
                <a:noFill/>
              </a:ln>
              <a:effectLst/>
            </c:spPr>
            <c:extLst>
              <c:ext xmlns:c16="http://schemas.microsoft.com/office/drawing/2014/chart" uri="{C3380CC4-5D6E-409C-BE32-E72D297353CC}">
                <c16:uniqueId val="{00000002-B65A-495C-BAAD-D2B60D7E44F4}"/>
              </c:ext>
            </c:extLst>
          </c:dPt>
          <c:dLbls>
            <c:numFmt formatCode="0.0" sourceLinked="0"/>
            <c:spPr>
              <a:noFill/>
              <a:ln>
                <a:noFill/>
              </a:ln>
              <a:effectLst/>
            </c:spPr>
            <c:txPr>
              <a:bodyPr rot="0" vert="horz"/>
              <a:lstStyle/>
              <a:p>
                <a:pPr>
                  <a:defRPr b="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maglutide 2.4 mg</c:v>
                </c:pt>
                <c:pt idx="1">
                  <c:v>Placebo</c:v>
                </c:pt>
              </c:strCache>
            </c:strRef>
          </c:cat>
          <c:val>
            <c:numRef>
              <c:f>Sheet1!$B$2:$B$3</c:f>
              <c:numCache>
                <c:formatCode>General</c:formatCode>
                <c:ptCount val="2"/>
                <c:pt idx="0">
                  <c:v>-7.9</c:v>
                </c:pt>
                <c:pt idx="1">
                  <c:v>6.9</c:v>
                </c:pt>
              </c:numCache>
            </c:numRef>
          </c:val>
          <c:extLst>
            <c:ext xmlns:c16="http://schemas.microsoft.com/office/drawing/2014/chart" uri="{C3380CC4-5D6E-409C-BE32-E72D297353CC}">
              <c16:uniqueId val="{00000003-B65A-495C-BAAD-D2B60D7E44F4}"/>
            </c:ext>
          </c:extLst>
        </c:ser>
        <c:ser>
          <c:idx val="1"/>
          <c:order val="1"/>
          <c:tx>
            <c:strRef>
              <c:f>Sheet1!$C$1</c:f>
              <c:strCache>
                <c:ptCount val="1"/>
                <c:pt idx="0">
                  <c:v>Trial product estimand</c:v>
                </c:pt>
              </c:strCache>
            </c:strRef>
          </c:tx>
          <c:spPr>
            <a:solidFill>
              <a:srgbClr val="7381AA"/>
            </a:solidFill>
            <a:ln w="25400">
              <a:noFill/>
            </a:ln>
            <a:effectLst/>
          </c:spPr>
          <c:invertIfNegative val="0"/>
          <c:dPt>
            <c:idx val="0"/>
            <c:invertIfNegative val="0"/>
            <c:bubble3D val="0"/>
            <c:spPr>
              <a:solidFill>
                <a:srgbClr val="001965">
                  <a:alpha val="60000"/>
                </a:srgbClr>
              </a:solidFill>
              <a:ln w="25400">
                <a:noFill/>
              </a:ln>
              <a:effectLst/>
            </c:spPr>
            <c:extLst>
              <c:ext xmlns:c16="http://schemas.microsoft.com/office/drawing/2014/chart" uri="{C3380CC4-5D6E-409C-BE32-E72D297353CC}">
                <c16:uniqueId val="{00000007-B65A-495C-BAAD-D2B60D7E44F4}"/>
              </c:ext>
            </c:extLst>
          </c:dPt>
          <c:dPt>
            <c:idx val="1"/>
            <c:invertIfNegative val="0"/>
            <c:bubble3D val="0"/>
            <c:spPr>
              <a:solidFill>
                <a:srgbClr val="939AA7">
                  <a:alpha val="55000"/>
                </a:srgbClr>
              </a:solidFill>
              <a:ln w="25400">
                <a:noFill/>
              </a:ln>
              <a:effectLst/>
            </c:spPr>
            <c:extLst>
              <c:ext xmlns:c16="http://schemas.microsoft.com/office/drawing/2014/chart" uri="{C3380CC4-5D6E-409C-BE32-E72D297353CC}">
                <c16:uniqueId val="{00000005-B65A-495C-BAAD-D2B60D7E44F4}"/>
              </c:ext>
            </c:extLst>
          </c:dPt>
          <c:dLbls>
            <c:numFmt formatCode="0.0" sourceLinked="0"/>
            <c:spPr>
              <a:noFill/>
              <a:ln>
                <a:noFill/>
              </a:ln>
              <a:effectLst/>
            </c:spPr>
            <c:txPr>
              <a:bodyPr rot="0" vert="horz"/>
              <a:lstStyle/>
              <a:p>
                <a:pPr>
                  <a:defRPr b="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maglutide 2.4 mg</c:v>
                </c:pt>
                <c:pt idx="1">
                  <c:v>Placebo</c:v>
                </c:pt>
              </c:strCache>
            </c:strRef>
          </c:cat>
          <c:val>
            <c:numRef>
              <c:f>Sheet1!$C$2:$C$3</c:f>
              <c:numCache>
                <c:formatCode>General</c:formatCode>
                <c:ptCount val="2"/>
                <c:pt idx="0">
                  <c:v>-8.8000000000000007</c:v>
                </c:pt>
                <c:pt idx="1">
                  <c:v>6.5</c:v>
                </c:pt>
              </c:numCache>
            </c:numRef>
          </c:val>
          <c:extLst>
            <c:ext xmlns:c16="http://schemas.microsoft.com/office/drawing/2014/chart" uri="{C3380CC4-5D6E-409C-BE32-E72D297353CC}">
              <c16:uniqueId val="{00000006-B65A-495C-BAAD-D2B60D7E44F4}"/>
            </c:ext>
          </c:extLst>
        </c:ser>
        <c:dLbls>
          <c:showLegendKey val="0"/>
          <c:showVal val="0"/>
          <c:showCatName val="0"/>
          <c:showSerName val="0"/>
          <c:showPercent val="0"/>
          <c:showBubbleSize val="0"/>
        </c:dLbls>
        <c:gapWidth val="42"/>
        <c:overlap val="-10"/>
        <c:axId val="728001360"/>
        <c:axId val="728003000"/>
      </c:barChart>
      <c:catAx>
        <c:axId val="728001360"/>
        <c:scaling>
          <c:orientation val="minMax"/>
        </c:scaling>
        <c:delete val="0"/>
        <c:axPos val="b"/>
        <c:numFmt formatCode="General" sourceLinked="1"/>
        <c:majorTickMark val="none"/>
        <c:minorTickMark val="none"/>
        <c:tickLblPos val="high"/>
        <c:spPr>
          <a:noFill/>
          <a:ln w="12700" cap="flat" cmpd="sng" algn="ctr">
            <a:solidFill>
              <a:srgbClr val="001965"/>
            </a:solidFill>
            <a:round/>
          </a:ln>
          <a:effectLst/>
        </c:spPr>
        <c:txPr>
          <a:bodyPr rot="-60000000" vert="horz" anchor="b" anchorCtr="0"/>
          <a:lstStyle/>
          <a:p>
            <a:pPr>
              <a:defRPr sz="120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3000"/>
        <c:crosses val="autoZero"/>
        <c:auto val="1"/>
        <c:lblAlgn val="ctr"/>
        <c:lblOffset val="0"/>
        <c:noMultiLvlLbl val="0"/>
      </c:catAx>
      <c:valAx>
        <c:axId val="728003000"/>
        <c:scaling>
          <c:orientation val="minMax"/>
          <c:min val="-15"/>
        </c:scaling>
        <c:delete val="1"/>
        <c:axPos val="l"/>
        <c:numFmt formatCode="General" sourceLinked="1"/>
        <c:majorTickMark val="out"/>
        <c:minorTickMark val="none"/>
        <c:tickLblPos val="nextTo"/>
        <c:crossAx val="728001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pPr>
      <a:endParaRPr lang="en-US"/>
    </a:p>
  </c:txPr>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72440514999947"/>
          <c:y val="8.784436682177342E-2"/>
          <c:w val="0.84246798574377357"/>
          <c:h val="0.74121895768280621"/>
        </c:manualLayout>
      </c:layout>
      <c:scatterChart>
        <c:scatterStyle val="lineMarker"/>
        <c:varyColors val="0"/>
        <c:ser>
          <c:idx val="2"/>
          <c:order val="0"/>
          <c:tx>
            <c:strRef>
              <c:f>Data!$B$1</c:f>
              <c:strCache>
                <c:ptCount val="1"/>
                <c:pt idx="0">
                  <c:v>Sema 2.4 mg - IT</c:v>
                </c:pt>
              </c:strCache>
            </c:strRef>
          </c:tx>
          <c:spPr>
            <a:ln w="19050">
              <a:solidFill>
                <a:srgbClr val="001965"/>
              </a:solidFill>
            </a:ln>
          </c:spPr>
          <c:marker>
            <c:symbol val="none"/>
          </c:marker>
          <c:errBars>
            <c:errDir val="y"/>
            <c:errBarType val="both"/>
            <c:errValType val="cust"/>
            <c:noEndCap val="1"/>
            <c:plus>
              <c:numRef>
                <c:f>Data!$E$2:$E$19</c:f>
                <c:numCache>
                  <c:formatCode>General</c:formatCode>
                  <c:ptCount val="18"/>
                  <c:pt idx="0">
                    <c:v>0</c:v>
                  </c:pt>
                  <c:pt idx="1">
                    <c:v>7.079673205738457E-2</c:v>
                  </c:pt>
                  <c:pt idx="2">
                    <c:v>0.11141482747081799</c:v>
                  </c:pt>
                  <c:pt idx="3">
                    <c:v>0.1807045608634823</c:v>
                  </c:pt>
                  <c:pt idx="4">
                    <c:v>0.23326224259305217</c:v>
                  </c:pt>
                  <c:pt idx="5">
                    <c:v>0.27775541361564393</c:v>
                  </c:pt>
                  <c:pt idx="6">
                    <c:v>0.31474418953184369</c:v>
                  </c:pt>
                  <c:pt idx="7">
                    <c:v>0.35381351478267931</c:v>
                  </c:pt>
                </c:numCache>
              </c:numRef>
            </c:plus>
            <c:minus>
              <c:numRef>
                <c:f>Data!$E$2:$E$19</c:f>
                <c:numCache>
                  <c:formatCode>General</c:formatCode>
                  <c:ptCount val="18"/>
                  <c:pt idx="0">
                    <c:v>0</c:v>
                  </c:pt>
                  <c:pt idx="1">
                    <c:v>7.079673205738457E-2</c:v>
                  </c:pt>
                  <c:pt idx="2">
                    <c:v>0.11141482747081799</c:v>
                  </c:pt>
                  <c:pt idx="3">
                    <c:v>0.1807045608634823</c:v>
                  </c:pt>
                  <c:pt idx="4">
                    <c:v>0.23326224259305217</c:v>
                  </c:pt>
                  <c:pt idx="5">
                    <c:v>0.27775541361564393</c:v>
                  </c:pt>
                  <c:pt idx="6">
                    <c:v>0.31474418953184369</c:v>
                  </c:pt>
                  <c:pt idx="7">
                    <c:v>0.35381351478267931</c:v>
                  </c:pt>
                </c:numCache>
              </c:numRef>
            </c:minus>
            <c:spPr>
              <a:ln w="19050">
                <a:solidFill>
                  <a:schemeClr val="tx2"/>
                </a:solidFill>
              </a:ln>
            </c:spPr>
          </c:errBars>
          <c:xVal>
            <c:numRef>
              <c:f>Data!$A$2:$A$19</c:f>
              <c:numCache>
                <c:formatCode>General</c:formatCode>
                <c:ptCount val="18"/>
                <c:pt idx="0">
                  <c:v>20</c:v>
                </c:pt>
                <c:pt idx="1">
                  <c:v>24</c:v>
                </c:pt>
                <c:pt idx="2">
                  <c:v>28</c:v>
                </c:pt>
                <c:pt idx="3">
                  <c:v>36</c:v>
                </c:pt>
                <c:pt idx="4">
                  <c:v>44</c:v>
                </c:pt>
                <c:pt idx="5">
                  <c:v>52</c:v>
                </c:pt>
                <c:pt idx="6">
                  <c:v>60</c:v>
                </c:pt>
                <c:pt idx="7">
                  <c:v>68</c:v>
                </c:pt>
              </c:numCache>
            </c:numRef>
          </c:xVal>
          <c:yVal>
            <c:numRef>
              <c:f>Data!$B$2:$B$19</c:f>
              <c:numCache>
                <c:formatCode>General</c:formatCode>
                <c:ptCount val="18"/>
                <c:pt idx="0">
                  <c:v>0</c:v>
                </c:pt>
                <c:pt idx="1">
                  <c:v>-1.5931551821015963</c:v>
                </c:pt>
                <c:pt idx="2">
                  <c:v>-3.0515914342032744</c:v>
                </c:pt>
                <c:pt idx="3">
                  <c:v>-5.2314468483832091</c:v>
                </c:pt>
                <c:pt idx="4">
                  <c:v>-6.7556430706344788</c:v>
                </c:pt>
                <c:pt idx="5">
                  <c:v>-7.6928448165863896</c:v>
                </c:pt>
                <c:pt idx="6">
                  <c:v>-8.1944197994454786</c:v>
                </c:pt>
                <c:pt idx="7">
                  <c:v>-8.2504784470800701</c:v>
                </c:pt>
              </c:numCache>
            </c:numRef>
          </c:yVal>
          <c:smooth val="0"/>
          <c:extLst>
            <c:ext xmlns:c16="http://schemas.microsoft.com/office/drawing/2014/chart" uri="{C3380CC4-5D6E-409C-BE32-E72D297353CC}">
              <c16:uniqueId val="{00000000-5598-47E3-90BF-5B82FAA4744D}"/>
            </c:ext>
          </c:extLst>
        </c:ser>
        <c:ser>
          <c:idx val="0"/>
          <c:order val="1"/>
          <c:tx>
            <c:strRef>
              <c:f>Data!$C$1</c:f>
              <c:strCache>
                <c:ptCount val="1"/>
                <c:pt idx="0">
                  <c:v>Placebo - IT</c:v>
                </c:pt>
              </c:strCache>
            </c:strRef>
          </c:tx>
          <c:spPr>
            <a:ln w="19050">
              <a:solidFill>
                <a:srgbClr val="939AA7"/>
              </a:solidFill>
            </a:ln>
          </c:spPr>
          <c:marker>
            <c:symbol val="none"/>
          </c:marker>
          <c:errBars>
            <c:errDir val="y"/>
            <c:errBarType val="both"/>
            <c:errValType val="cust"/>
            <c:noEndCap val="1"/>
            <c:plus>
              <c:numRef>
                <c:f>Data!$G$2:$G$19</c:f>
                <c:numCache>
                  <c:formatCode>General</c:formatCode>
                  <c:ptCount val="18"/>
                  <c:pt idx="0">
                    <c:v>0</c:v>
                  </c:pt>
                  <c:pt idx="1">
                    <c:v>0.10065481327278225</c:v>
                  </c:pt>
                  <c:pt idx="2">
                    <c:v>0.15203750370348024</c:v>
                  </c:pt>
                  <c:pt idx="3">
                    <c:v>0.25283949076647927</c:v>
                  </c:pt>
                  <c:pt idx="4">
                    <c:v>0.32437040626447278</c:v>
                  </c:pt>
                  <c:pt idx="5">
                    <c:v>0.38371141717701462</c:v>
                  </c:pt>
                  <c:pt idx="6">
                    <c:v>0.45295823377261524</c:v>
                  </c:pt>
                  <c:pt idx="7">
                    <c:v>0.48692560270510388</c:v>
                  </c:pt>
                </c:numCache>
              </c:numRef>
            </c:plus>
            <c:minus>
              <c:numRef>
                <c:f>Data!$G$2:$G$19</c:f>
                <c:numCache>
                  <c:formatCode>General</c:formatCode>
                  <c:ptCount val="18"/>
                  <c:pt idx="0">
                    <c:v>0</c:v>
                  </c:pt>
                  <c:pt idx="1">
                    <c:v>0.10065481327278225</c:v>
                  </c:pt>
                  <c:pt idx="2">
                    <c:v>0.15203750370348024</c:v>
                  </c:pt>
                  <c:pt idx="3">
                    <c:v>0.25283949076647927</c:v>
                  </c:pt>
                  <c:pt idx="4">
                    <c:v>0.32437040626447278</c:v>
                  </c:pt>
                  <c:pt idx="5">
                    <c:v>0.38371141717701462</c:v>
                  </c:pt>
                  <c:pt idx="6">
                    <c:v>0.45295823377261524</c:v>
                  </c:pt>
                  <c:pt idx="7">
                    <c:v>0.48692560270510388</c:v>
                  </c:pt>
                </c:numCache>
              </c:numRef>
            </c:minus>
            <c:spPr>
              <a:ln w="19050">
                <a:solidFill>
                  <a:srgbClr val="939AA7"/>
                </a:solidFill>
              </a:ln>
            </c:spPr>
          </c:errBars>
          <c:xVal>
            <c:numRef>
              <c:f>Data!$A$2:$A$19</c:f>
              <c:numCache>
                <c:formatCode>General</c:formatCode>
                <c:ptCount val="18"/>
                <c:pt idx="0">
                  <c:v>20</c:v>
                </c:pt>
                <c:pt idx="1">
                  <c:v>24</c:v>
                </c:pt>
                <c:pt idx="2">
                  <c:v>28</c:v>
                </c:pt>
                <c:pt idx="3">
                  <c:v>36</c:v>
                </c:pt>
                <c:pt idx="4">
                  <c:v>44</c:v>
                </c:pt>
                <c:pt idx="5">
                  <c:v>52</c:v>
                </c:pt>
                <c:pt idx="6">
                  <c:v>60</c:v>
                </c:pt>
                <c:pt idx="7">
                  <c:v>68</c:v>
                </c:pt>
              </c:numCache>
            </c:numRef>
          </c:xVal>
          <c:yVal>
            <c:numRef>
              <c:f>Data!$C$2:$C$19</c:f>
              <c:numCache>
                <c:formatCode>General</c:formatCode>
                <c:ptCount val="18"/>
                <c:pt idx="0">
                  <c:v>0</c:v>
                </c:pt>
                <c:pt idx="1">
                  <c:v>0.55931777913355296</c:v>
                </c:pt>
                <c:pt idx="2">
                  <c:v>1.5317475639730735</c:v>
                </c:pt>
                <c:pt idx="3">
                  <c:v>2.7066106128866476</c:v>
                </c:pt>
                <c:pt idx="4">
                  <c:v>3.7282531089190702</c:v>
                </c:pt>
                <c:pt idx="5">
                  <c:v>4.3953935842455119</c:v>
                </c:pt>
                <c:pt idx="6">
                  <c:v>5.2595105727880886</c:v>
                </c:pt>
                <c:pt idx="7">
                  <c:v>6.5057175436614836</c:v>
                </c:pt>
              </c:numCache>
            </c:numRef>
          </c:yVal>
          <c:smooth val="0"/>
          <c:extLst>
            <c:ext xmlns:c16="http://schemas.microsoft.com/office/drawing/2014/chart" uri="{C3380CC4-5D6E-409C-BE32-E72D297353CC}">
              <c16:uniqueId val="{00000001-5598-47E3-90BF-5B82FAA4744D}"/>
            </c:ext>
          </c:extLst>
        </c:ser>
        <c:dLbls>
          <c:showLegendKey val="0"/>
          <c:showVal val="0"/>
          <c:showCatName val="0"/>
          <c:showSerName val="0"/>
          <c:showPercent val="0"/>
          <c:showBubbleSize val="0"/>
        </c:dLbls>
        <c:axId val="603757568"/>
        <c:axId val="603767552"/>
        <c:extLst>
          <c:ext xmlns:c15="http://schemas.microsoft.com/office/drawing/2012/chart" uri="{02D57815-91ED-43cb-92C2-25804820EDAC}">
            <c15:filteredScatterSeries>
              <c15:ser>
                <c:idx val="1"/>
                <c:order val="2"/>
                <c:tx>
                  <c:strRef>
                    <c:extLst>
                      <c:ext uri="{02D57815-91ED-43cb-92C2-25804820EDAC}">
                        <c15:formulaRef>
                          <c15:sqref>Data!$B$21</c15:sqref>
                        </c15:formulaRef>
                      </c:ext>
                    </c:extLst>
                    <c:strCache>
                      <c:ptCount val="1"/>
                      <c:pt idx="0">
                        <c:v>Sema 2.4 mg - OT</c:v>
                      </c:pt>
                    </c:strCache>
                  </c:strRef>
                </c:tx>
                <c:spPr>
                  <a:ln w="38100">
                    <a:solidFill>
                      <a:srgbClr val="6675A3"/>
                    </a:solidFill>
                  </a:ln>
                </c:spPr>
                <c:marker>
                  <c:symbol val="none"/>
                </c:marker>
                <c:errBars>
                  <c:errDir val="y"/>
                  <c:errBarType val="both"/>
                  <c:errValType val="cust"/>
                  <c:noEndCap val="1"/>
                  <c:plus>
                    <c:numRef>
                      <c:extLst>
                        <c:ext uri="{02D57815-91ED-43cb-92C2-25804820EDAC}">
                          <c15:formulaRef>
                            <c15:sqref>Data!$E$22:$E$39</c15:sqref>
                          </c15:formulaRef>
                        </c:ext>
                      </c:extLst>
                      <c:numCache>
                        <c:formatCode>General</c:formatCode>
                        <c:ptCount val="18"/>
                        <c:pt idx="0">
                          <c:v>0</c:v>
                        </c:pt>
                        <c:pt idx="1">
                          <c:v>7.0880715843427922E-2</c:v>
                        </c:pt>
                        <c:pt idx="2">
                          <c:v>0.1112104493172601</c:v>
                        </c:pt>
                        <c:pt idx="3">
                          <c:v>0.17984864537005674</c:v>
                        </c:pt>
                        <c:pt idx="4">
                          <c:v>0.2310779538963148</c:v>
                        </c:pt>
                        <c:pt idx="5">
                          <c:v>0.27540197021172297</c:v>
                        </c:pt>
                        <c:pt idx="6">
                          <c:v>0.31021813649052454</c:v>
                        </c:pt>
                        <c:pt idx="7">
                          <c:v>0.35034276912960927</c:v>
                        </c:pt>
                      </c:numCache>
                    </c:numRef>
                  </c:plus>
                  <c:minus>
                    <c:numRef>
                      <c:extLst>
                        <c:ext uri="{02D57815-91ED-43cb-92C2-25804820EDAC}">
                          <c15:formulaRef>
                            <c15:sqref>Data!$E$22:$E$39</c15:sqref>
                          </c15:formulaRef>
                        </c:ext>
                      </c:extLst>
                      <c:numCache>
                        <c:formatCode>General</c:formatCode>
                        <c:ptCount val="18"/>
                        <c:pt idx="0">
                          <c:v>0</c:v>
                        </c:pt>
                        <c:pt idx="1">
                          <c:v>7.0880715843427922E-2</c:v>
                        </c:pt>
                        <c:pt idx="2">
                          <c:v>0.1112104493172601</c:v>
                        </c:pt>
                        <c:pt idx="3">
                          <c:v>0.17984864537005674</c:v>
                        </c:pt>
                        <c:pt idx="4">
                          <c:v>0.2310779538963148</c:v>
                        </c:pt>
                        <c:pt idx="5">
                          <c:v>0.27540197021172297</c:v>
                        </c:pt>
                        <c:pt idx="6">
                          <c:v>0.31021813649052454</c:v>
                        </c:pt>
                        <c:pt idx="7">
                          <c:v>0.35034276912960927</c:v>
                        </c:pt>
                      </c:numCache>
                    </c:numRef>
                  </c:minus>
                  <c:spPr>
                    <a:ln w="19050">
                      <a:solidFill>
                        <a:srgbClr val="6675A3"/>
                      </a:solidFill>
                    </a:ln>
                  </c:spPr>
                </c:errBars>
                <c:xVal>
                  <c:numRef>
                    <c:extLst>
                      <c:ext uri="{02D57815-91ED-43cb-92C2-25804820EDAC}">
                        <c15:formulaRef>
                          <c15:sqref>Data!$A$22:$A$39</c15:sqref>
                        </c15:formulaRef>
                      </c:ext>
                    </c:extLst>
                    <c:numCache>
                      <c:formatCode>General</c:formatCode>
                      <c:ptCount val="18"/>
                      <c:pt idx="0">
                        <c:v>20</c:v>
                      </c:pt>
                      <c:pt idx="1">
                        <c:v>24</c:v>
                      </c:pt>
                      <c:pt idx="2">
                        <c:v>28</c:v>
                      </c:pt>
                      <c:pt idx="3">
                        <c:v>36</c:v>
                      </c:pt>
                      <c:pt idx="4">
                        <c:v>44</c:v>
                      </c:pt>
                      <c:pt idx="5">
                        <c:v>52</c:v>
                      </c:pt>
                      <c:pt idx="6">
                        <c:v>60</c:v>
                      </c:pt>
                      <c:pt idx="7">
                        <c:v>68</c:v>
                      </c:pt>
                    </c:numCache>
                  </c:numRef>
                </c:xVal>
                <c:yVal>
                  <c:numRef>
                    <c:extLst>
                      <c:ext uri="{02D57815-91ED-43cb-92C2-25804820EDAC}">
                        <c15:formulaRef>
                          <c15:sqref>Data!$B$22:$B$39</c15:sqref>
                        </c15:formulaRef>
                      </c:ext>
                    </c:extLst>
                    <c:numCache>
                      <c:formatCode>General</c:formatCode>
                      <c:ptCount val="18"/>
                      <c:pt idx="0">
                        <c:v>0</c:v>
                      </c:pt>
                      <c:pt idx="1">
                        <c:v>-1.5966124638273282</c:v>
                      </c:pt>
                      <c:pt idx="2">
                        <c:v>-3.079747118231372</c:v>
                      </c:pt>
                      <c:pt idx="3">
                        <c:v>-5.2833064726219936</c:v>
                      </c:pt>
                      <c:pt idx="4">
                        <c:v>-6.8652159138992959</c:v>
                      </c:pt>
                      <c:pt idx="5">
                        <c:v>-7.8843391510229797</c:v>
                      </c:pt>
                      <c:pt idx="6">
                        <c:v>-8.3685961391956099</c:v>
                      </c:pt>
                      <c:pt idx="7">
                        <c:v>-8.7696897661625641</c:v>
                      </c:pt>
                    </c:numCache>
                  </c:numRef>
                </c:yVal>
                <c:smooth val="0"/>
                <c:extLst>
                  <c:ext xmlns:c16="http://schemas.microsoft.com/office/drawing/2014/chart" uri="{C3380CC4-5D6E-409C-BE32-E72D297353CC}">
                    <c16:uniqueId val="{00000000-D206-4625-97BE-A7AB8E7EB9F2}"/>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Data!$C$21</c15:sqref>
                        </c15:formulaRef>
                      </c:ext>
                    </c:extLst>
                    <c:strCache>
                      <c:ptCount val="1"/>
                      <c:pt idx="0">
                        <c:v>Placebo - OT</c:v>
                      </c:pt>
                    </c:strCache>
                  </c:strRef>
                </c:tx>
                <c:spPr>
                  <a:ln w="38100">
                    <a:solidFill>
                      <a:srgbClr val="C4C8CF"/>
                    </a:solidFill>
                  </a:ln>
                </c:spPr>
                <c:marker>
                  <c:symbol val="none"/>
                </c:marker>
                <c:errBars>
                  <c:errDir val="y"/>
                  <c:errBarType val="both"/>
                  <c:errValType val="cust"/>
                  <c:noEndCap val="1"/>
                  <c:plus>
                    <c:numRef>
                      <c:extLst xmlns:c15="http://schemas.microsoft.com/office/drawing/2012/chart">
                        <c:ext xmlns:c15="http://schemas.microsoft.com/office/drawing/2012/chart" uri="{02D57815-91ED-43cb-92C2-25804820EDAC}">
                          <c15:formulaRef>
                            <c15:sqref>Data!$G$22:$G$39</c15:sqref>
                          </c15:formulaRef>
                        </c:ext>
                      </c:extLst>
                      <c:numCache>
                        <c:formatCode>General</c:formatCode>
                        <c:ptCount val="18"/>
                        <c:pt idx="0">
                          <c:v>0</c:v>
                        </c:pt>
                        <c:pt idx="1">
                          <c:v>0.10012763034337013</c:v>
                        </c:pt>
                        <c:pt idx="2">
                          <c:v>0.15298602777368076</c:v>
                        </c:pt>
                        <c:pt idx="3">
                          <c:v>0.25378359657210625</c:v>
                        </c:pt>
                        <c:pt idx="4">
                          <c:v>0.33150074684523334</c:v>
                        </c:pt>
                        <c:pt idx="5">
                          <c:v>0.38860969561555825</c:v>
                        </c:pt>
                        <c:pt idx="6">
                          <c:v>0.45906889402630391</c:v>
                        </c:pt>
                        <c:pt idx="7">
                          <c:v>0.5013201318351177</c:v>
                        </c:pt>
                      </c:numCache>
                    </c:numRef>
                  </c:plus>
                  <c:minus>
                    <c:numRef>
                      <c:extLst xmlns:c15="http://schemas.microsoft.com/office/drawing/2012/chart">
                        <c:ext xmlns:c15="http://schemas.microsoft.com/office/drawing/2012/chart" uri="{02D57815-91ED-43cb-92C2-25804820EDAC}">
                          <c15:formulaRef>
                            <c15:sqref>Data!$G$22:$G$39</c15:sqref>
                          </c15:formulaRef>
                        </c:ext>
                      </c:extLst>
                      <c:numCache>
                        <c:formatCode>General</c:formatCode>
                        <c:ptCount val="18"/>
                        <c:pt idx="0">
                          <c:v>0</c:v>
                        </c:pt>
                        <c:pt idx="1">
                          <c:v>0.10012763034337013</c:v>
                        </c:pt>
                        <c:pt idx="2">
                          <c:v>0.15298602777368076</c:v>
                        </c:pt>
                        <c:pt idx="3">
                          <c:v>0.25378359657210625</c:v>
                        </c:pt>
                        <c:pt idx="4">
                          <c:v>0.33150074684523334</c:v>
                        </c:pt>
                        <c:pt idx="5">
                          <c:v>0.38860969561555825</c:v>
                        </c:pt>
                        <c:pt idx="6">
                          <c:v>0.45906889402630391</c:v>
                        </c:pt>
                        <c:pt idx="7">
                          <c:v>0.5013201318351177</c:v>
                        </c:pt>
                      </c:numCache>
                    </c:numRef>
                  </c:minus>
                  <c:spPr>
                    <a:ln w="19050">
                      <a:solidFill>
                        <a:srgbClr val="C4C8CF"/>
                      </a:solidFill>
                    </a:ln>
                  </c:spPr>
                </c:errBars>
                <c:xVal>
                  <c:numRef>
                    <c:extLst xmlns:c15="http://schemas.microsoft.com/office/drawing/2012/chart">
                      <c:ext xmlns:c15="http://schemas.microsoft.com/office/drawing/2012/chart" uri="{02D57815-91ED-43cb-92C2-25804820EDAC}">
                        <c15:formulaRef>
                          <c15:sqref>Data!$A$22:$A$39</c15:sqref>
                        </c15:formulaRef>
                      </c:ext>
                    </c:extLst>
                    <c:numCache>
                      <c:formatCode>General</c:formatCode>
                      <c:ptCount val="18"/>
                      <c:pt idx="0">
                        <c:v>20</c:v>
                      </c:pt>
                      <c:pt idx="1">
                        <c:v>24</c:v>
                      </c:pt>
                      <c:pt idx="2">
                        <c:v>28</c:v>
                      </c:pt>
                      <c:pt idx="3">
                        <c:v>36</c:v>
                      </c:pt>
                      <c:pt idx="4">
                        <c:v>44</c:v>
                      </c:pt>
                      <c:pt idx="5">
                        <c:v>52</c:v>
                      </c:pt>
                      <c:pt idx="6">
                        <c:v>60</c:v>
                      </c:pt>
                      <c:pt idx="7">
                        <c:v>68</c:v>
                      </c:pt>
                    </c:numCache>
                  </c:numRef>
                </c:xVal>
                <c:yVal>
                  <c:numRef>
                    <c:extLst xmlns:c15="http://schemas.microsoft.com/office/drawing/2012/chart">
                      <c:ext xmlns:c15="http://schemas.microsoft.com/office/drawing/2012/chart" uri="{02D57815-91ED-43cb-92C2-25804820EDAC}">
                        <c15:formulaRef>
                          <c15:sqref>Data!$C$22:$C$39</c15:sqref>
                        </c15:formulaRef>
                      </c:ext>
                    </c:extLst>
                    <c:numCache>
                      <c:formatCode>General</c:formatCode>
                      <c:ptCount val="18"/>
                      <c:pt idx="0">
                        <c:v>0</c:v>
                      </c:pt>
                      <c:pt idx="1">
                        <c:v>0.56814938962415129</c:v>
                      </c:pt>
                      <c:pt idx="2">
                        <c:v>1.5323173760798099</c:v>
                      </c:pt>
                      <c:pt idx="3">
                        <c:v>2.6674624716200026</c:v>
                      </c:pt>
                      <c:pt idx="4">
                        <c:v>3.6444530822915508</c:v>
                      </c:pt>
                      <c:pt idx="5">
                        <c:v>4.2807803838180698</c:v>
                      </c:pt>
                      <c:pt idx="6">
                        <c:v>5.1637223196207325</c:v>
                      </c:pt>
                      <c:pt idx="7">
                        <c:v>6.141007937178931</c:v>
                      </c:pt>
                    </c:numCache>
                  </c:numRef>
                </c:yVal>
                <c:smooth val="0"/>
                <c:extLst xmlns:c15="http://schemas.microsoft.com/office/drawing/2012/chart">
                  <c:ext xmlns:c16="http://schemas.microsoft.com/office/drawing/2014/chart" uri="{C3380CC4-5D6E-409C-BE32-E72D297353CC}">
                    <c16:uniqueId val="{00000001-D206-4625-97BE-A7AB8E7EB9F2}"/>
                  </c:ext>
                </c:extLst>
              </c15:ser>
            </c15:filteredScatterSeries>
          </c:ext>
        </c:extLst>
      </c:scatterChart>
      <c:valAx>
        <c:axId val="603757568"/>
        <c:scaling>
          <c:orientation val="minMax"/>
          <c:max val="68"/>
          <c:min val="20"/>
        </c:scaling>
        <c:delete val="0"/>
        <c:axPos val="b"/>
        <c:title>
          <c:tx>
            <c:rich>
              <a:bodyPr/>
              <a:lstStyle/>
              <a:p>
                <a:pPr>
                  <a:defRPr>
                    <a:latin typeface="Apis For Office" panose="020B0504010101010104" pitchFamily="34" charset="0"/>
                    <a:ea typeface="Apis For Office" panose="020B0504010101010104" pitchFamily="34" charset="0"/>
                    <a:cs typeface="Apis For Office" panose="020B0504010101010104" pitchFamily="34" charset="0"/>
                  </a:defRPr>
                </a:pPr>
                <a:r>
                  <a:rPr lang="en-GB">
                    <a:latin typeface="Apis For Office" panose="020B0504010101010104" pitchFamily="34" charset="0"/>
                    <a:ea typeface="Apis For Office" panose="020B0504010101010104" pitchFamily="34" charset="0"/>
                    <a:cs typeface="Apis For Office" panose="020B0504010101010104" pitchFamily="34" charset="0"/>
                  </a:rPr>
                  <a:t>Time (week)</a:t>
                </a:r>
              </a:p>
            </c:rich>
          </c:tx>
          <c:layout>
            <c:manualLayout>
              <c:xMode val="edge"/>
              <c:yMode val="edge"/>
              <c:x val="0.41015330613951478"/>
              <c:y val="0.91324805624695293"/>
            </c:manualLayout>
          </c:layout>
          <c:overlay val="0"/>
        </c:title>
        <c:numFmt formatCode="0" sourceLinked="0"/>
        <c:majorTickMark val="out"/>
        <c:minorTickMark val="none"/>
        <c:tickLblPos val="nextTo"/>
        <c:spPr>
          <a:ln w="12700">
            <a:solidFill>
              <a:srgbClr val="001965"/>
            </a:solidFill>
          </a:ln>
        </c:spPr>
        <c:txPr>
          <a:bodyPr/>
          <a:lstStyle/>
          <a:p>
            <a:pPr>
              <a:defRPr sz="1100">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603767552"/>
        <c:crossesAt val="-20"/>
        <c:crossBetween val="midCat"/>
        <c:majorUnit val="4"/>
      </c:valAx>
      <c:valAx>
        <c:axId val="603767552"/>
        <c:scaling>
          <c:orientation val="minMax"/>
          <c:max val="10"/>
          <c:min val="-15"/>
        </c:scaling>
        <c:delete val="0"/>
        <c:axPos val="l"/>
        <c:title>
          <c:tx>
            <c:rich>
              <a:bodyPr/>
              <a:lstStyle/>
              <a:p>
                <a:pPr>
                  <a:defRPr sz="1200">
                    <a:latin typeface="Apis For Office" panose="020B0504010101010104" pitchFamily="34" charset="0"/>
                    <a:ea typeface="Apis For Office" panose="020B0504010101010104" pitchFamily="34" charset="0"/>
                    <a:cs typeface="Apis For Office" panose="020B0504010101010104" pitchFamily="34" charset="0"/>
                  </a:defRPr>
                </a:pPr>
                <a:r>
                  <a:rPr lang="en-US" sz="1200">
                    <a:latin typeface="Apis For Office" panose="020B0504010101010104" pitchFamily="34" charset="0"/>
                    <a:ea typeface="Apis For Office" panose="020B0504010101010104" pitchFamily="34" charset="0"/>
                    <a:cs typeface="Apis For Office" panose="020B0504010101010104" pitchFamily="34" charset="0"/>
                  </a:rPr>
                  <a:t>Body weight change (%)</a:t>
                </a:r>
                <a:endParaRPr lang="en-GB" sz="1200">
                  <a:latin typeface="Apis For Office" panose="020B0504010101010104" pitchFamily="34" charset="0"/>
                  <a:ea typeface="Apis For Office" panose="020B0504010101010104" pitchFamily="34" charset="0"/>
                  <a:cs typeface="Apis For Office" panose="020B0504010101010104" pitchFamily="34" charset="0"/>
                </a:endParaRPr>
              </a:p>
            </c:rich>
          </c:tx>
          <c:layout>
            <c:manualLayout>
              <c:xMode val="edge"/>
              <c:yMode val="edge"/>
              <c:x val="0"/>
              <c:y val="0.16058539255685852"/>
            </c:manualLayout>
          </c:layout>
          <c:overlay val="0"/>
        </c:title>
        <c:numFmt formatCode="0" sourceLinked="0"/>
        <c:majorTickMark val="out"/>
        <c:minorTickMark val="none"/>
        <c:tickLblPos val="nextTo"/>
        <c:spPr>
          <a:ln w="12700">
            <a:solidFill>
              <a:srgbClr val="001965"/>
            </a:solidFill>
          </a:ln>
        </c:spPr>
        <c:txPr>
          <a:bodyPr/>
          <a:lstStyle/>
          <a:p>
            <a:pPr>
              <a:defRPr sz="1100">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603757568"/>
        <c:crossesAt val="-4"/>
        <c:crossBetween val="midCat"/>
        <c:majorUnit val="4"/>
      </c:valAx>
      <c:spPr>
        <a:ln>
          <a:noFill/>
        </a:ln>
      </c:spPr>
    </c:plotArea>
    <c:plotVisOnly val="1"/>
    <c:dispBlanksAs val="gap"/>
    <c:showDLblsOverMax val="0"/>
  </c:chart>
  <c:txPr>
    <a:bodyPr/>
    <a:lstStyle/>
    <a:p>
      <a:pPr>
        <a:defRPr sz="1300" b="0">
          <a:solidFill>
            <a:schemeClr val="tx2"/>
          </a:solidFill>
        </a:defRPr>
      </a:pPr>
      <a:endParaRPr lang="en-US"/>
    </a:p>
  </c:txPr>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22071672787133"/>
          <c:y val="4.6777810362991008E-2"/>
          <c:w val="0.86877928327212861"/>
          <c:h val="0.79240878128159031"/>
        </c:manualLayout>
      </c:layout>
      <c:barChart>
        <c:barDir val="col"/>
        <c:grouping val="clustered"/>
        <c:varyColors val="0"/>
        <c:ser>
          <c:idx val="0"/>
          <c:order val="0"/>
          <c:tx>
            <c:strRef>
              <c:f>Sheet1!$A$2</c:f>
              <c:strCache>
                <c:ptCount val="1"/>
                <c:pt idx="0">
                  <c:v>Sema 2.4 mg - IT</c:v>
                </c:pt>
              </c:strCache>
            </c:strRef>
          </c:tx>
          <c:spPr>
            <a:solidFill>
              <a:srgbClr val="001965"/>
            </a:solidFill>
            <a:ln>
              <a:noFill/>
            </a:ln>
            <a:effectLst/>
          </c:spPr>
          <c:invertIfNegative val="0"/>
          <c:dPt>
            <c:idx val="0"/>
            <c:invertIfNegative val="0"/>
            <c:bubble3D val="0"/>
            <c:spPr>
              <a:solidFill>
                <a:srgbClr val="001965"/>
              </a:solidFill>
              <a:ln w="25400">
                <a:noFill/>
              </a:ln>
              <a:effectLst/>
            </c:spPr>
            <c:extLst>
              <c:ext xmlns:c16="http://schemas.microsoft.com/office/drawing/2014/chart" uri="{C3380CC4-5D6E-409C-BE32-E72D297353CC}">
                <c16:uniqueId val="{00000001-B65A-495C-BAAD-D2B60D7E44F4}"/>
              </c:ext>
            </c:extLst>
          </c:dPt>
          <c:dPt>
            <c:idx val="1"/>
            <c:invertIfNegative val="0"/>
            <c:bubble3D val="0"/>
            <c:spPr>
              <a:solidFill>
                <a:srgbClr val="001965"/>
              </a:solidFill>
              <a:ln w="25400">
                <a:noFill/>
              </a:ln>
              <a:effectLst/>
            </c:spPr>
            <c:extLst>
              <c:ext xmlns:c16="http://schemas.microsoft.com/office/drawing/2014/chart" uri="{C3380CC4-5D6E-409C-BE32-E72D297353CC}">
                <c16:uniqueId val="{00000002-B65A-495C-BAAD-D2B60D7E44F4}"/>
              </c:ext>
            </c:extLst>
          </c:dPt>
          <c:dLbls>
            <c:numFmt formatCode="0.0" sourceLinked="0"/>
            <c:spPr>
              <a:noFill/>
              <a:ln>
                <a:noFill/>
              </a:ln>
              <a:effectLst/>
            </c:spPr>
            <c:txPr>
              <a:bodyPr rot="0" vert="horz"/>
              <a:lstStyle/>
              <a:p>
                <a:pPr>
                  <a:defRPr>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2:$E$2</c:f>
              <c:numCache>
                <c:formatCode>0.0</c:formatCode>
                <c:ptCount val="4"/>
                <c:pt idx="0">
                  <c:v>88.7</c:v>
                </c:pt>
                <c:pt idx="1">
                  <c:v>79</c:v>
                </c:pt>
                <c:pt idx="2">
                  <c:v>63.7</c:v>
                </c:pt>
                <c:pt idx="3">
                  <c:v>39.6</c:v>
                </c:pt>
              </c:numCache>
            </c:numRef>
          </c:val>
          <c:extLst>
            <c:ext xmlns:c16="http://schemas.microsoft.com/office/drawing/2014/chart" uri="{C3380CC4-5D6E-409C-BE32-E72D297353CC}">
              <c16:uniqueId val="{00000003-B65A-495C-BAAD-D2B60D7E44F4}"/>
            </c:ext>
          </c:extLst>
        </c:ser>
        <c:ser>
          <c:idx val="1"/>
          <c:order val="1"/>
          <c:tx>
            <c:strRef>
              <c:f>Sheet1!$A$3</c:f>
              <c:strCache>
                <c:ptCount val="1"/>
                <c:pt idx="0">
                  <c:v>Placebo - IT</c:v>
                </c:pt>
              </c:strCache>
            </c:strRef>
          </c:tx>
          <c:spPr>
            <a:pattFill prst="wdDnDiag">
              <a:fgClr>
                <a:srgbClr val="001965"/>
              </a:fgClr>
              <a:bgClr>
                <a:srgbClr val="939AA7"/>
              </a:bgClr>
            </a:pattFill>
            <a:ln w="25400">
              <a:noFill/>
            </a:ln>
            <a:effectLst/>
          </c:spPr>
          <c:invertIfNegative val="0"/>
          <c:dPt>
            <c:idx val="0"/>
            <c:invertIfNegative val="0"/>
            <c:bubble3D val="0"/>
            <c:extLst>
              <c:ext xmlns:c16="http://schemas.microsoft.com/office/drawing/2014/chart" uri="{C3380CC4-5D6E-409C-BE32-E72D297353CC}">
                <c16:uniqueId val="{00000007-B65A-495C-BAAD-D2B60D7E44F4}"/>
              </c:ext>
            </c:extLst>
          </c:dPt>
          <c:dPt>
            <c:idx val="1"/>
            <c:invertIfNegative val="0"/>
            <c:bubble3D val="0"/>
            <c:extLst>
              <c:ext xmlns:c16="http://schemas.microsoft.com/office/drawing/2014/chart" uri="{C3380CC4-5D6E-409C-BE32-E72D297353CC}">
                <c16:uniqueId val="{00000005-B65A-495C-BAAD-D2B60D7E44F4}"/>
              </c:ext>
            </c:extLst>
          </c:dPt>
          <c:dLbls>
            <c:dLbl>
              <c:idx val="3"/>
              <c:numFmt formatCode="0.0" sourceLinked="0"/>
              <c:spPr>
                <a:noFill/>
                <a:ln>
                  <a:noFill/>
                </a:ln>
                <a:effectLst/>
              </c:spPr>
              <c:txPr>
                <a:bodyPr rot="0" vert="horz" wrap="none" tIns="0" bIns="0" anchor="b" anchorCtr="0"/>
                <a:lstStyle/>
                <a:p>
                  <a:pPr>
                    <a:defRPr>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547-504C-AAAE-6E5E2D7A71BD}"/>
                </c:ext>
              </c:extLst>
            </c:dLbl>
            <c:numFmt formatCode="0.0" sourceLinked="0"/>
            <c:spPr>
              <a:noFill/>
              <a:ln>
                <a:noFill/>
              </a:ln>
              <a:effectLst/>
            </c:spPr>
            <c:txPr>
              <a:bodyPr rot="0" vert="horz"/>
              <a:lstStyle/>
              <a:p>
                <a:pPr>
                  <a:defRPr>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3:$E$3</c:f>
              <c:numCache>
                <c:formatCode>0.0</c:formatCode>
                <c:ptCount val="4"/>
                <c:pt idx="0">
                  <c:v>47.6</c:v>
                </c:pt>
                <c:pt idx="1">
                  <c:v>20.399999999999999</c:v>
                </c:pt>
                <c:pt idx="2">
                  <c:v>9.1999999999999993</c:v>
                </c:pt>
                <c:pt idx="3">
                  <c:v>4.8</c:v>
                </c:pt>
              </c:numCache>
            </c:numRef>
          </c:val>
          <c:extLst>
            <c:ext xmlns:c16="http://schemas.microsoft.com/office/drawing/2014/chart" uri="{C3380CC4-5D6E-409C-BE32-E72D297353CC}">
              <c16:uniqueId val="{00000006-B65A-495C-BAAD-D2B60D7E44F4}"/>
            </c:ext>
          </c:extLst>
        </c:ser>
        <c:dLbls>
          <c:showLegendKey val="0"/>
          <c:showVal val="0"/>
          <c:showCatName val="0"/>
          <c:showSerName val="0"/>
          <c:showPercent val="0"/>
          <c:showBubbleSize val="0"/>
        </c:dLbls>
        <c:gapWidth val="100"/>
        <c:overlap val="-15"/>
        <c:axId val="728001360"/>
        <c:axId val="728003000"/>
      </c:barChart>
      <c:catAx>
        <c:axId val="728001360"/>
        <c:scaling>
          <c:orientation val="minMax"/>
        </c:scaling>
        <c:delete val="0"/>
        <c:axPos val="b"/>
        <c:title>
          <c:tx>
            <c:rich>
              <a:bodyPr/>
              <a:lstStyle/>
              <a:p>
                <a:pPr>
                  <a:defRPr b="0">
                    <a:latin typeface="Apis For Office" panose="020B0504010101010104" pitchFamily="34" charset="0"/>
                    <a:ea typeface="Apis For Office" panose="020B0504010101010104" pitchFamily="34" charset="0"/>
                    <a:cs typeface="Apis For Office" panose="020B0504010101010104" pitchFamily="34" charset="0"/>
                  </a:defRPr>
                </a:pPr>
                <a:r>
                  <a:rPr lang="en-GB" b="0">
                    <a:latin typeface="Apis For Office" panose="020B0504010101010104" pitchFamily="34" charset="0"/>
                    <a:ea typeface="Apis For Office" panose="020B0504010101010104" pitchFamily="34" charset="0"/>
                    <a:cs typeface="Apis For Office" panose="020B0504010101010104" pitchFamily="34" charset="0"/>
                  </a:rPr>
                  <a:t>Weight-loss categories at week 68</a:t>
                </a:r>
              </a:p>
            </c:rich>
          </c:tx>
          <c:layout>
            <c:manualLayout>
              <c:xMode val="edge"/>
              <c:yMode val="edge"/>
              <c:x val="0.28171903115872843"/>
              <c:y val="0.92577203769697125"/>
            </c:manualLayout>
          </c:layout>
          <c:overlay val="0"/>
        </c:title>
        <c:numFmt formatCode="General" sourceLinked="1"/>
        <c:majorTickMark val="none"/>
        <c:minorTickMark val="none"/>
        <c:tickLblPos val="nextTo"/>
        <c:spPr>
          <a:noFill/>
          <a:ln w="12700" cap="flat" cmpd="sng" algn="ctr">
            <a:solidFill>
              <a:srgbClr val="001965"/>
            </a:solidFill>
            <a:round/>
          </a:ln>
          <a:effectLst/>
        </c:spPr>
        <c:txPr>
          <a:bodyPr rot="-60000000" vert="horz"/>
          <a:lstStyle/>
          <a:p>
            <a:pPr>
              <a:defRPr b="1">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3000"/>
        <c:crosses val="autoZero"/>
        <c:auto val="1"/>
        <c:lblAlgn val="ctr"/>
        <c:lblOffset val="0"/>
        <c:noMultiLvlLbl val="0"/>
      </c:catAx>
      <c:valAx>
        <c:axId val="728003000"/>
        <c:scaling>
          <c:orientation val="minMax"/>
          <c:min val="0"/>
        </c:scaling>
        <c:delete val="0"/>
        <c:axPos val="l"/>
        <c:title>
          <c:tx>
            <c:rich>
              <a:bodyPr/>
              <a:lstStyle/>
              <a:p>
                <a:pPr>
                  <a:defRPr b="0">
                    <a:latin typeface="Apis For Office" panose="020B0504010101010104" pitchFamily="34" charset="0"/>
                    <a:ea typeface="Apis For Office" panose="020B0504010101010104" pitchFamily="34" charset="0"/>
                    <a:cs typeface="Apis For Office" panose="020B0504010101010104" pitchFamily="34" charset="0"/>
                  </a:defRPr>
                </a:pPr>
                <a:r>
                  <a:rPr lang="en-GB" b="0">
                    <a:latin typeface="Apis For Office" panose="020B0504010101010104" pitchFamily="34" charset="0"/>
                    <a:ea typeface="Apis For Office" panose="020B0504010101010104" pitchFamily="34" charset="0"/>
                    <a:cs typeface="Apis For Office" panose="020B0504010101010104" pitchFamily="34" charset="0"/>
                  </a:rPr>
                  <a:t>Proportion of participants (%)</a:t>
                </a:r>
              </a:p>
            </c:rich>
          </c:tx>
          <c:layout>
            <c:manualLayout>
              <c:xMode val="edge"/>
              <c:yMode val="edge"/>
              <c:x val="0"/>
              <c:y val="0.14740869675739052"/>
            </c:manualLayout>
          </c:layout>
          <c:overlay val="0"/>
        </c:title>
        <c:numFmt formatCode="0" sourceLinked="0"/>
        <c:majorTickMark val="out"/>
        <c:minorTickMark val="none"/>
        <c:tickLblPos val="nextTo"/>
        <c:spPr>
          <a:ln w="12700">
            <a:solidFill>
              <a:srgbClr val="001965"/>
            </a:solidFill>
          </a:ln>
        </c:spPr>
        <c:txPr>
          <a:bodyPr/>
          <a:lstStyle/>
          <a:p>
            <a:pPr>
              <a:defRPr>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1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solidFill>
            <a:schemeClr val="tx2"/>
          </a:solidFill>
        </a:defRPr>
      </a:pPr>
      <a:endParaRPr lang="en-US"/>
    </a:p>
  </c:txPr>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988951871096417E-2"/>
          <c:y val="3.0511022927689594E-2"/>
          <c:w val="0.91359838345667344"/>
          <c:h val="0.87233972663139325"/>
        </c:manualLayout>
      </c:layout>
      <c:scatterChart>
        <c:scatterStyle val="smoothMarker"/>
        <c:varyColors val="0"/>
        <c:ser>
          <c:idx val="1"/>
          <c:order val="0"/>
          <c:spPr>
            <a:ln w="28575" cap="rnd">
              <a:solidFill>
                <a:srgbClr val="939AA7"/>
              </a:solidFill>
              <a:round/>
            </a:ln>
            <a:effectLst/>
          </c:spPr>
          <c:marker>
            <c:symbol val="none"/>
          </c:marker>
          <c:xVal>
            <c:numRef>
              <c:f>'slide 41 calc CIF'!$P$32:$P$1359</c:f>
              <c:numCache>
                <c:formatCode>0</c:formatCode>
                <c:ptCount val="1328"/>
                <c:pt idx="0">
                  <c:v>0</c:v>
                </c:pt>
                <c:pt idx="1">
                  <c:v>3.2854209445585217E-2</c:v>
                </c:pt>
                <c:pt idx="2">
                  <c:v>6.5708418891170434E-2</c:v>
                </c:pt>
                <c:pt idx="3">
                  <c:v>0.1971252566735113</c:v>
                </c:pt>
                <c:pt idx="4">
                  <c:v>0.2299794661190965</c:v>
                </c:pt>
                <c:pt idx="5">
                  <c:v>0.29568788501026694</c:v>
                </c:pt>
                <c:pt idx="6">
                  <c:v>0.32854209445585214</c:v>
                </c:pt>
                <c:pt idx="7">
                  <c:v>0.3942505133470226</c:v>
                </c:pt>
                <c:pt idx="8">
                  <c:v>0.45995893223819301</c:v>
                </c:pt>
                <c:pt idx="9">
                  <c:v>0.52566735112936347</c:v>
                </c:pt>
                <c:pt idx="10">
                  <c:v>0.65708418891170428</c:v>
                </c:pt>
                <c:pt idx="11">
                  <c:v>0.7227926078028748</c:v>
                </c:pt>
                <c:pt idx="12">
                  <c:v>0.75564681724845995</c:v>
                </c:pt>
                <c:pt idx="13">
                  <c:v>0.85420944558521561</c:v>
                </c:pt>
                <c:pt idx="14">
                  <c:v>0.88706365503080087</c:v>
                </c:pt>
                <c:pt idx="15">
                  <c:v>0.91991786447638602</c:v>
                </c:pt>
                <c:pt idx="16">
                  <c:v>0.95277207392197127</c:v>
                </c:pt>
                <c:pt idx="17">
                  <c:v>0.98562628336755642</c:v>
                </c:pt>
                <c:pt idx="18">
                  <c:v>1.1170431211498972</c:v>
                </c:pt>
                <c:pt idx="19">
                  <c:v>1.215605749486653</c:v>
                </c:pt>
                <c:pt idx="20">
                  <c:v>1.3141683778234086</c:v>
                </c:pt>
                <c:pt idx="21">
                  <c:v>1.3798767967145791</c:v>
                </c:pt>
                <c:pt idx="22">
                  <c:v>1.4784394250513346</c:v>
                </c:pt>
                <c:pt idx="23">
                  <c:v>1.5112936344969199</c:v>
                </c:pt>
                <c:pt idx="24">
                  <c:v>1.5441478439425051</c:v>
                </c:pt>
                <c:pt idx="25">
                  <c:v>1.6098562628336757</c:v>
                </c:pt>
                <c:pt idx="26">
                  <c:v>1.6427104722792607</c:v>
                </c:pt>
                <c:pt idx="27">
                  <c:v>1.675564681724846</c:v>
                </c:pt>
                <c:pt idx="28">
                  <c:v>1.7084188911704312</c:v>
                </c:pt>
                <c:pt idx="29">
                  <c:v>1.7412731006160165</c:v>
                </c:pt>
                <c:pt idx="30">
                  <c:v>1.839835728952772</c:v>
                </c:pt>
                <c:pt idx="31">
                  <c:v>1.8726899383983573</c:v>
                </c:pt>
                <c:pt idx="32">
                  <c:v>1.9055441478439425</c:v>
                </c:pt>
                <c:pt idx="33">
                  <c:v>2.0041067761806981</c:v>
                </c:pt>
                <c:pt idx="34">
                  <c:v>2.0369609856262834</c:v>
                </c:pt>
                <c:pt idx="35">
                  <c:v>2.0698151950718686</c:v>
                </c:pt>
                <c:pt idx="36">
                  <c:v>2.1026694045174539</c:v>
                </c:pt>
                <c:pt idx="37">
                  <c:v>2.2012320328542097</c:v>
                </c:pt>
                <c:pt idx="38">
                  <c:v>2.2340862422997945</c:v>
                </c:pt>
                <c:pt idx="39">
                  <c:v>2.2669404517453797</c:v>
                </c:pt>
                <c:pt idx="40">
                  <c:v>2.3326488706365502</c:v>
                </c:pt>
                <c:pt idx="41">
                  <c:v>2.3655030800821355</c:v>
                </c:pt>
                <c:pt idx="42">
                  <c:v>2.431211498973306</c:v>
                </c:pt>
                <c:pt idx="43">
                  <c:v>2.4640657084188913</c:v>
                </c:pt>
                <c:pt idx="44">
                  <c:v>2.4969199178644765</c:v>
                </c:pt>
                <c:pt idx="45">
                  <c:v>2.7268993839835729</c:v>
                </c:pt>
                <c:pt idx="46">
                  <c:v>2.8254620123203287</c:v>
                </c:pt>
                <c:pt idx="47">
                  <c:v>2.8583162217659139</c:v>
                </c:pt>
                <c:pt idx="48">
                  <c:v>2.8911704312114992</c:v>
                </c:pt>
                <c:pt idx="49">
                  <c:v>2.9568788501026693</c:v>
                </c:pt>
                <c:pt idx="50">
                  <c:v>2.9897330595482545</c:v>
                </c:pt>
                <c:pt idx="51">
                  <c:v>3.0225872689938398</c:v>
                </c:pt>
                <c:pt idx="52">
                  <c:v>3.055441478439425</c:v>
                </c:pt>
                <c:pt idx="53">
                  <c:v>3.0882956878850103</c:v>
                </c:pt>
                <c:pt idx="54">
                  <c:v>3.1211498973305956</c:v>
                </c:pt>
                <c:pt idx="55">
                  <c:v>3.1868583162217661</c:v>
                </c:pt>
                <c:pt idx="56">
                  <c:v>3.2197125256673513</c:v>
                </c:pt>
                <c:pt idx="57">
                  <c:v>3.2854209445585214</c:v>
                </c:pt>
                <c:pt idx="58">
                  <c:v>3.3182751540041067</c:v>
                </c:pt>
                <c:pt idx="59">
                  <c:v>3.3511293634496919</c:v>
                </c:pt>
                <c:pt idx="60">
                  <c:v>3.3839835728952772</c:v>
                </c:pt>
                <c:pt idx="61">
                  <c:v>3.482546201232033</c:v>
                </c:pt>
                <c:pt idx="62">
                  <c:v>3.5154004106776182</c:v>
                </c:pt>
                <c:pt idx="63">
                  <c:v>3.5811088295687883</c:v>
                </c:pt>
                <c:pt idx="64">
                  <c:v>3.6468172484599588</c:v>
                </c:pt>
                <c:pt idx="65">
                  <c:v>3.7125256673511293</c:v>
                </c:pt>
                <c:pt idx="66">
                  <c:v>3.7453798767967146</c:v>
                </c:pt>
                <c:pt idx="67">
                  <c:v>3.8110882956878851</c:v>
                </c:pt>
                <c:pt idx="68">
                  <c:v>3.8439425051334704</c:v>
                </c:pt>
                <c:pt idx="69">
                  <c:v>3.9096509240246409</c:v>
                </c:pt>
                <c:pt idx="70">
                  <c:v>3.9425051334702257</c:v>
                </c:pt>
                <c:pt idx="71">
                  <c:v>3.9753593429158109</c:v>
                </c:pt>
                <c:pt idx="72">
                  <c:v>4.0082135523613962</c:v>
                </c:pt>
                <c:pt idx="73">
                  <c:v>4.0410677618069819</c:v>
                </c:pt>
                <c:pt idx="74">
                  <c:v>4.0739219712525667</c:v>
                </c:pt>
                <c:pt idx="75">
                  <c:v>4.1067761806981515</c:v>
                </c:pt>
                <c:pt idx="76">
                  <c:v>4.1724845995893221</c:v>
                </c:pt>
                <c:pt idx="77">
                  <c:v>4.2381930184804926</c:v>
                </c:pt>
                <c:pt idx="78">
                  <c:v>4.3367556468172488</c:v>
                </c:pt>
                <c:pt idx="79">
                  <c:v>4.4353182751540041</c:v>
                </c:pt>
                <c:pt idx="80">
                  <c:v>4.4681724845995889</c:v>
                </c:pt>
                <c:pt idx="81">
                  <c:v>4.5010266940451746</c:v>
                </c:pt>
                <c:pt idx="82">
                  <c:v>4.6324435318275157</c:v>
                </c:pt>
                <c:pt idx="83">
                  <c:v>4.6981519507186862</c:v>
                </c:pt>
                <c:pt idx="84">
                  <c:v>4.731006160164271</c:v>
                </c:pt>
                <c:pt idx="85">
                  <c:v>4.7967145790554415</c:v>
                </c:pt>
                <c:pt idx="86">
                  <c:v>4.9609856262833674</c:v>
                </c:pt>
                <c:pt idx="87">
                  <c:v>5.0595482546201236</c:v>
                </c:pt>
                <c:pt idx="88">
                  <c:v>5.1252566735112932</c:v>
                </c:pt>
                <c:pt idx="89">
                  <c:v>5.2566735112936342</c:v>
                </c:pt>
                <c:pt idx="90">
                  <c:v>5.28952772073922</c:v>
                </c:pt>
                <c:pt idx="91">
                  <c:v>5.420944558521561</c:v>
                </c:pt>
                <c:pt idx="92">
                  <c:v>5.4866529774127306</c:v>
                </c:pt>
                <c:pt idx="93">
                  <c:v>5.5852156057494868</c:v>
                </c:pt>
                <c:pt idx="94">
                  <c:v>5.6837782340862422</c:v>
                </c:pt>
                <c:pt idx="95">
                  <c:v>5.7494866529774127</c:v>
                </c:pt>
                <c:pt idx="96">
                  <c:v>5.7823408624229984</c:v>
                </c:pt>
                <c:pt idx="97">
                  <c:v>5.8151950718685832</c:v>
                </c:pt>
                <c:pt idx="98">
                  <c:v>5.848049281314168</c:v>
                </c:pt>
                <c:pt idx="99">
                  <c:v>5.8809034907597537</c:v>
                </c:pt>
                <c:pt idx="100">
                  <c:v>5.9137577002053385</c:v>
                </c:pt>
                <c:pt idx="101">
                  <c:v>5.9466119096509242</c:v>
                </c:pt>
                <c:pt idx="102">
                  <c:v>6.0123203285420947</c:v>
                </c:pt>
                <c:pt idx="103">
                  <c:v>6.0451745379876796</c:v>
                </c:pt>
                <c:pt idx="104">
                  <c:v>6.1108829568788501</c:v>
                </c:pt>
                <c:pt idx="105">
                  <c:v>6.1437371663244349</c:v>
                </c:pt>
                <c:pt idx="106">
                  <c:v>6.1765913757700206</c:v>
                </c:pt>
                <c:pt idx="107">
                  <c:v>6.2094455852156054</c:v>
                </c:pt>
                <c:pt idx="108">
                  <c:v>6.2422997946611911</c:v>
                </c:pt>
                <c:pt idx="109">
                  <c:v>6.3080082135523616</c:v>
                </c:pt>
                <c:pt idx="110">
                  <c:v>6.3408624229979464</c:v>
                </c:pt>
                <c:pt idx="111">
                  <c:v>6.3737166324435321</c:v>
                </c:pt>
                <c:pt idx="112">
                  <c:v>6.406570841889117</c:v>
                </c:pt>
                <c:pt idx="113">
                  <c:v>6.537987679671458</c:v>
                </c:pt>
                <c:pt idx="114">
                  <c:v>6.5708418891170428</c:v>
                </c:pt>
                <c:pt idx="115">
                  <c:v>6.6036960985626285</c:v>
                </c:pt>
                <c:pt idx="116">
                  <c:v>6.669404517453799</c:v>
                </c:pt>
                <c:pt idx="117">
                  <c:v>6.7022587268993838</c:v>
                </c:pt>
                <c:pt idx="118">
                  <c:v>6.9650924024640659</c:v>
                </c:pt>
                <c:pt idx="119">
                  <c:v>7.0308008213552364</c:v>
                </c:pt>
                <c:pt idx="120">
                  <c:v>7.0636550308008212</c:v>
                </c:pt>
                <c:pt idx="121">
                  <c:v>7.0965092402464069</c:v>
                </c:pt>
                <c:pt idx="122">
                  <c:v>7.1622176591375766</c:v>
                </c:pt>
                <c:pt idx="123">
                  <c:v>7.1950718685831623</c:v>
                </c:pt>
                <c:pt idx="124">
                  <c:v>7.2279260780287471</c:v>
                </c:pt>
                <c:pt idx="125">
                  <c:v>7.2607802874743328</c:v>
                </c:pt>
                <c:pt idx="126">
                  <c:v>7.2936344969199176</c:v>
                </c:pt>
                <c:pt idx="127">
                  <c:v>7.3264887063655033</c:v>
                </c:pt>
                <c:pt idx="128">
                  <c:v>7.3593429158110881</c:v>
                </c:pt>
                <c:pt idx="129">
                  <c:v>7.4907597535934292</c:v>
                </c:pt>
                <c:pt idx="130">
                  <c:v>7.5564681724845997</c:v>
                </c:pt>
                <c:pt idx="131">
                  <c:v>7.5893223819301845</c:v>
                </c:pt>
                <c:pt idx="132">
                  <c:v>7.6221765913757702</c:v>
                </c:pt>
                <c:pt idx="133">
                  <c:v>7.6878850102669407</c:v>
                </c:pt>
                <c:pt idx="134">
                  <c:v>7.8193018480492817</c:v>
                </c:pt>
                <c:pt idx="135">
                  <c:v>7.8521560574948666</c:v>
                </c:pt>
                <c:pt idx="136">
                  <c:v>7.9178644763860371</c:v>
                </c:pt>
                <c:pt idx="137">
                  <c:v>7.9507186858316219</c:v>
                </c:pt>
                <c:pt idx="138">
                  <c:v>7.9835728952772076</c:v>
                </c:pt>
                <c:pt idx="139">
                  <c:v>8.1149897330595486</c:v>
                </c:pt>
                <c:pt idx="140">
                  <c:v>8.1478439425051334</c:v>
                </c:pt>
                <c:pt idx="141">
                  <c:v>8.1806981519507183</c:v>
                </c:pt>
                <c:pt idx="142">
                  <c:v>8.2464065708418897</c:v>
                </c:pt>
                <c:pt idx="143">
                  <c:v>8.3121149897330593</c:v>
                </c:pt>
                <c:pt idx="144">
                  <c:v>8.3449691991786441</c:v>
                </c:pt>
                <c:pt idx="145">
                  <c:v>8.4106776180698155</c:v>
                </c:pt>
                <c:pt idx="146">
                  <c:v>8.4763860369609851</c:v>
                </c:pt>
                <c:pt idx="147">
                  <c:v>8.5092402464065717</c:v>
                </c:pt>
                <c:pt idx="148">
                  <c:v>8.5420944558521565</c:v>
                </c:pt>
                <c:pt idx="149">
                  <c:v>8.5749486652977414</c:v>
                </c:pt>
                <c:pt idx="150">
                  <c:v>8.6735112936344976</c:v>
                </c:pt>
                <c:pt idx="151">
                  <c:v>8.772073921971252</c:v>
                </c:pt>
                <c:pt idx="152">
                  <c:v>8.8049281314168386</c:v>
                </c:pt>
                <c:pt idx="153">
                  <c:v>8.8377823408624234</c:v>
                </c:pt>
                <c:pt idx="154">
                  <c:v>8.9691991786447645</c:v>
                </c:pt>
                <c:pt idx="155">
                  <c:v>9.0020533880903493</c:v>
                </c:pt>
                <c:pt idx="156">
                  <c:v>9.0349075975359341</c:v>
                </c:pt>
                <c:pt idx="157">
                  <c:v>9.1006160164271055</c:v>
                </c:pt>
                <c:pt idx="158">
                  <c:v>9.1334702258726903</c:v>
                </c:pt>
                <c:pt idx="159">
                  <c:v>9.2320328542094447</c:v>
                </c:pt>
                <c:pt idx="160">
                  <c:v>9.2648870636550313</c:v>
                </c:pt>
                <c:pt idx="161">
                  <c:v>9.2977412731006162</c:v>
                </c:pt>
                <c:pt idx="162">
                  <c:v>9.330595482546201</c:v>
                </c:pt>
                <c:pt idx="163">
                  <c:v>9.3634496919917858</c:v>
                </c:pt>
                <c:pt idx="164">
                  <c:v>9.5277207392197134</c:v>
                </c:pt>
                <c:pt idx="165">
                  <c:v>9.593429158110883</c:v>
                </c:pt>
                <c:pt idx="166">
                  <c:v>9.7248459958932241</c:v>
                </c:pt>
                <c:pt idx="167">
                  <c:v>9.7577002053388089</c:v>
                </c:pt>
                <c:pt idx="168">
                  <c:v>9.8234086242299803</c:v>
                </c:pt>
                <c:pt idx="169">
                  <c:v>9.8562628336755651</c:v>
                </c:pt>
                <c:pt idx="170">
                  <c:v>9.8891170431211499</c:v>
                </c:pt>
                <c:pt idx="171">
                  <c:v>9.9548254620123195</c:v>
                </c:pt>
                <c:pt idx="172">
                  <c:v>10.053388090349076</c:v>
                </c:pt>
                <c:pt idx="173">
                  <c:v>10.086242299794661</c:v>
                </c:pt>
                <c:pt idx="174">
                  <c:v>10.151950718685832</c:v>
                </c:pt>
                <c:pt idx="175">
                  <c:v>10.250513347022586</c:v>
                </c:pt>
                <c:pt idx="176">
                  <c:v>10.283367556468173</c:v>
                </c:pt>
                <c:pt idx="177">
                  <c:v>10.316221765913758</c:v>
                </c:pt>
                <c:pt idx="178">
                  <c:v>10.381930184804927</c:v>
                </c:pt>
                <c:pt idx="179">
                  <c:v>10.447638603696099</c:v>
                </c:pt>
                <c:pt idx="180">
                  <c:v>10.513347022587268</c:v>
                </c:pt>
                <c:pt idx="181">
                  <c:v>10.546201232032855</c:v>
                </c:pt>
                <c:pt idx="182">
                  <c:v>10.57905544147844</c:v>
                </c:pt>
                <c:pt idx="183">
                  <c:v>10.710472279260781</c:v>
                </c:pt>
                <c:pt idx="184">
                  <c:v>10.743326488706366</c:v>
                </c:pt>
                <c:pt idx="185">
                  <c:v>10.841889117043122</c:v>
                </c:pt>
                <c:pt idx="186">
                  <c:v>10.874743326488707</c:v>
                </c:pt>
                <c:pt idx="187">
                  <c:v>10.907597535934292</c:v>
                </c:pt>
                <c:pt idx="188">
                  <c:v>10.940451745379876</c:v>
                </c:pt>
                <c:pt idx="189">
                  <c:v>10.973305954825461</c:v>
                </c:pt>
                <c:pt idx="190">
                  <c:v>11.039014373716633</c:v>
                </c:pt>
                <c:pt idx="191">
                  <c:v>11.071868583162217</c:v>
                </c:pt>
                <c:pt idx="192">
                  <c:v>11.104722792607802</c:v>
                </c:pt>
                <c:pt idx="193">
                  <c:v>11.137577002053389</c:v>
                </c:pt>
                <c:pt idx="194">
                  <c:v>11.203285420944558</c:v>
                </c:pt>
                <c:pt idx="195">
                  <c:v>11.3347022587269</c:v>
                </c:pt>
                <c:pt idx="196">
                  <c:v>11.400410677618069</c:v>
                </c:pt>
                <c:pt idx="197">
                  <c:v>11.433264887063656</c:v>
                </c:pt>
                <c:pt idx="198">
                  <c:v>11.498973305954825</c:v>
                </c:pt>
                <c:pt idx="199">
                  <c:v>11.53182751540041</c:v>
                </c:pt>
                <c:pt idx="200">
                  <c:v>11.564681724845997</c:v>
                </c:pt>
                <c:pt idx="201">
                  <c:v>11.630390143737166</c:v>
                </c:pt>
                <c:pt idx="202">
                  <c:v>11.663244353182751</c:v>
                </c:pt>
                <c:pt idx="203">
                  <c:v>11.728952772073923</c:v>
                </c:pt>
                <c:pt idx="204">
                  <c:v>11.761806981519507</c:v>
                </c:pt>
                <c:pt idx="205">
                  <c:v>11.860369609856264</c:v>
                </c:pt>
                <c:pt idx="206">
                  <c:v>11.893223819301848</c:v>
                </c:pt>
                <c:pt idx="207">
                  <c:v>11.991786447638603</c:v>
                </c:pt>
                <c:pt idx="208">
                  <c:v>12.123203285420944</c:v>
                </c:pt>
                <c:pt idx="209">
                  <c:v>12.2217659137577</c:v>
                </c:pt>
                <c:pt idx="210">
                  <c:v>12.28747433264887</c:v>
                </c:pt>
                <c:pt idx="211">
                  <c:v>12.353182751540041</c:v>
                </c:pt>
                <c:pt idx="212">
                  <c:v>12.451745379876797</c:v>
                </c:pt>
                <c:pt idx="213">
                  <c:v>12.484599589322382</c:v>
                </c:pt>
                <c:pt idx="214">
                  <c:v>12.517453798767967</c:v>
                </c:pt>
                <c:pt idx="215">
                  <c:v>12.648870636550308</c:v>
                </c:pt>
                <c:pt idx="216">
                  <c:v>12.681724845995893</c:v>
                </c:pt>
                <c:pt idx="217">
                  <c:v>12.845995893223819</c:v>
                </c:pt>
                <c:pt idx="218">
                  <c:v>12.91170431211499</c:v>
                </c:pt>
                <c:pt idx="219">
                  <c:v>12.944558521560575</c:v>
                </c:pt>
                <c:pt idx="220">
                  <c:v>12.97741273100616</c:v>
                </c:pt>
                <c:pt idx="221">
                  <c:v>13.010266940451745</c:v>
                </c:pt>
                <c:pt idx="222">
                  <c:v>13.108829568788501</c:v>
                </c:pt>
                <c:pt idx="223">
                  <c:v>13.141683778234086</c:v>
                </c:pt>
                <c:pt idx="224">
                  <c:v>13.174537987679672</c:v>
                </c:pt>
                <c:pt idx="225">
                  <c:v>13.240246406570842</c:v>
                </c:pt>
                <c:pt idx="226">
                  <c:v>13.338809034907598</c:v>
                </c:pt>
                <c:pt idx="227">
                  <c:v>13.437371663244353</c:v>
                </c:pt>
                <c:pt idx="228">
                  <c:v>13.503080082135524</c:v>
                </c:pt>
                <c:pt idx="229">
                  <c:v>13.535934291581109</c:v>
                </c:pt>
                <c:pt idx="230">
                  <c:v>13.700205338809035</c:v>
                </c:pt>
                <c:pt idx="231">
                  <c:v>13.733059548254619</c:v>
                </c:pt>
                <c:pt idx="232">
                  <c:v>13.798767967145791</c:v>
                </c:pt>
                <c:pt idx="233">
                  <c:v>13.831622176591376</c:v>
                </c:pt>
                <c:pt idx="234">
                  <c:v>13.963039014373717</c:v>
                </c:pt>
                <c:pt idx="235">
                  <c:v>13.995893223819301</c:v>
                </c:pt>
                <c:pt idx="236">
                  <c:v>14.028747433264886</c:v>
                </c:pt>
                <c:pt idx="237">
                  <c:v>14.061601642710473</c:v>
                </c:pt>
                <c:pt idx="238">
                  <c:v>14.094455852156058</c:v>
                </c:pt>
                <c:pt idx="239">
                  <c:v>14.258726899383984</c:v>
                </c:pt>
                <c:pt idx="240">
                  <c:v>14.291581108829568</c:v>
                </c:pt>
                <c:pt idx="241">
                  <c:v>14.35728952772074</c:v>
                </c:pt>
                <c:pt idx="242">
                  <c:v>14.488706365503081</c:v>
                </c:pt>
                <c:pt idx="243">
                  <c:v>14.521560574948666</c:v>
                </c:pt>
                <c:pt idx="244">
                  <c:v>14.620123203285422</c:v>
                </c:pt>
                <c:pt idx="245">
                  <c:v>14.685831622176591</c:v>
                </c:pt>
                <c:pt idx="246">
                  <c:v>14.718685831622176</c:v>
                </c:pt>
                <c:pt idx="247">
                  <c:v>14.751540041067761</c:v>
                </c:pt>
                <c:pt idx="248">
                  <c:v>14.784394250513348</c:v>
                </c:pt>
                <c:pt idx="249">
                  <c:v>14.817248459958932</c:v>
                </c:pt>
                <c:pt idx="250">
                  <c:v>14.882956878850102</c:v>
                </c:pt>
                <c:pt idx="251">
                  <c:v>14.915811088295689</c:v>
                </c:pt>
                <c:pt idx="252">
                  <c:v>14.981519507186858</c:v>
                </c:pt>
                <c:pt idx="253">
                  <c:v>15.014373716632443</c:v>
                </c:pt>
                <c:pt idx="254">
                  <c:v>15.112936344969199</c:v>
                </c:pt>
                <c:pt idx="255">
                  <c:v>15.145790554414784</c:v>
                </c:pt>
                <c:pt idx="256">
                  <c:v>15.211498973305956</c:v>
                </c:pt>
                <c:pt idx="257">
                  <c:v>15.24435318275154</c:v>
                </c:pt>
                <c:pt idx="258">
                  <c:v>15.342915811088295</c:v>
                </c:pt>
                <c:pt idx="259">
                  <c:v>15.441478439425051</c:v>
                </c:pt>
                <c:pt idx="260">
                  <c:v>15.474332648870636</c:v>
                </c:pt>
                <c:pt idx="261">
                  <c:v>15.540041067761807</c:v>
                </c:pt>
                <c:pt idx="262">
                  <c:v>15.572895277207392</c:v>
                </c:pt>
                <c:pt idx="263">
                  <c:v>15.605749486652977</c:v>
                </c:pt>
                <c:pt idx="264">
                  <c:v>15.638603696098563</c:v>
                </c:pt>
                <c:pt idx="265">
                  <c:v>15.704312114989733</c:v>
                </c:pt>
                <c:pt idx="266">
                  <c:v>15.770020533880903</c:v>
                </c:pt>
                <c:pt idx="267">
                  <c:v>15.802874743326489</c:v>
                </c:pt>
                <c:pt idx="268">
                  <c:v>15.835728952772074</c:v>
                </c:pt>
                <c:pt idx="269">
                  <c:v>15.868583162217659</c:v>
                </c:pt>
                <c:pt idx="270">
                  <c:v>15.967145790554415</c:v>
                </c:pt>
                <c:pt idx="271">
                  <c:v>16.032854209445585</c:v>
                </c:pt>
                <c:pt idx="272">
                  <c:v>16.06570841889117</c:v>
                </c:pt>
                <c:pt idx="273">
                  <c:v>16.131416837782339</c:v>
                </c:pt>
                <c:pt idx="274">
                  <c:v>16.164271047227928</c:v>
                </c:pt>
                <c:pt idx="275">
                  <c:v>16.197125256673512</c:v>
                </c:pt>
                <c:pt idx="276">
                  <c:v>16.229979466119097</c:v>
                </c:pt>
                <c:pt idx="277">
                  <c:v>16.262833675564682</c:v>
                </c:pt>
                <c:pt idx="278">
                  <c:v>16.295687885010267</c:v>
                </c:pt>
                <c:pt idx="279">
                  <c:v>16.328542094455852</c:v>
                </c:pt>
                <c:pt idx="280">
                  <c:v>16.361396303901437</c:v>
                </c:pt>
                <c:pt idx="281">
                  <c:v>16.427104722792606</c:v>
                </c:pt>
                <c:pt idx="282">
                  <c:v>16.459958932238195</c:v>
                </c:pt>
                <c:pt idx="283">
                  <c:v>16.558521560574949</c:v>
                </c:pt>
                <c:pt idx="284">
                  <c:v>16.591375770020534</c:v>
                </c:pt>
                <c:pt idx="285">
                  <c:v>16.624229979466119</c:v>
                </c:pt>
                <c:pt idx="286">
                  <c:v>16.657084188911703</c:v>
                </c:pt>
                <c:pt idx="287">
                  <c:v>16.887063655030801</c:v>
                </c:pt>
                <c:pt idx="288">
                  <c:v>16.919917864476385</c:v>
                </c:pt>
                <c:pt idx="289">
                  <c:v>16.985626283367555</c:v>
                </c:pt>
                <c:pt idx="290">
                  <c:v>17.018480492813143</c:v>
                </c:pt>
                <c:pt idx="291">
                  <c:v>17.051334702258728</c:v>
                </c:pt>
                <c:pt idx="292">
                  <c:v>17.117043121149898</c:v>
                </c:pt>
                <c:pt idx="293">
                  <c:v>17.149897330595483</c:v>
                </c:pt>
                <c:pt idx="294">
                  <c:v>17.248459958932237</c:v>
                </c:pt>
                <c:pt idx="295">
                  <c:v>17.31416837782341</c:v>
                </c:pt>
                <c:pt idx="296">
                  <c:v>17.478439425051334</c:v>
                </c:pt>
                <c:pt idx="297">
                  <c:v>17.511293634496919</c:v>
                </c:pt>
                <c:pt idx="298">
                  <c:v>17.544147843942504</c:v>
                </c:pt>
                <c:pt idx="299">
                  <c:v>17.577002053388089</c:v>
                </c:pt>
                <c:pt idx="300">
                  <c:v>17.609856262833677</c:v>
                </c:pt>
                <c:pt idx="301">
                  <c:v>17.675564681724847</c:v>
                </c:pt>
                <c:pt idx="302">
                  <c:v>17.708418891170432</c:v>
                </c:pt>
                <c:pt idx="303">
                  <c:v>17.741273100616016</c:v>
                </c:pt>
                <c:pt idx="304">
                  <c:v>17.774127310061601</c:v>
                </c:pt>
                <c:pt idx="305">
                  <c:v>17.806981519507186</c:v>
                </c:pt>
                <c:pt idx="306">
                  <c:v>17.839835728952771</c:v>
                </c:pt>
                <c:pt idx="307">
                  <c:v>17.905544147843944</c:v>
                </c:pt>
                <c:pt idx="308">
                  <c:v>17.938398357289529</c:v>
                </c:pt>
                <c:pt idx="309">
                  <c:v>17.971252566735114</c:v>
                </c:pt>
                <c:pt idx="310">
                  <c:v>18.004106776180699</c:v>
                </c:pt>
                <c:pt idx="311">
                  <c:v>18.069815195071868</c:v>
                </c:pt>
                <c:pt idx="312">
                  <c:v>18.102669404517453</c:v>
                </c:pt>
                <c:pt idx="313">
                  <c:v>18.168377823408623</c:v>
                </c:pt>
                <c:pt idx="314">
                  <c:v>18.201232032854211</c:v>
                </c:pt>
                <c:pt idx="315">
                  <c:v>18.39835728952772</c:v>
                </c:pt>
                <c:pt idx="316">
                  <c:v>18.431211498973305</c:v>
                </c:pt>
                <c:pt idx="317">
                  <c:v>18.464065708418889</c:v>
                </c:pt>
                <c:pt idx="318">
                  <c:v>18.529774127310063</c:v>
                </c:pt>
                <c:pt idx="319">
                  <c:v>18.694045174537987</c:v>
                </c:pt>
                <c:pt idx="320">
                  <c:v>18.726899383983572</c:v>
                </c:pt>
                <c:pt idx="321">
                  <c:v>18.792607802874745</c:v>
                </c:pt>
                <c:pt idx="322">
                  <c:v>18.82546201232033</c:v>
                </c:pt>
                <c:pt idx="323">
                  <c:v>18.891170431211499</c:v>
                </c:pt>
                <c:pt idx="324">
                  <c:v>18.989733059548254</c:v>
                </c:pt>
                <c:pt idx="325">
                  <c:v>19.022587268993838</c:v>
                </c:pt>
                <c:pt idx="326">
                  <c:v>19.055441478439427</c:v>
                </c:pt>
                <c:pt idx="327">
                  <c:v>19.121149897330596</c:v>
                </c:pt>
                <c:pt idx="328">
                  <c:v>19.186858316221766</c:v>
                </c:pt>
                <c:pt idx="329">
                  <c:v>19.219712525667351</c:v>
                </c:pt>
                <c:pt idx="330">
                  <c:v>19.285420944558521</c:v>
                </c:pt>
                <c:pt idx="331">
                  <c:v>19.318275154004105</c:v>
                </c:pt>
                <c:pt idx="332">
                  <c:v>19.449691991786448</c:v>
                </c:pt>
                <c:pt idx="333">
                  <c:v>19.548254620123203</c:v>
                </c:pt>
                <c:pt idx="334">
                  <c:v>19.613963039014372</c:v>
                </c:pt>
                <c:pt idx="335">
                  <c:v>19.646817248459961</c:v>
                </c:pt>
                <c:pt idx="336">
                  <c:v>19.679671457905545</c:v>
                </c:pt>
                <c:pt idx="337">
                  <c:v>19.71252566735113</c:v>
                </c:pt>
                <c:pt idx="338">
                  <c:v>19.745379876796715</c:v>
                </c:pt>
                <c:pt idx="339">
                  <c:v>19.843942505133469</c:v>
                </c:pt>
                <c:pt idx="340">
                  <c:v>19.942505133470227</c:v>
                </c:pt>
                <c:pt idx="341">
                  <c:v>19.975359342915812</c:v>
                </c:pt>
                <c:pt idx="342">
                  <c:v>20.041067761806982</c:v>
                </c:pt>
                <c:pt idx="343">
                  <c:v>20.073921971252567</c:v>
                </c:pt>
                <c:pt idx="344">
                  <c:v>20.106776180698152</c:v>
                </c:pt>
                <c:pt idx="345">
                  <c:v>20.139630390143736</c:v>
                </c:pt>
                <c:pt idx="346">
                  <c:v>20.205338809034906</c:v>
                </c:pt>
                <c:pt idx="347">
                  <c:v>20.238193018480494</c:v>
                </c:pt>
                <c:pt idx="348">
                  <c:v>20.271047227926079</c:v>
                </c:pt>
                <c:pt idx="349">
                  <c:v>20.336755646817249</c:v>
                </c:pt>
                <c:pt idx="350">
                  <c:v>20.435318275154003</c:v>
                </c:pt>
                <c:pt idx="351">
                  <c:v>20.501026694045173</c:v>
                </c:pt>
                <c:pt idx="352">
                  <c:v>20.566735112936346</c:v>
                </c:pt>
                <c:pt idx="353">
                  <c:v>20.599589322381931</c:v>
                </c:pt>
                <c:pt idx="354">
                  <c:v>20.632443531827516</c:v>
                </c:pt>
                <c:pt idx="355">
                  <c:v>20.6652977412731</c:v>
                </c:pt>
                <c:pt idx="356">
                  <c:v>20.73100616016427</c:v>
                </c:pt>
                <c:pt idx="357">
                  <c:v>20.79671457905544</c:v>
                </c:pt>
                <c:pt idx="358">
                  <c:v>20.829568788501028</c:v>
                </c:pt>
                <c:pt idx="359">
                  <c:v>20.862422997946613</c:v>
                </c:pt>
                <c:pt idx="360">
                  <c:v>20.928131416837783</c:v>
                </c:pt>
                <c:pt idx="361">
                  <c:v>20.960985626283367</c:v>
                </c:pt>
                <c:pt idx="362">
                  <c:v>20.993839835728952</c:v>
                </c:pt>
                <c:pt idx="363">
                  <c:v>21.026694045174537</c:v>
                </c:pt>
                <c:pt idx="364">
                  <c:v>21.059548254620122</c:v>
                </c:pt>
                <c:pt idx="365">
                  <c:v>21.15811088295688</c:v>
                </c:pt>
                <c:pt idx="366">
                  <c:v>21.190965092402465</c:v>
                </c:pt>
                <c:pt idx="367">
                  <c:v>21.223819301848049</c:v>
                </c:pt>
                <c:pt idx="368">
                  <c:v>21.322381930184804</c:v>
                </c:pt>
                <c:pt idx="369">
                  <c:v>21.355236139630389</c:v>
                </c:pt>
                <c:pt idx="370">
                  <c:v>21.388090349075977</c:v>
                </c:pt>
                <c:pt idx="371">
                  <c:v>21.420944558521562</c:v>
                </c:pt>
                <c:pt idx="372">
                  <c:v>21.453798767967147</c:v>
                </c:pt>
                <c:pt idx="373">
                  <c:v>21.552361396303901</c:v>
                </c:pt>
                <c:pt idx="374">
                  <c:v>21.585215605749486</c:v>
                </c:pt>
                <c:pt idx="375">
                  <c:v>21.618069815195071</c:v>
                </c:pt>
                <c:pt idx="376">
                  <c:v>21.749486652977414</c:v>
                </c:pt>
                <c:pt idx="377">
                  <c:v>21.815195071868583</c:v>
                </c:pt>
                <c:pt idx="378">
                  <c:v>21.848049281314168</c:v>
                </c:pt>
                <c:pt idx="379">
                  <c:v>21.880903490759753</c:v>
                </c:pt>
                <c:pt idx="380">
                  <c:v>21.946611909650922</c:v>
                </c:pt>
                <c:pt idx="381">
                  <c:v>21.979466119096511</c:v>
                </c:pt>
                <c:pt idx="382">
                  <c:v>22.012320328542096</c:v>
                </c:pt>
                <c:pt idx="383">
                  <c:v>22.11088295687885</c:v>
                </c:pt>
                <c:pt idx="384">
                  <c:v>22.143737166324435</c:v>
                </c:pt>
                <c:pt idx="385">
                  <c:v>22.275154004106778</c:v>
                </c:pt>
                <c:pt idx="386">
                  <c:v>22.308008213552363</c:v>
                </c:pt>
                <c:pt idx="387">
                  <c:v>22.439425051334702</c:v>
                </c:pt>
                <c:pt idx="388">
                  <c:v>22.472279260780287</c:v>
                </c:pt>
                <c:pt idx="389">
                  <c:v>22.570841889117045</c:v>
                </c:pt>
                <c:pt idx="390">
                  <c:v>22.636550308008214</c:v>
                </c:pt>
                <c:pt idx="391">
                  <c:v>22.669404517453799</c:v>
                </c:pt>
                <c:pt idx="392">
                  <c:v>22.767967145790553</c:v>
                </c:pt>
                <c:pt idx="393">
                  <c:v>22.833675564681723</c:v>
                </c:pt>
                <c:pt idx="394">
                  <c:v>22.866529774127311</c:v>
                </c:pt>
                <c:pt idx="395">
                  <c:v>22.932238193018481</c:v>
                </c:pt>
                <c:pt idx="396">
                  <c:v>22.965092402464066</c:v>
                </c:pt>
                <c:pt idx="397">
                  <c:v>22.997946611909651</c:v>
                </c:pt>
                <c:pt idx="398">
                  <c:v>23.030800821355236</c:v>
                </c:pt>
                <c:pt idx="399">
                  <c:v>23.06365503080082</c:v>
                </c:pt>
                <c:pt idx="400">
                  <c:v>23.227926078028748</c:v>
                </c:pt>
                <c:pt idx="401">
                  <c:v>23.293634496919918</c:v>
                </c:pt>
                <c:pt idx="402">
                  <c:v>23.326488706365502</c:v>
                </c:pt>
                <c:pt idx="403">
                  <c:v>23.392197125256672</c:v>
                </c:pt>
                <c:pt idx="404">
                  <c:v>23.42505133470226</c:v>
                </c:pt>
                <c:pt idx="405">
                  <c:v>23.457905544147845</c:v>
                </c:pt>
                <c:pt idx="406">
                  <c:v>23.49075975359343</c:v>
                </c:pt>
                <c:pt idx="407">
                  <c:v>23.687885010266939</c:v>
                </c:pt>
                <c:pt idx="408">
                  <c:v>23.720739219712527</c:v>
                </c:pt>
                <c:pt idx="409">
                  <c:v>23.753593429158112</c:v>
                </c:pt>
                <c:pt idx="410">
                  <c:v>23.819301848049282</c:v>
                </c:pt>
                <c:pt idx="411">
                  <c:v>23.852156057494867</c:v>
                </c:pt>
                <c:pt idx="412">
                  <c:v>23.885010266940451</c:v>
                </c:pt>
                <c:pt idx="413">
                  <c:v>23.917864476386036</c:v>
                </c:pt>
                <c:pt idx="414">
                  <c:v>23.950718685831621</c:v>
                </c:pt>
                <c:pt idx="415">
                  <c:v>23.983572895277206</c:v>
                </c:pt>
                <c:pt idx="416">
                  <c:v>24.016427104722794</c:v>
                </c:pt>
                <c:pt idx="417">
                  <c:v>24.082135523613964</c:v>
                </c:pt>
                <c:pt idx="418">
                  <c:v>24.114989733059549</c:v>
                </c:pt>
                <c:pt idx="419">
                  <c:v>24.147843942505133</c:v>
                </c:pt>
                <c:pt idx="420">
                  <c:v>24.180698151950718</c:v>
                </c:pt>
                <c:pt idx="421">
                  <c:v>24.213552361396303</c:v>
                </c:pt>
                <c:pt idx="422">
                  <c:v>24.246406570841888</c:v>
                </c:pt>
                <c:pt idx="423">
                  <c:v>24.312114989733061</c:v>
                </c:pt>
                <c:pt idx="424">
                  <c:v>24.4435318275154</c:v>
                </c:pt>
                <c:pt idx="425">
                  <c:v>24.476386036960985</c:v>
                </c:pt>
                <c:pt idx="426">
                  <c:v>24.50924024640657</c:v>
                </c:pt>
                <c:pt idx="427">
                  <c:v>24.542094455852155</c:v>
                </c:pt>
                <c:pt idx="428">
                  <c:v>24.57494866529774</c:v>
                </c:pt>
                <c:pt idx="429">
                  <c:v>24.607802874743328</c:v>
                </c:pt>
                <c:pt idx="430">
                  <c:v>24.640657084188913</c:v>
                </c:pt>
                <c:pt idx="431">
                  <c:v>24.772073921971252</c:v>
                </c:pt>
                <c:pt idx="432">
                  <c:v>24.870636550308006</c:v>
                </c:pt>
                <c:pt idx="433">
                  <c:v>24.903490759753595</c:v>
                </c:pt>
                <c:pt idx="434">
                  <c:v>24.969199178644764</c:v>
                </c:pt>
                <c:pt idx="435">
                  <c:v>25.002053388090349</c:v>
                </c:pt>
                <c:pt idx="436">
                  <c:v>25.034907597535934</c:v>
                </c:pt>
                <c:pt idx="437">
                  <c:v>25.100616016427104</c:v>
                </c:pt>
                <c:pt idx="438">
                  <c:v>25.133470225872689</c:v>
                </c:pt>
                <c:pt idx="439">
                  <c:v>25.199178644763862</c:v>
                </c:pt>
                <c:pt idx="440">
                  <c:v>25.264887063655031</c:v>
                </c:pt>
                <c:pt idx="441">
                  <c:v>25.297741273100616</c:v>
                </c:pt>
                <c:pt idx="442">
                  <c:v>25.330595482546201</c:v>
                </c:pt>
                <c:pt idx="443">
                  <c:v>25.363449691991786</c:v>
                </c:pt>
                <c:pt idx="444">
                  <c:v>25.396303901437371</c:v>
                </c:pt>
                <c:pt idx="445">
                  <c:v>25.429158110882955</c:v>
                </c:pt>
                <c:pt idx="446">
                  <c:v>25.462012320328544</c:v>
                </c:pt>
                <c:pt idx="447">
                  <c:v>25.494866529774129</c:v>
                </c:pt>
                <c:pt idx="448">
                  <c:v>25.527720739219713</c:v>
                </c:pt>
                <c:pt idx="449">
                  <c:v>25.560574948665298</c:v>
                </c:pt>
                <c:pt idx="450">
                  <c:v>25.593429158110883</c:v>
                </c:pt>
                <c:pt idx="451">
                  <c:v>25.626283367556468</c:v>
                </c:pt>
                <c:pt idx="452">
                  <c:v>25.659137577002053</c:v>
                </c:pt>
                <c:pt idx="453">
                  <c:v>25.691991786447637</c:v>
                </c:pt>
                <c:pt idx="454">
                  <c:v>25.724845995893222</c:v>
                </c:pt>
                <c:pt idx="455">
                  <c:v>25.757700205338811</c:v>
                </c:pt>
                <c:pt idx="456">
                  <c:v>25.790554414784395</c:v>
                </c:pt>
                <c:pt idx="457">
                  <c:v>25.82340862422998</c:v>
                </c:pt>
                <c:pt idx="458">
                  <c:v>25.856262833675565</c:v>
                </c:pt>
                <c:pt idx="459">
                  <c:v>25.921971252566735</c:v>
                </c:pt>
                <c:pt idx="460">
                  <c:v>25.95482546201232</c:v>
                </c:pt>
                <c:pt idx="461">
                  <c:v>25.987679671457904</c:v>
                </c:pt>
                <c:pt idx="462">
                  <c:v>26.020533880903489</c:v>
                </c:pt>
                <c:pt idx="463">
                  <c:v>26.053388090349078</c:v>
                </c:pt>
                <c:pt idx="464">
                  <c:v>26.086242299794662</c:v>
                </c:pt>
                <c:pt idx="465">
                  <c:v>26.119096509240247</c:v>
                </c:pt>
                <c:pt idx="466">
                  <c:v>26.151950718685832</c:v>
                </c:pt>
                <c:pt idx="467">
                  <c:v>26.184804928131417</c:v>
                </c:pt>
                <c:pt idx="468">
                  <c:v>26.217659137577002</c:v>
                </c:pt>
                <c:pt idx="469">
                  <c:v>26.250513347022586</c:v>
                </c:pt>
                <c:pt idx="470">
                  <c:v>26.283367556468171</c:v>
                </c:pt>
                <c:pt idx="471">
                  <c:v>26.316221765913756</c:v>
                </c:pt>
                <c:pt idx="472">
                  <c:v>26.349075975359344</c:v>
                </c:pt>
                <c:pt idx="473">
                  <c:v>26.381930184804929</c:v>
                </c:pt>
                <c:pt idx="474">
                  <c:v>26.414784394250514</c:v>
                </c:pt>
                <c:pt idx="475">
                  <c:v>26.447638603696099</c:v>
                </c:pt>
                <c:pt idx="476">
                  <c:v>26.480492813141684</c:v>
                </c:pt>
                <c:pt idx="477">
                  <c:v>26.513347022587268</c:v>
                </c:pt>
                <c:pt idx="478">
                  <c:v>26.546201232032853</c:v>
                </c:pt>
                <c:pt idx="479">
                  <c:v>26.579055441478438</c:v>
                </c:pt>
                <c:pt idx="480">
                  <c:v>26.611909650924023</c:v>
                </c:pt>
                <c:pt idx="481">
                  <c:v>26.644763860369611</c:v>
                </c:pt>
                <c:pt idx="482">
                  <c:v>26.677618069815196</c:v>
                </c:pt>
                <c:pt idx="483">
                  <c:v>26.710472279260781</c:v>
                </c:pt>
                <c:pt idx="484">
                  <c:v>26.743326488706366</c:v>
                </c:pt>
                <c:pt idx="485">
                  <c:v>26.776180698151951</c:v>
                </c:pt>
                <c:pt idx="486">
                  <c:v>26.809034907597535</c:v>
                </c:pt>
                <c:pt idx="487">
                  <c:v>26.84188911704312</c:v>
                </c:pt>
                <c:pt idx="488">
                  <c:v>26.874743326488705</c:v>
                </c:pt>
                <c:pt idx="489">
                  <c:v>26.90759753593429</c:v>
                </c:pt>
                <c:pt idx="490">
                  <c:v>26.940451745379878</c:v>
                </c:pt>
                <c:pt idx="491">
                  <c:v>26.973305954825463</c:v>
                </c:pt>
                <c:pt idx="492">
                  <c:v>27.006160164271048</c:v>
                </c:pt>
                <c:pt idx="493">
                  <c:v>27.039014373716633</c:v>
                </c:pt>
                <c:pt idx="494">
                  <c:v>27.071868583162217</c:v>
                </c:pt>
                <c:pt idx="495">
                  <c:v>27.104722792607802</c:v>
                </c:pt>
                <c:pt idx="496">
                  <c:v>27.137577002053387</c:v>
                </c:pt>
                <c:pt idx="497">
                  <c:v>27.170431211498972</c:v>
                </c:pt>
                <c:pt idx="498">
                  <c:v>27.20328542094456</c:v>
                </c:pt>
                <c:pt idx="499">
                  <c:v>27.236139630390145</c:v>
                </c:pt>
                <c:pt idx="500">
                  <c:v>27.26899383983573</c:v>
                </c:pt>
                <c:pt idx="501">
                  <c:v>27.301848049281315</c:v>
                </c:pt>
                <c:pt idx="502">
                  <c:v>27.3347022587269</c:v>
                </c:pt>
                <c:pt idx="503">
                  <c:v>27.367556468172484</c:v>
                </c:pt>
                <c:pt idx="504">
                  <c:v>27.400410677618069</c:v>
                </c:pt>
                <c:pt idx="505">
                  <c:v>27.433264887063654</c:v>
                </c:pt>
                <c:pt idx="506">
                  <c:v>27.466119096509239</c:v>
                </c:pt>
                <c:pt idx="507">
                  <c:v>27.498973305954827</c:v>
                </c:pt>
                <c:pt idx="508">
                  <c:v>27.531827515400412</c:v>
                </c:pt>
                <c:pt idx="509">
                  <c:v>27.564681724845997</c:v>
                </c:pt>
                <c:pt idx="510">
                  <c:v>27.597535934291582</c:v>
                </c:pt>
                <c:pt idx="511">
                  <c:v>27.630390143737166</c:v>
                </c:pt>
                <c:pt idx="512">
                  <c:v>27.663244353182751</c:v>
                </c:pt>
                <c:pt idx="513">
                  <c:v>27.696098562628336</c:v>
                </c:pt>
                <c:pt idx="514">
                  <c:v>27.728952772073921</c:v>
                </c:pt>
                <c:pt idx="515">
                  <c:v>27.761806981519506</c:v>
                </c:pt>
                <c:pt idx="516">
                  <c:v>27.794661190965094</c:v>
                </c:pt>
                <c:pt idx="517">
                  <c:v>27.827515400410679</c:v>
                </c:pt>
                <c:pt idx="518">
                  <c:v>27.860369609856264</c:v>
                </c:pt>
                <c:pt idx="519">
                  <c:v>27.893223819301848</c:v>
                </c:pt>
                <c:pt idx="520">
                  <c:v>27.926078028747433</c:v>
                </c:pt>
                <c:pt idx="521">
                  <c:v>27.958932238193018</c:v>
                </c:pt>
                <c:pt idx="522">
                  <c:v>27.991786447638603</c:v>
                </c:pt>
                <c:pt idx="523">
                  <c:v>28.024640657084188</c:v>
                </c:pt>
                <c:pt idx="524">
                  <c:v>28.057494866529773</c:v>
                </c:pt>
                <c:pt idx="525">
                  <c:v>28.090349075975361</c:v>
                </c:pt>
                <c:pt idx="526">
                  <c:v>28.123203285420946</c:v>
                </c:pt>
                <c:pt idx="527">
                  <c:v>28.156057494866531</c:v>
                </c:pt>
                <c:pt idx="528">
                  <c:v>28.188911704312115</c:v>
                </c:pt>
                <c:pt idx="529">
                  <c:v>28.2217659137577</c:v>
                </c:pt>
                <c:pt idx="530">
                  <c:v>28.254620123203285</c:v>
                </c:pt>
                <c:pt idx="531">
                  <c:v>28.28747433264887</c:v>
                </c:pt>
                <c:pt idx="532">
                  <c:v>28.320328542094455</c:v>
                </c:pt>
                <c:pt idx="533">
                  <c:v>28.353182751540039</c:v>
                </c:pt>
                <c:pt idx="534">
                  <c:v>28.386036960985628</c:v>
                </c:pt>
                <c:pt idx="535">
                  <c:v>28.418891170431213</c:v>
                </c:pt>
                <c:pt idx="536">
                  <c:v>28.451745379876797</c:v>
                </c:pt>
                <c:pt idx="537">
                  <c:v>28.484599589322382</c:v>
                </c:pt>
                <c:pt idx="538">
                  <c:v>28.517453798767967</c:v>
                </c:pt>
                <c:pt idx="539">
                  <c:v>28.550308008213552</c:v>
                </c:pt>
                <c:pt idx="540">
                  <c:v>28.583162217659137</c:v>
                </c:pt>
                <c:pt idx="541">
                  <c:v>28.616016427104721</c:v>
                </c:pt>
                <c:pt idx="542">
                  <c:v>28.648870636550306</c:v>
                </c:pt>
                <c:pt idx="543">
                  <c:v>28.681724845995895</c:v>
                </c:pt>
                <c:pt idx="544">
                  <c:v>28.714579055441479</c:v>
                </c:pt>
                <c:pt idx="545">
                  <c:v>28.747433264887064</c:v>
                </c:pt>
                <c:pt idx="546">
                  <c:v>28.780287474332649</c:v>
                </c:pt>
                <c:pt idx="547">
                  <c:v>28.813141683778234</c:v>
                </c:pt>
                <c:pt idx="548">
                  <c:v>28.845995893223819</c:v>
                </c:pt>
                <c:pt idx="549">
                  <c:v>28.878850102669404</c:v>
                </c:pt>
                <c:pt idx="550">
                  <c:v>28.911704312114988</c:v>
                </c:pt>
                <c:pt idx="551">
                  <c:v>28.944558521560573</c:v>
                </c:pt>
                <c:pt idx="552">
                  <c:v>28.977412731006162</c:v>
                </c:pt>
                <c:pt idx="553">
                  <c:v>29.010266940451746</c:v>
                </c:pt>
                <c:pt idx="554">
                  <c:v>29.043121149897331</c:v>
                </c:pt>
                <c:pt idx="555">
                  <c:v>29.075975359342916</c:v>
                </c:pt>
                <c:pt idx="556">
                  <c:v>29.108829568788501</c:v>
                </c:pt>
                <c:pt idx="557">
                  <c:v>29.141683778234086</c:v>
                </c:pt>
                <c:pt idx="558">
                  <c:v>29.17453798767967</c:v>
                </c:pt>
                <c:pt idx="559">
                  <c:v>29.207392197125255</c:v>
                </c:pt>
                <c:pt idx="560">
                  <c:v>29.240246406570844</c:v>
                </c:pt>
                <c:pt idx="561">
                  <c:v>29.273100616016428</c:v>
                </c:pt>
                <c:pt idx="562">
                  <c:v>29.305954825462013</c:v>
                </c:pt>
                <c:pt idx="563">
                  <c:v>29.338809034907598</c:v>
                </c:pt>
                <c:pt idx="564">
                  <c:v>29.371663244353183</c:v>
                </c:pt>
                <c:pt idx="565">
                  <c:v>29.404517453798768</c:v>
                </c:pt>
                <c:pt idx="566">
                  <c:v>29.437371663244353</c:v>
                </c:pt>
                <c:pt idx="567">
                  <c:v>29.470225872689937</c:v>
                </c:pt>
                <c:pt idx="568">
                  <c:v>29.503080082135522</c:v>
                </c:pt>
                <c:pt idx="569">
                  <c:v>29.535934291581111</c:v>
                </c:pt>
                <c:pt idx="570">
                  <c:v>29.568788501026695</c:v>
                </c:pt>
                <c:pt idx="571">
                  <c:v>29.60164271047228</c:v>
                </c:pt>
                <c:pt idx="572">
                  <c:v>29.634496919917865</c:v>
                </c:pt>
                <c:pt idx="573">
                  <c:v>29.66735112936345</c:v>
                </c:pt>
                <c:pt idx="574">
                  <c:v>29.700205338809035</c:v>
                </c:pt>
                <c:pt idx="575">
                  <c:v>29.733059548254619</c:v>
                </c:pt>
                <c:pt idx="576">
                  <c:v>29.765913757700204</c:v>
                </c:pt>
                <c:pt idx="577">
                  <c:v>29.798767967145789</c:v>
                </c:pt>
                <c:pt idx="578">
                  <c:v>29.831622176591377</c:v>
                </c:pt>
                <c:pt idx="579">
                  <c:v>29.864476386036962</c:v>
                </c:pt>
                <c:pt idx="580">
                  <c:v>29.897330595482547</c:v>
                </c:pt>
                <c:pt idx="581">
                  <c:v>29.930184804928132</c:v>
                </c:pt>
                <c:pt idx="582">
                  <c:v>29.963039014373717</c:v>
                </c:pt>
                <c:pt idx="583">
                  <c:v>29.995893223819301</c:v>
                </c:pt>
                <c:pt idx="584">
                  <c:v>30.028747433264886</c:v>
                </c:pt>
                <c:pt idx="585">
                  <c:v>30.061601642710471</c:v>
                </c:pt>
                <c:pt idx="586">
                  <c:v>30.094455852156056</c:v>
                </c:pt>
                <c:pt idx="587">
                  <c:v>30.127310061601644</c:v>
                </c:pt>
                <c:pt idx="588">
                  <c:v>30.160164271047229</c:v>
                </c:pt>
                <c:pt idx="589">
                  <c:v>30.193018480492814</c:v>
                </c:pt>
                <c:pt idx="590">
                  <c:v>30.225872689938399</c:v>
                </c:pt>
                <c:pt idx="591">
                  <c:v>30.258726899383984</c:v>
                </c:pt>
                <c:pt idx="592">
                  <c:v>30.291581108829568</c:v>
                </c:pt>
                <c:pt idx="593">
                  <c:v>30.324435318275153</c:v>
                </c:pt>
                <c:pt idx="594">
                  <c:v>30.357289527720738</c:v>
                </c:pt>
                <c:pt idx="595">
                  <c:v>30.390143737166323</c:v>
                </c:pt>
                <c:pt idx="596">
                  <c:v>30.422997946611911</c:v>
                </c:pt>
                <c:pt idx="597">
                  <c:v>30.455852156057496</c:v>
                </c:pt>
                <c:pt idx="598">
                  <c:v>30.488706365503081</c:v>
                </c:pt>
                <c:pt idx="599">
                  <c:v>30.521560574948666</c:v>
                </c:pt>
                <c:pt idx="600">
                  <c:v>30.55441478439425</c:v>
                </c:pt>
                <c:pt idx="601">
                  <c:v>30.587268993839835</c:v>
                </c:pt>
                <c:pt idx="602">
                  <c:v>30.62012320328542</c:v>
                </c:pt>
                <c:pt idx="603">
                  <c:v>30.652977412731005</c:v>
                </c:pt>
                <c:pt idx="604">
                  <c:v>30.68583162217659</c:v>
                </c:pt>
                <c:pt idx="605">
                  <c:v>30.718685831622178</c:v>
                </c:pt>
                <c:pt idx="606">
                  <c:v>30.751540041067763</c:v>
                </c:pt>
                <c:pt idx="607">
                  <c:v>30.784394250513348</c:v>
                </c:pt>
                <c:pt idx="608">
                  <c:v>30.817248459958932</c:v>
                </c:pt>
                <c:pt idx="609">
                  <c:v>30.850102669404517</c:v>
                </c:pt>
                <c:pt idx="610">
                  <c:v>30.882956878850102</c:v>
                </c:pt>
                <c:pt idx="611">
                  <c:v>30.915811088295687</c:v>
                </c:pt>
                <c:pt idx="612">
                  <c:v>30.948665297741272</c:v>
                </c:pt>
                <c:pt idx="613">
                  <c:v>30.981519507186857</c:v>
                </c:pt>
                <c:pt idx="614">
                  <c:v>31.014373716632445</c:v>
                </c:pt>
                <c:pt idx="615">
                  <c:v>31.04722792607803</c:v>
                </c:pt>
                <c:pt idx="616">
                  <c:v>31.080082135523615</c:v>
                </c:pt>
                <c:pt idx="617">
                  <c:v>31.112936344969199</c:v>
                </c:pt>
                <c:pt idx="618">
                  <c:v>31.145790554414784</c:v>
                </c:pt>
                <c:pt idx="619">
                  <c:v>31.178644763860369</c:v>
                </c:pt>
                <c:pt idx="620">
                  <c:v>31.211498973305954</c:v>
                </c:pt>
                <c:pt idx="621">
                  <c:v>31.244353182751539</c:v>
                </c:pt>
                <c:pt idx="622">
                  <c:v>31.277207392197127</c:v>
                </c:pt>
                <c:pt idx="623">
                  <c:v>31.310061601642712</c:v>
                </c:pt>
                <c:pt idx="624">
                  <c:v>31.342915811088297</c:v>
                </c:pt>
                <c:pt idx="625">
                  <c:v>31.375770020533881</c:v>
                </c:pt>
                <c:pt idx="626">
                  <c:v>31.408624229979466</c:v>
                </c:pt>
                <c:pt idx="627">
                  <c:v>31.441478439425051</c:v>
                </c:pt>
                <c:pt idx="628">
                  <c:v>31.474332648870636</c:v>
                </c:pt>
                <c:pt idx="629">
                  <c:v>31.507186858316221</c:v>
                </c:pt>
                <c:pt idx="630">
                  <c:v>31.540041067761805</c:v>
                </c:pt>
                <c:pt idx="631">
                  <c:v>31.572895277207394</c:v>
                </c:pt>
                <c:pt idx="632">
                  <c:v>31.605749486652979</c:v>
                </c:pt>
                <c:pt idx="633">
                  <c:v>31.638603696098563</c:v>
                </c:pt>
                <c:pt idx="634">
                  <c:v>31.671457905544148</c:v>
                </c:pt>
                <c:pt idx="635">
                  <c:v>31.704312114989733</c:v>
                </c:pt>
                <c:pt idx="636">
                  <c:v>31.737166324435318</c:v>
                </c:pt>
                <c:pt idx="637">
                  <c:v>31.770020533880903</c:v>
                </c:pt>
                <c:pt idx="638">
                  <c:v>31.802874743326488</c:v>
                </c:pt>
                <c:pt idx="639">
                  <c:v>31.835728952772072</c:v>
                </c:pt>
                <c:pt idx="640">
                  <c:v>31.868583162217661</c:v>
                </c:pt>
                <c:pt idx="641">
                  <c:v>31.901437371663246</c:v>
                </c:pt>
                <c:pt idx="642">
                  <c:v>31.93429158110883</c:v>
                </c:pt>
                <c:pt idx="643">
                  <c:v>31.967145790554415</c:v>
                </c:pt>
                <c:pt idx="644">
                  <c:v>32</c:v>
                </c:pt>
                <c:pt idx="645">
                  <c:v>32.032854209445588</c:v>
                </c:pt>
                <c:pt idx="646">
                  <c:v>32.06570841889117</c:v>
                </c:pt>
                <c:pt idx="647">
                  <c:v>32.098562628336758</c:v>
                </c:pt>
                <c:pt idx="648">
                  <c:v>32.131416837782339</c:v>
                </c:pt>
                <c:pt idx="649">
                  <c:v>32.164271047227928</c:v>
                </c:pt>
                <c:pt idx="650">
                  <c:v>32.197125256673509</c:v>
                </c:pt>
                <c:pt idx="651">
                  <c:v>32.229979466119097</c:v>
                </c:pt>
                <c:pt idx="652">
                  <c:v>32.262833675564679</c:v>
                </c:pt>
                <c:pt idx="653">
                  <c:v>32.295687885010267</c:v>
                </c:pt>
                <c:pt idx="654">
                  <c:v>32.328542094455855</c:v>
                </c:pt>
                <c:pt idx="655">
                  <c:v>32.361396303901437</c:v>
                </c:pt>
                <c:pt idx="656">
                  <c:v>32.394250513347025</c:v>
                </c:pt>
                <c:pt idx="657">
                  <c:v>32.427104722792606</c:v>
                </c:pt>
                <c:pt idx="658">
                  <c:v>32.459958932238195</c:v>
                </c:pt>
                <c:pt idx="659">
                  <c:v>32.492813141683776</c:v>
                </c:pt>
                <c:pt idx="660">
                  <c:v>32.525667351129364</c:v>
                </c:pt>
                <c:pt idx="661">
                  <c:v>32.558521560574945</c:v>
                </c:pt>
                <c:pt idx="662">
                  <c:v>32.591375770020534</c:v>
                </c:pt>
                <c:pt idx="663">
                  <c:v>32.624229979466122</c:v>
                </c:pt>
                <c:pt idx="664">
                  <c:v>32.657084188911703</c:v>
                </c:pt>
                <c:pt idx="665">
                  <c:v>32.689938398357292</c:v>
                </c:pt>
                <c:pt idx="666">
                  <c:v>32.722792607802873</c:v>
                </c:pt>
                <c:pt idx="667">
                  <c:v>32.755646817248461</c:v>
                </c:pt>
                <c:pt idx="668">
                  <c:v>32.788501026694043</c:v>
                </c:pt>
                <c:pt idx="669">
                  <c:v>32.821355236139631</c:v>
                </c:pt>
                <c:pt idx="670">
                  <c:v>32.854209445585212</c:v>
                </c:pt>
                <c:pt idx="671">
                  <c:v>32.887063655030801</c:v>
                </c:pt>
                <c:pt idx="672">
                  <c:v>32.919917864476389</c:v>
                </c:pt>
                <c:pt idx="673">
                  <c:v>32.95277207392197</c:v>
                </c:pt>
                <c:pt idx="674">
                  <c:v>32.985626283367559</c:v>
                </c:pt>
                <c:pt idx="675">
                  <c:v>33.01848049281314</c:v>
                </c:pt>
                <c:pt idx="676">
                  <c:v>33.051334702258728</c:v>
                </c:pt>
                <c:pt idx="677">
                  <c:v>33.08418891170431</c:v>
                </c:pt>
                <c:pt idx="678">
                  <c:v>33.117043121149898</c:v>
                </c:pt>
                <c:pt idx="679">
                  <c:v>33.149897330595479</c:v>
                </c:pt>
                <c:pt idx="680">
                  <c:v>33.182751540041068</c:v>
                </c:pt>
                <c:pt idx="681">
                  <c:v>33.215605749486656</c:v>
                </c:pt>
                <c:pt idx="682">
                  <c:v>33.248459958932237</c:v>
                </c:pt>
                <c:pt idx="683">
                  <c:v>33.281314168377826</c:v>
                </c:pt>
                <c:pt idx="684">
                  <c:v>33.314168377823407</c:v>
                </c:pt>
                <c:pt idx="685">
                  <c:v>33.347022587268995</c:v>
                </c:pt>
                <c:pt idx="686">
                  <c:v>33.379876796714576</c:v>
                </c:pt>
                <c:pt idx="687">
                  <c:v>33.412731006160165</c:v>
                </c:pt>
                <c:pt idx="688">
                  <c:v>33.445585215605746</c:v>
                </c:pt>
                <c:pt idx="689">
                  <c:v>33.478439425051334</c:v>
                </c:pt>
                <c:pt idx="690">
                  <c:v>33.511293634496923</c:v>
                </c:pt>
                <c:pt idx="691">
                  <c:v>33.544147843942504</c:v>
                </c:pt>
                <c:pt idx="692">
                  <c:v>33.577002053388092</c:v>
                </c:pt>
                <c:pt idx="693">
                  <c:v>33.609856262833674</c:v>
                </c:pt>
                <c:pt idx="694">
                  <c:v>33.642710472279262</c:v>
                </c:pt>
                <c:pt idx="695">
                  <c:v>33.675564681724843</c:v>
                </c:pt>
                <c:pt idx="696">
                  <c:v>33.708418891170432</c:v>
                </c:pt>
                <c:pt idx="697">
                  <c:v>33.741273100616013</c:v>
                </c:pt>
                <c:pt idx="698">
                  <c:v>33.774127310061601</c:v>
                </c:pt>
                <c:pt idx="699">
                  <c:v>33.80698151950719</c:v>
                </c:pt>
                <c:pt idx="700">
                  <c:v>33.839835728952771</c:v>
                </c:pt>
                <c:pt idx="701">
                  <c:v>33.872689938398359</c:v>
                </c:pt>
                <c:pt idx="702">
                  <c:v>33.905544147843941</c:v>
                </c:pt>
                <c:pt idx="703">
                  <c:v>33.938398357289529</c:v>
                </c:pt>
                <c:pt idx="704">
                  <c:v>33.97125256673511</c:v>
                </c:pt>
                <c:pt idx="705">
                  <c:v>34.004106776180699</c:v>
                </c:pt>
                <c:pt idx="706">
                  <c:v>34.036960985626287</c:v>
                </c:pt>
                <c:pt idx="707">
                  <c:v>34.069815195071868</c:v>
                </c:pt>
                <c:pt idx="708">
                  <c:v>34.102669404517457</c:v>
                </c:pt>
                <c:pt idx="709">
                  <c:v>34.135523613963038</c:v>
                </c:pt>
                <c:pt idx="710">
                  <c:v>34.168377823408626</c:v>
                </c:pt>
                <c:pt idx="711">
                  <c:v>34.201232032854207</c:v>
                </c:pt>
                <c:pt idx="712">
                  <c:v>34.234086242299796</c:v>
                </c:pt>
                <c:pt idx="713">
                  <c:v>34.266940451745377</c:v>
                </c:pt>
                <c:pt idx="714">
                  <c:v>34.299794661190965</c:v>
                </c:pt>
                <c:pt idx="715">
                  <c:v>34.332648870636554</c:v>
                </c:pt>
                <c:pt idx="716">
                  <c:v>34.365503080082135</c:v>
                </c:pt>
                <c:pt idx="717">
                  <c:v>34.398357289527723</c:v>
                </c:pt>
                <c:pt idx="718">
                  <c:v>34.431211498973305</c:v>
                </c:pt>
                <c:pt idx="719">
                  <c:v>34.464065708418893</c:v>
                </c:pt>
                <c:pt idx="720">
                  <c:v>34.496919917864474</c:v>
                </c:pt>
                <c:pt idx="721">
                  <c:v>34.529774127310063</c:v>
                </c:pt>
                <c:pt idx="722">
                  <c:v>34.562628336755644</c:v>
                </c:pt>
                <c:pt idx="723">
                  <c:v>34.595482546201232</c:v>
                </c:pt>
                <c:pt idx="724">
                  <c:v>34.628336755646821</c:v>
                </c:pt>
                <c:pt idx="725">
                  <c:v>34.661190965092402</c:v>
                </c:pt>
                <c:pt idx="726">
                  <c:v>34.69404517453799</c:v>
                </c:pt>
                <c:pt idx="727">
                  <c:v>34.726899383983572</c:v>
                </c:pt>
                <c:pt idx="728">
                  <c:v>34.75975359342916</c:v>
                </c:pt>
                <c:pt idx="729">
                  <c:v>34.792607802874741</c:v>
                </c:pt>
                <c:pt idx="730">
                  <c:v>34.82546201232033</c:v>
                </c:pt>
                <c:pt idx="731">
                  <c:v>34.858316221765911</c:v>
                </c:pt>
                <c:pt idx="732">
                  <c:v>34.891170431211499</c:v>
                </c:pt>
                <c:pt idx="733">
                  <c:v>34.924024640657088</c:v>
                </c:pt>
                <c:pt idx="734">
                  <c:v>34.956878850102669</c:v>
                </c:pt>
                <c:pt idx="735">
                  <c:v>34.989733059548257</c:v>
                </c:pt>
                <c:pt idx="736">
                  <c:v>35.022587268993838</c:v>
                </c:pt>
                <c:pt idx="737">
                  <c:v>35.055441478439427</c:v>
                </c:pt>
                <c:pt idx="738">
                  <c:v>35.088295687885008</c:v>
                </c:pt>
                <c:pt idx="739">
                  <c:v>35.121149897330596</c:v>
                </c:pt>
                <c:pt idx="740">
                  <c:v>35.154004106776178</c:v>
                </c:pt>
                <c:pt idx="741">
                  <c:v>35.186858316221766</c:v>
                </c:pt>
                <c:pt idx="742">
                  <c:v>35.219712525667354</c:v>
                </c:pt>
                <c:pt idx="743">
                  <c:v>35.252566735112936</c:v>
                </c:pt>
                <c:pt idx="744">
                  <c:v>35.285420944558524</c:v>
                </c:pt>
                <c:pt idx="745">
                  <c:v>35.318275154004105</c:v>
                </c:pt>
                <c:pt idx="746">
                  <c:v>35.351129363449694</c:v>
                </c:pt>
                <c:pt idx="747">
                  <c:v>35.383983572895275</c:v>
                </c:pt>
                <c:pt idx="748">
                  <c:v>35.416837782340863</c:v>
                </c:pt>
                <c:pt idx="749">
                  <c:v>35.449691991786445</c:v>
                </c:pt>
                <c:pt idx="750">
                  <c:v>35.482546201232033</c:v>
                </c:pt>
                <c:pt idx="751">
                  <c:v>35.515400410677621</c:v>
                </c:pt>
                <c:pt idx="752">
                  <c:v>35.548254620123203</c:v>
                </c:pt>
                <c:pt idx="753">
                  <c:v>35.581108829568791</c:v>
                </c:pt>
                <c:pt idx="754">
                  <c:v>35.613963039014372</c:v>
                </c:pt>
                <c:pt idx="755">
                  <c:v>35.646817248459961</c:v>
                </c:pt>
                <c:pt idx="756">
                  <c:v>35.679671457905542</c:v>
                </c:pt>
                <c:pt idx="757">
                  <c:v>35.71252566735113</c:v>
                </c:pt>
                <c:pt idx="758">
                  <c:v>35.745379876796711</c:v>
                </c:pt>
                <c:pt idx="759">
                  <c:v>35.7782340862423</c:v>
                </c:pt>
                <c:pt idx="760">
                  <c:v>35.811088295687888</c:v>
                </c:pt>
                <c:pt idx="761">
                  <c:v>35.843942505133469</c:v>
                </c:pt>
                <c:pt idx="762">
                  <c:v>35.876796714579058</c:v>
                </c:pt>
                <c:pt idx="763">
                  <c:v>35.909650924024639</c:v>
                </c:pt>
                <c:pt idx="764">
                  <c:v>35.942505133470227</c:v>
                </c:pt>
                <c:pt idx="765">
                  <c:v>35.975359342915809</c:v>
                </c:pt>
                <c:pt idx="766">
                  <c:v>36.008213552361397</c:v>
                </c:pt>
                <c:pt idx="767">
                  <c:v>36.041067761806978</c:v>
                </c:pt>
                <c:pt idx="768">
                  <c:v>36.073921971252567</c:v>
                </c:pt>
                <c:pt idx="769">
                  <c:v>36.106776180698155</c:v>
                </c:pt>
                <c:pt idx="770">
                  <c:v>36.139630390143736</c:v>
                </c:pt>
                <c:pt idx="771">
                  <c:v>36.172484599589325</c:v>
                </c:pt>
                <c:pt idx="772">
                  <c:v>36.205338809034906</c:v>
                </c:pt>
                <c:pt idx="773">
                  <c:v>36.238193018480494</c:v>
                </c:pt>
                <c:pt idx="774">
                  <c:v>36.271047227926076</c:v>
                </c:pt>
                <c:pt idx="775">
                  <c:v>36.303901437371664</c:v>
                </c:pt>
                <c:pt idx="776">
                  <c:v>36.336755646817245</c:v>
                </c:pt>
                <c:pt idx="777">
                  <c:v>36.369609856262834</c:v>
                </c:pt>
                <c:pt idx="778">
                  <c:v>36.402464065708422</c:v>
                </c:pt>
                <c:pt idx="779">
                  <c:v>36.435318275154003</c:v>
                </c:pt>
                <c:pt idx="780">
                  <c:v>36.468172484599592</c:v>
                </c:pt>
                <c:pt idx="781">
                  <c:v>36.501026694045173</c:v>
                </c:pt>
                <c:pt idx="782">
                  <c:v>36.533880903490761</c:v>
                </c:pt>
                <c:pt idx="783">
                  <c:v>36.566735112936342</c:v>
                </c:pt>
                <c:pt idx="784">
                  <c:v>36.599589322381931</c:v>
                </c:pt>
                <c:pt idx="785">
                  <c:v>36.632443531827512</c:v>
                </c:pt>
                <c:pt idx="786">
                  <c:v>36.6652977412731</c:v>
                </c:pt>
                <c:pt idx="787">
                  <c:v>36.698151950718689</c:v>
                </c:pt>
                <c:pt idx="788">
                  <c:v>36.73100616016427</c:v>
                </c:pt>
                <c:pt idx="789">
                  <c:v>36.763860369609858</c:v>
                </c:pt>
                <c:pt idx="790">
                  <c:v>36.79671457905544</c:v>
                </c:pt>
                <c:pt idx="791">
                  <c:v>36.829568788501028</c:v>
                </c:pt>
                <c:pt idx="792">
                  <c:v>36.862422997946609</c:v>
                </c:pt>
                <c:pt idx="793">
                  <c:v>36.895277207392198</c:v>
                </c:pt>
                <c:pt idx="794">
                  <c:v>36.928131416837779</c:v>
                </c:pt>
                <c:pt idx="795">
                  <c:v>36.993839835728956</c:v>
                </c:pt>
                <c:pt idx="796">
                  <c:v>37.026694045174537</c:v>
                </c:pt>
                <c:pt idx="797">
                  <c:v>37.059548254620125</c:v>
                </c:pt>
                <c:pt idx="798">
                  <c:v>37.092402464065707</c:v>
                </c:pt>
                <c:pt idx="799">
                  <c:v>37.125256673511295</c:v>
                </c:pt>
                <c:pt idx="800">
                  <c:v>37.190965092402465</c:v>
                </c:pt>
                <c:pt idx="801">
                  <c:v>37.256673511293634</c:v>
                </c:pt>
                <c:pt idx="802">
                  <c:v>37.289527720739223</c:v>
                </c:pt>
                <c:pt idx="803">
                  <c:v>37.322381930184804</c:v>
                </c:pt>
                <c:pt idx="804">
                  <c:v>37.355236139630392</c:v>
                </c:pt>
                <c:pt idx="805">
                  <c:v>37.388090349075974</c:v>
                </c:pt>
                <c:pt idx="806">
                  <c:v>37.420944558521562</c:v>
                </c:pt>
                <c:pt idx="807">
                  <c:v>37.453798767967143</c:v>
                </c:pt>
                <c:pt idx="808">
                  <c:v>37.486652977412732</c:v>
                </c:pt>
                <c:pt idx="809">
                  <c:v>37.519507186858313</c:v>
                </c:pt>
                <c:pt idx="810">
                  <c:v>37.552361396303901</c:v>
                </c:pt>
                <c:pt idx="811">
                  <c:v>37.618069815195071</c:v>
                </c:pt>
                <c:pt idx="812">
                  <c:v>37.650924024640659</c:v>
                </c:pt>
                <c:pt idx="813">
                  <c:v>37.68377823408624</c:v>
                </c:pt>
                <c:pt idx="814">
                  <c:v>37.716632443531829</c:v>
                </c:pt>
                <c:pt idx="815">
                  <c:v>37.74948665297741</c:v>
                </c:pt>
                <c:pt idx="816">
                  <c:v>37.782340862422998</c:v>
                </c:pt>
                <c:pt idx="817">
                  <c:v>37.81519507186858</c:v>
                </c:pt>
                <c:pt idx="818">
                  <c:v>37.848049281314168</c:v>
                </c:pt>
                <c:pt idx="819">
                  <c:v>37.880903490759756</c:v>
                </c:pt>
                <c:pt idx="820">
                  <c:v>37.913757700205338</c:v>
                </c:pt>
                <c:pt idx="821">
                  <c:v>37.946611909650926</c:v>
                </c:pt>
                <c:pt idx="822">
                  <c:v>37.979466119096507</c:v>
                </c:pt>
                <c:pt idx="823">
                  <c:v>38.012320328542096</c:v>
                </c:pt>
                <c:pt idx="824">
                  <c:v>38.045174537987677</c:v>
                </c:pt>
                <c:pt idx="825">
                  <c:v>38.078028747433265</c:v>
                </c:pt>
                <c:pt idx="826">
                  <c:v>38.110882956878854</c:v>
                </c:pt>
                <c:pt idx="827">
                  <c:v>38.143737166324435</c:v>
                </c:pt>
                <c:pt idx="828">
                  <c:v>38.176591375770023</c:v>
                </c:pt>
                <c:pt idx="829">
                  <c:v>38.209445585215605</c:v>
                </c:pt>
                <c:pt idx="830">
                  <c:v>38.242299794661193</c:v>
                </c:pt>
                <c:pt idx="831">
                  <c:v>38.275154004106774</c:v>
                </c:pt>
                <c:pt idx="832">
                  <c:v>38.308008213552363</c:v>
                </c:pt>
                <c:pt idx="833">
                  <c:v>38.340862422997944</c:v>
                </c:pt>
                <c:pt idx="834">
                  <c:v>38.373716632443532</c:v>
                </c:pt>
                <c:pt idx="835">
                  <c:v>38.406570841889121</c:v>
                </c:pt>
                <c:pt idx="836">
                  <c:v>38.439425051334702</c:v>
                </c:pt>
                <c:pt idx="837">
                  <c:v>38.47227926078029</c:v>
                </c:pt>
                <c:pt idx="838">
                  <c:v>38.505133470225871</c:v>
                </c:pt>
                <c:pt idx="839">
                  <c:v>38.53798767967146</c:v>
                </c:pt>
                <c:pt idx="840">
                  <c:v>38.570841889117041</c:v>
                </c:pt>
                <c:pt idx="841">
                  <c:v>38.603696098562629</c:v>
                </c:pt>
                <c:pt idx="842">
                  <c:v>38.636550308008211</c:v>
                </c:pt>
                <c:pt idx="843">
                  <c:v>38.669404517453799</c:v>
                </c:pt>
                <c:pt idx="844">
                  <c:v>38.702258726899387</c:v>
                </c:pt>
                <c:pt idx="845">
                  <c:v>38.735112936344969</c:v>
                </c:pt>
                <c:pt idx="846">
                  <c:v>38.767967145790557</c:v>
                </c:pt>
                <c:pt idx="847">
                  <c:v>38.800821355236138</c:v>
                </c:pt>
                <c:pt idx="848">
                  <c:v>38.833675564681727</c:v>
                </c:pt>
                <c:pt idx="849">
                  <c:v>38.866529774127308</c:v>
                </c:pt>
                <c:pt idx="850">
                  <c:v>38.899383983572896</c:v>
                </c:pt>
                <c:pt idx="851">
                  <c:v>38.932238193018478</c:v>
                </c:pt>
                <c:pt idx="852">
                  <c:v>38.965092402464066</c:v>
                </c:pt>
                <c:pt idx="853">
                  <c:v>38.997946611909654</c:v>
                </c:pt>
                <c:pt idx="854">
                  <c:v>39.030800821355236</c:v>
                </c:pt>
                <c:pt idx="855">
                  <c:v>39.063655030800824</c:v>
                </c:pt>
                <c:pt idx="856">
                  <c:v>39.096509240246405</c:v>
                </c:pt>
                <c:pt idx="857">
                  <c:v>39.129363449691994</c:v>
                </c:pt>
                <c:pt idx="858">
                  <c:v>39.162217659137575</c:v>
                </c:pt>
                <c:pt idx="859">
                  <c:v>39.195071868583163</c:v>
                </c:pt>
                <c:pt idx="860">
                  <c:v>39.227926078028744</c:v>
                </c:pt>
                <c:pt idx="861">
                  <c:v>39.260780287474333</c:v>
                </c:pt>
                <c:pt idx="862">
                  <c:v>39.293634496919921</c:v>
                </c:pt>
                <c:pt idx="863">
                  <c:v>39.326488706365502</c:v>
                </c:pt>
                <c:pt idx="864">
                  <c:v>39.359342915811091</c:v>
                </c:pt>
                <c:pt idx="865">
                  <c:v>39.392197125256672</c:v>
                </c:pt>
                <c:pt idx="866">
                  <c:v>39.42505133470226</c:v>
                </c:pt>
                <c:pt idx="867">
                  <c:v>39.457905544147842</c:v>
                </c:pt>
                <c:pt idx="868">
                  <c:v>39.49075975359343</c:v>
                </c:pt>
                <c:pt idx="869">
                  <c:v>39.523613963039011</c:v>
                </c:pt>
                <c:pt idx="870">
                  <c:v>39.5564681724846</c:v>
                </c:pt>
                <c:pt idx="871">
                  <c:v>39.589322381930188</c:v>
                </c:pt>
                <c:pt idx="872">
                  <c:v>39.622176591375769</c:v>
                </c:pt>
                <c:pt idx="873">
                  <c:v>39.655030800821358</c:v>
                </c:pt>
                <c:pt idx="874">
                  <c:v>39.687885010266939</c:v>
                </c:pt>
                <c:pt idx="875">
                  <c:v>39.720739219712527</c:v>
                </c:pt>
                <c:pt idx="876">
                  <c:v>39.753593429158109</c:v>
                </c:pt>
                <c:pt idx="877">
                  <c:v>39.786447638603697</c:v>
                </c:pt>
                <c:pt idx="878">
                  <c:v>39.819301848049278</c:v>
                </c:pt>
                <c:pt idx="879">
                  <c:v>39.852156057494867</c:v>
                </c:pt>
                <c:pt idx="880">
                  <c:v>39.885010266940455</c:v>
                </c:pt>
                <c:pt idx="881">
                  <c:v>39.917864476386036</c:v>
                </c:pt>
                <c:pt idx="882">
                  <c:v>39.950718685831625</c:v>
                </c:pt>
                <c:pt idx="883">
                  <c:v>39.983572895277206</c:v>
                </c:pt>
                <c:pt idx="884">
                  <c:v>40.016427104722794</c:v>
                </c:pt>
                <c:pt idx="885">
                  <c:v>40.049281314168375</c:v>
                </c:pt>
                <c:pt idx="886">
                  <c:v>40.082135523613964</c:v>
                </c:pt>
                <c:pt idx="887">
                  <c:v>40.114989733059545</c:v>
                </c:pt>
                <c:pt idx="888">
                  <c:v>40.147843942505133</c:v>
                </c:pt>
                <c:pt idx="889">
                  <c:v>40.180698151950722</c:v>
                </c:pt>
                <c:pt idx="890">
                  <c:v>40.213552361396303</c:v>
                </c:pt>
                <c:pt idx="891">
                  <c:v>40.246406570841891</c:v>
                </c:pt>
                <c:pt idx="892">
                  <c:v>40.279260780287473</c:v>
                </c:pt>
                <c:pt idx="893">
                  <c:v>40.312114989733061</c:v>
                </c:pt>
                <c:pt idx="894">
                  <c:v>40.344969199178642</c:v>
                </c:pt>
                <c:pt idx="895">
                  <c:v>40.377823408624231</c:v>
                </c:pt>
                <c:pt idx="896">
                  <c:v>40.410677618069812</c:v>
                </c:pt>
                <c:pt idx="897">
                  <c:v>40.4435318275154</c:v>
                </c:pt>
                <c:pt idx="898">
                  <c:v>40.476386036960989</c:v>
                </c:pt>
                <c:pt idx="899">
                  <c:v>40.50924024640657</c:v>
                </c:pt>
                <c:pt idx="900">
                  <c:v>40.542094455852158</c:v>
                </c:pt>
                <c:pt idx="901">
                  <c:v>40.57494866529774</c:v>
                </c:pt>
                <c:pt idx="902">
                  <c:v>40.607802874743328</c:v>
                </c:pt>
                <c:pt idx="903">
                  <c:v>40.640657084188909</c:v>
                </c:pt>
                <c:pt idx="904">
                  <c:v>40.673511293634498</c:v>
                </c:pt>
                <c:pt idx="905">
                  <c:v>40.706365503080079</c:v>
                </c:pt>
                <c:pt idx="906">
                  <c:v>40.739219712525667</c:v>
                </c:pt>
                <c:pt idx="907">
                  <c:v>40.772073921971256</c:v>
                </c:pt>
                <c:pt idx="908">
                  <c:v>40.804928131416837</c:v>
                </c:pt>
                <c:pt idx="909">
                  <c:v>40.837782340862425</c:v>
                </c:pt>
                <c:pt idx="910">
                  <c:v>40.870636550308006</c:v>
                </c:pt>
                <c:pt idx="911">
                  <c:v>40.903490759753595</c:v>
                </c:pt>
                <c:pt idx="912">
                  <c:v>40.936344969199176</c:v>
                </c:pt>
                <c:pt idx="913">
                  <c:v>40.969199178644764</c:v>
                </c:pt>
                <c:pt idx="914">
                  <c:v>41.002053388090346</c:v>
                </c:pt>
                <c:pt idx="915">
                  <c:v>41.034907597535934</c:v>
                </c:pt>
                <c:pt idx="916">
                  <c:v>41.067761806981522</c:v>
                </c:pt>
                <c:pt idx="917">
                  <c:v>41.100616016427104</c:v>
                </c:pt>
                <c:pt idx="918">
                  <c:v>41.133470225872692</c:v>
                </c:pt>
                <c:pt idx="919">
                  <c:v>41.166324435318273</c:v>
                </c:pt>
                <c:pt idx="920">
                  <c:v>41.199178644763862</c:v>
                </c:pt>
                <c:pt idx="921">
                  <c:v>41.232032854209443</c:v>
                </c:pt>
                <c:pt idx="922">
                  <c:v>41.264887063655031</c:v>
                </c:pt>
                <c:pt idx="923">
                  <c:v>41.297741273100613</c:v>
                </c:pt>
                <c:pt idx="924">
                  <c:v>41.330595482546201</c:v>
                </c:pt>
                <c:pt idx="925">
                  <c:v>41.363449691991789</c:v>
                </c:pt>
                <c:pt idx="926">
                  <c:v>41.396303901437371</c:v>
                </c:pt>
                <c:pt idx="927">
                  <c:v>41.429158110882959</c:v>
                </c:pt>
                <c:pt idx="928">
                  <c:v>41.46201232032854</c:v>
                </c:pt>
                <c:pt idx="929">
                  <c:v>41.494866529774129</c:v>
                </c:pt>
                <c:pt idx="930">
                  <c:v>41.52772073921971</c:v>
                </c:pt>
                <c:pt idx="931">
                  <c:v>41.560574948665298</c:v>
                </c:pt>
                <c:pt idx="932">
                  <c:v>41.593429158110879</c:v>
                </c:pt>
                <c:pt idx="933">
                  <c:v>41.626283367556468</c:v>
                </c:pt>
                <c:pt idx="934">
                  <c:v>41.659137577002056</c:v>
                </c:pt>
                <c:pt idx="935">
                  <c:v>41.691991786447637</c:v>
                </c:pt>
                <c:pt idx="936">
                  <c:v>41.724845995893226</c:v>
                </c:pt>
                <c:pt idx="937">
                  <c:v>41.757700205338807</c:v>
                </c:pt>
                <c:pt idx="938">
                  <c:v>41.790554414784395</c:v>
                </c:pt>
                <c:pt idx="939">
                  <c:v>41.823408624229977</c:v>
                </c:pt>
                <c:pt idx="940">
                  <c:v>41.856262833675565</c:v>
                </c:pt>
                <c:pt idx="941">
                  <c:v>41.889117043121146</c:v>
                </c:pt>
                <c:pt idx="942">
                  <c:v>41.921971252566735</c:v>
                </c:pt>
                <c:pt idx="943">
                  <c:v>41.954825462012323</c:v>
                </c:pt>
                <c:pt idx="944">
                  <c:v>41.987679671457904</c:v>
                </c:pt>
                <c:pt idx="945">
                  <c:v>42.020533880903493</c:v>
                </c:pt>
                <c:pt idx="946">
                  <c:v>42.053388090349074</c:v>
                </c:pt>
                <c:pt idx="947">
                  <c:v>42.086242299794662</c:v>
                </c:pt>
                <c:pt idx="948">
                  <c:v>42.119096509240244</c:v>
                </c:pt>
                <c:pt idx="949">
                  <c:v>42.151950718685832</c:v>
                </c:pt>
                <c:pt idx="950">
                  <c:v>42.18480492813142</c:v>
                </c:pt>
                <c:pt idx="951">
                  <c:v>42.217659137577002</c:v>
                </c:pt>
                <c:pt idx="952">
                  <c:v>42.25051334702259</c:v>
                </c:pt>
                <c:pt idx="953">
                  <c:v>42.283367556468171</c:v>
                </c:pt>
                <c:pt idx="954">
                  <c:v>42.31622176591376</c:v>
                </c:pt>
                <c:pt idx="955">
                  <c:v>42.349075975359341</c:v>
                </c:pt>
                <c:pt idx="956">
                  <c:v>42.381930184804929</c:v>
                </c:pt>
                <c:pt idx="957">
                  <c:v>42.414784394250511</c:v>
                </c:pt>
                <c:pt idx="958">
                  <c:v>42.447638603696099</c:v>
                </c:pt>
                <c:pt idx="959">
                  <c:v>42.480492813141687</c:v>
                </c:pt>
                <c:pt idx="960">
                  <c:v>42.513347022587268</c:v>
                </c:pt>
                <c:pt idx="961">
                  <c:v>42.546201232032857</c:v>
                </c:pt>
                <c:pt idx="962">
                  <c:v>42.579055441478438</c:v>
                </c:pt>
                <c:pt idx="963">
                  <c:v>42.611909650924026</c:v>
                </c:pt>
                <c:pt idx="964">
                  <c:v>42.644763860369608</c:v>
                </c:pt>
                <c:pt idx="965">
                  <c:v>42.677618069815196</c:v>
                </c:pt>
                <c:pt idx="966">
                  <c:v>42.710472279260777</c:v>
                </c:pt>
                <c:pt idx="967">
                  <c:v>42.743326488706366</c:v>
                </c:pt>
                <c:pt idx="968">
                  <c:v>42.776180698151954</c:v>
                </c:pt>
                <c:pt idx="969">
                  <c:v>42.809034907597535</c:v>
                </c:pt>
                <c:pt idx="970">
                  <c:v>42.841889117043124</c:v>
                </c:pt>
                <c:pt idx="971">
                  <c:v>42.874743326488705</c:v>
                </c:pt>
                <c:pt idx="972">
                  <c:v>42.907597535934293</c:v>
                </c:pt>
                <c:pt idx="973">
                  <c:v>42.940451745379875</c:v>
                </c:pt>
                <c:pt idx="974">
                  <c:v>42.973305954825463</c:v>
                </c:pt>
                <c:pt idx="975">
                  <c:v>43.006160164271044</c:v>
                </c:pt>
                <c:pt idx="976">
                  <c:v>43.039014373716633</c:v>
                </c:pt>
                <c:pt idx="977">
                  <c:v>43.071868583162221</c:v>
                </c:pt>
                <c:pt idx="978">
                  <c:v>43.104722792607802</c:v>
                </c:pt>
                <c:pt idx="979">
                  <c:v>43.137577002053391</c:v>
                </c:pt>
                <c:pt idx="980">
                  <c:v>43.170431211498972</c:v>
                </c:pt>
                <c:pt idx="981">
                  <c:v>43.20328542094456</c:v>
                </c:pt>
                <c:pt idx="982">
                  <c:v>43.236139630390142</c:v>
                </c:pt>
                <c:pt idx="983">
                  <c:v>43.26899383983573</c:v>
                </c:pt>
                <c:pt idx="984">
                  <c:v>43.301848049281311</c:v>
                </c:pt>
                <c:pt idx="985">
                  <c:v>43.3347022587269</c:v>
                </c:pt>
                <c:pt idx="986">
                  <c:v>43.367556468172488</c:v>
                </c:pt>
                <c:pt idx="987">
                  <c:v>43.400410677618069</c:v>
                </c:pt>
                <c:pt idx="988">
                  <c:v>43.433264887063658</c:v>
                </c:pt>
                <c:pt idx="989">
                  <c:v>43.466119096509239</c:v>
                </c:pt>
                <c:pt idx="990">
                  <c:v>43.498973305954827</c:v>
                </c:pt>
                <c:pt idx="991">
                  <c:v>43.531827515400408</c:v>
                </c:pt>
                <c:pt idx="992">
                  <c:v>43.564681724845997</c:v>
                </c:pt>
                <c:pt idx="993">
                  <c:v>43.597535934291578</c:v>
                </c:pt>
                <c:pt idx="994">
                  <c:v>43.630390143737166</c:v>
                </c:pt>
                <c:pt idx="995">
                  <c:v>43.663244353182755</c:v>
                </c:pt>
                <c:pt idx="996">
                  <c:v>43.696098562628336</c:v>
                </c:pt>
                <c:pt idx="997">
                  <c:v>43.728952772073924</c:v>
                </c:pt>
                <c:pt idx="998">
                  <c:v>43.761806981519506</c:v>
                </c:pt>
                <c:pt idx="999">
                  <c:v>43.794661190965094</c:v>
                </c:pt>
                <c:pt idx="1000">
                  <c:v>43.827515400410675</c:v>
                </c:pt>
                <c:pt idx="1001">
                  <c:v>43.860369609856264</c:v>
                </c:pt>
                <c:pt idx="1002">
                  <c:v>43.893223819301845</c:v>
                </c:pt>
                <c:pt idx="1003">
                  <c:v>43.926078028747433</c:v>
                </c:pt>
                <c:pt idx="1004">
                  <c:v>43.958932238193022</c:v>
                </c:pt>
                <c:pt idx="1005">
                  <c:v>43.991786447638603</c:v>
                </c:pt>
                <c:pt idx="1006">
                  <c:v>44.024640657084191</c:v>
                </c:pt>
                <c:pt idx="1007">
                  <c:v>44.057494866529773</c:v>
                </c:pt>
                <c:pt idx="1008">
                  <c:v>44.090349075975361</c:v>
                </c:pt>
                <c:pt idx="1009">
                  <c:v>44.123203285420942</c:v>
                </c:pt>
                <c:pt idx="1010">
                  <c:v>44.156057494866531</c:v>
                </c:pt>
                <c:pt idx="1011">
                  <c:v>44.188911704312112</c:v>
                </c:pt>
                <c:pt idx="1012">
                  <c:v>44.2217659137577</c:v>
                </c:pt>
                <c:pt idx="1013">
                  <c:v>44.254620123203289</c:v>
                </c:pt>
                <c:pt idx="1014">
                  <c:v>44.28747433264887</c:v>
                </c:pt>
                <c:pt idx="1015">
                  <c:v>44.320328542094458</c:v>
                </c:pt>
                <c:pt idx="1016">
                  <c:v>44.353182751540039</c:v>
                </c:pt>
                <c:pt idx="1017">
                  <c:v>44.386036960985628</c:v>
                </c:pt>
                <c:pt idx="1018">
                  <c:v>44.418891170431209</c:v>
                </c:pt>
                <c:pt idx="1019">
                  <c:v>44.451745379876797</c:v>
                </c:pt>
                <c:pt idx="1020">
                  <c:v>44.484599589322379</c:v>
                </c:pt>
                <c:pt idx="1021">
                  <c:v>44.517453798767967</c:v>
                </c:pt>
                <c:pt idx="1022">
                  <c:v>44.550308008213555</c:v>
                </c:pt>
                <c:pt idx="1023">
                  <c:v>44.583162217659137</c:v>
                </c:pt>
                <c:pt idx="1024">
                  <c:v>44.616016427104725</c:v>
                </c:pt>
                <c:pt idx="1025">
                  <c:v>44.648870636550306</c:v>
                </c:pt>
                <c:pt idx="1026">
                  <c:v>44.681724845995895</c:v>
                </c:pt>
                <c:pt idx="1027">
                  <c:v>44.714579055441476</c:v>
                </c:pt>
                <c:pt idx="1028">
                  <c:v>44.747433264887064</c:v>
                </c:pt>
                <c:pt idx="1029">
                  <c:v>44.780287474332646</c:v>
                </c:pt>
                <c:pt idx="1030">
                  <c:v>44.813141683778234</c:v>
                </c:pt>
                <c:pt idx="1031">
                  <c:v>44.845995893223822</c:v>
                </c:pt>
                <c:pt idx="1032">
                  <c:v>44.878850102669404</c:v>
                </c:pt>
                <c:pt idx="1033">
                  <c:v>44.911704312114992</c:v>
                </c:pt>
                <c:pt idx="1034">
                  <c:v>44.944558521560573</c:v>
                </c:pt>
                <c:pt idx="1035">
                  <c:v>44.977412731006162</c:v>
                </c:pt>
                <c:pt idx="1036">
                  <c:v>45.010266940451743</c:v>
                </c:pt>
                <c:pt idx="1037">
                  <c:v>45.043121149897331</c:v>
                </c:pt>
                <c:pt idx="1038">
                  <c:v>45.075975359342912</c:v>
                </c:pt>
                <c:pt idx="1039">
                  <c:v>45.108829568788501</c:v>
                </c:pt>
                <c:pt idx="1040">
                  <c:v>45.141683778234089</c:v>
                </c:pt>
                <c:pt idx="1041">
                  <c:v>45.17453798767967</c:v>
                </c:pt>
                <c:pt idx="1042">
                  <c:v>45.207392197125259</c:v>
                </c:pt>
                <c:pt idx="1043">
                  <c:v>45.24024640657084</c:v>
                </c:pt>
                <c:pt idx="1044">
                  <c:v>45.273100616016428</c:v>
                </c:pt>
                <c:pt idx="1045">
                  <c:v>45.30595482546201</c:v>
                </c:pt>
                <c:pt idx="1046">
                  <c:v>45.338809034907598</c:v>
                </c:pt>
                <c:pt idx="1047">
                  <c:v>45.371663244353179</c:v>
                </c:pt>
                <c:pt idx="1048">
                  <c:v>45.404517453798768</c:v>
                </c:pt>
                <c:pt idx="1049">
                  <c:v>45.437371663244356</c:v>
                </c:pt>
                <c:pt idx="1050">
                  <c:v>45.470225872689937</c:v>
                </c:pt>
                <c:pt idx="1051">
                  <c:v>45.503080082135526</c:v>
                </c:pt>
                <c:pt idx="1052">
                  <c:v>45.535934291581107</c:v>
                </c:pt>
                <c:pt idx="1053">
                  <c:v>45.568788501026695</c:v>
                </c:pt>
                <c:pt idx="1054">
                  <c:v>45.601642710472277</c:v>
                </c:pt>
                <c:pt idx="1055">
                  <c:v>45.634496919917865</c:v>
                </c:pt>
                <c:pt idx="1056">
                  <c:v>45.667351129363446</c:v>
                </c:pt>
                <c:pt idx="1057">
                  <c:v>45.700205338809035</c:v>
                </c:pt>
                <c:pt idx="1058">
                  <c:v>45.733059548254623</c:v>
                </c:pt>
                <c:pt idx="1059">
                  <c:v>45.765913757700204</c:v>
                </c:pt>
                <c:pt idx="1060">
                  <c:v>45.798767967145793</c:v>
                </c:pt>
                <c:pt idx="1061">
                  <c:v>45.831622176591374</c:v>
                </c:pt>
                <c:pt idx="1062">
                  <c:v>45.864476386036962</c:v>
                </c:pt>
                <c:pt idx="1063">
                  <c:v>45.897330595482543</c:v>
                </c:pt>
                <c:pt idx="1064">
                  <c:v>45.930184804928132</c:v>
                </c:pt>
                <c:pt idx="1065">
                  <c:v>45.963039014373713</c:v>
                </c:pt>
                <c:pt idx="1066">
                  <c:v>45.995893223819301</c:v>
                </c:pt>
                <c:pt idx="1067">
                  <c:v>46.02874743326489</c:v>
                </c:pt>
                <c:pt idx="1068">
                  <c:v>46.061601642710471</c:v>
                </c:pt>
                <c:pt idx="1069">
                  <c:v>46.094455852156059</c:v>
                </c:pt>
                <c:pt idx="1070">
                  <c:v>46.127310061601641</c:v>
                </c:pt>
                <c:pt idx="1071">
                  <c:v>46.160164271047229</c:v>
                </c:pt>
                <c:pt idx="1072">
                  <c:v>46.19301848049281</c:v>
                </c:pt>
                <c:pt idx="1073">
                  <c:v>46.225872689938399</c:v>
                </c:pt>
                <c:pt idx="1074">
                  <c:v>46.258726899383987</c:v>
                </c:pt>
                <c:pt idx="1075">
                  <c:v>46.291581108829568</c:v>
                </c:pt>
                <c:pt idx="1076">
                  <c:v>46.324435318275157</c:v>
                </c:pt>
                <c:pt idx="1077">
                  <c:v>46.357289527720738</c:v>
                </c:pt>
                <c:pt idx="1078">
                  <c:v>46.390143737166326</c:v>
                </c:pt>
                <c:pt idx="1079">
                  <c:v>46.422997946611908</c:v>
                </c:pt>
                <c:pt idx="1080">
                  <c:v>46.455852156057496</c:v>
                </c:pt>
                <c:pt idx="1081">
                  <c:v>46.488706365503077</c:v>
                </c:pt>
                <c:pt idx="1082">
                  <c:v>46.521560574948666</c:v>
                </c:pt>
                <c:pt idx="1083">
                  <c:v>46.554414784394254</c:v>
                </c:pt>
                <c:pt idx="1084">
                  <c:v>46.587268993839835</c:v>
                </c:pt>
                <c:pt idx="1085">
                  <c:v>46.620123203285424</c:v>
                </c:pt>
                <c:pt idx="1086">
                  <c:v>46.652977412731005</c:v>
                </c:pt>
                <c:pt idx="1087">
                  <c:v>46.685831622176593</c:v>
                </c:pt>
                <c:pt idx="1088">
                  <c:v>46.718685831622174</c:v>
                </c:pt>
                <c:pt idx="1089">
                  <c:v>46.751540041067763</c:v>
                </c:pt>
                <c:pt idx="1090">
                  <c:v>46.784394250513344</c:v>
                </c:pt>
                <c:pt idx="1091">
                  <c:v>46.817248459958932</c:v>
                </c:pt>
                <c:pt idx="1092">
                  <c:v>46.850102669404521</c:v>
                </c:pt>
                <c:pt idx="1093">
                  <c:v>46.882956878850102</c:v>
                </c:pt>
                <c:pt idx="1094">
                  <c:v>46.91581108829569</c:v>
                </c:pt>
                <c:pt idx="1095">
                  <c:v>46.948665297741272</c:v>
                </c:pt>
                <c:pt idx="1096">
                  <c:v>46.98151950718686</c:v>
                </c:pt>
                <c:pt idx="1097">
                  <c:v>47.014373716632441</c:v>
                </c:pt>
                <c:pt idx="1098">
                  <c:v>47.04722792607803</c:v>
                </c:pt>
                <c:pt idx="1099">
                  <c:v>47.080082135523611</c:v>
                </c:pt>
                <c:pt idx="1100">
                  <c:v>47.112936344969199</c:v>
                </c:pt>
                <c:pt idx="1101">
                  <c:v>47.145790554414788</c:v>
                </c:pt>
                <c:pt idx="1102">
                  <c:v>47.178644763860369</c:v>
                </c:pt>
                <c:pt idx="1103">
                  <c:v>47.211498973305957</c:v>
                </c:pt>
                <c:pt idx="1104">
                  <c:v>47.244353182751539</c:v>
                </c:pt>
                <c:pt idx="1105">
                  <c:v>47.277207392197127</c:v>
                </c:pt>
                <c:pt idx="1106">
                  <c:v>47.310061601642708</c:v>
                </c:pt>
                <c:pt idx="1107">
                  <c:v>47.342915811088297</c:v>
                </c:pt>
                <c:pt idx="1108">
                  <c:v>47.375770020533878</c:v>
                </c:pt>
                <c:pt idx="1109">
                  <c:v>47.408624229979466</c:v>
                </c:pt>
                <c:pt idx="1110">
                  <c:v>47.441478439425055</c:v>
                </c:pt>
                <c:pt idx="1111">
                  <c:v>47.474332648870636</c:v>
                </c:pt>
                <c:pt idx="1112">
                  <c:v>47.507186858316224</c:v>
                </c:pt>
                <c:pt idx="1113">
                  <c:v>47.540041067761805</c:v>
                </c:pt>
                <c:pt idx="1114">
                  <c:v>47.572895277207394</c:v>
                </c:pt>
                <c:pt idx="1115">
                  <c:v>47.605749486652975</c:v>
                </c:pt>
                <c:pt idx="1116">
                  <c:v>47.638603696098563</c:v>
                </c:pt>
                <c:pt idx="1117">
                  <c:v>47.671457905544145</c:v>
                </c:pt>
                <c:pt idx="1118">
                  <c:v>47.704312114989733</c:v>
                </c:pt>
                <c:pt idx="1119">
                  <c:v>47.737166324435321</c:v>
                </c:pt>
                <c:pt idx="1120">
                  <c:v>47.770020533880903</c:v>
                </c:pt>
                <c:pt idx="1121">
                  <c:v>47.802874743326491</c:v>
                </c:pt>
                <c:pt idx="1122">
                  <c:v>47.835728952772072</c:v>
                </c:pt>
                <c:pt idx="1123">
                  <c:v>47.868583162217661</c:v>
                </c:pt>
                <c:pt idx="1124">
                  <c:v>47.901437371663242</c:v>
                </c:pt>
                <c:pt idx="1125">
                  <c:v>47.93429158110883</c:v>
                </c:pt>
                <c:pt idx="1126">
                  <c:v>47.967145790554412</c:v>
                </c:pt>
                <c:pt idx="1127">
                  <c:v>48</c:v>
                </c:pt>
                <c:pt idx="1128">
                  <c:v>48.032854209445588</c:v>
                </c:pt>
                <c:pt idx="1129">
                  <c:v>48.06570841889117</c:v>
                </c:pt>
                <c:pt idx="1130">
                  <c:v>48.098562628336758</c:v>
                </c:pt>
                <c:pt idx="1131">
                  <c:v>48.131416837782339</c:v>
                </c:pt>
                <c:pt idx="1132">
                  <c:v>48.164271047227928</c:v>
                </c:pt>
                <c:pt idx="1133">
                  <c:v>48.197125256673509</c:v>
                </c:pt>
                <c:pt idx="1134">
                  <c:v>48.229979466119097</c:v>
                </c:pt>
                <c:pt idx="1135">
                  <c:v>48.262833675564679</c:v>
                </c:pt>
                <c:pt idx="1136">
                  <c:v>48.295687885010267</c:v>
                </c:pt>
                <c:pt idx="1137">
                  <c:v>48.328542094455855</c:v>
                </c:pt>
                <c:pt idx="1138">
                  <c:v>48.361396303901437</c:v>
                </c:pt>
                <c:pt idx="1139">
                  <c:v>48.394250513347025</c:v>
                </c:pt>
                <c:pt idx="1140">
                  <c:v>48.427104722792606</c:v>
                </c:pt>
                <c:pt idx="1141">
                  <c:v>48.459958932238195</c:v>
                </c:pt>
                <c:pt idx="1142">
                  <c:v>48.492813141683776</c:v>
                </c:pt>
                <c:pt idx="1143">
                  <c:v>48.525667351129364</c:v>
                </c:pt>
                <c:pt idx="1144">
                  <c:v>48.558521560574945</c:v>
                </c:pt>
                <c:pt idx="1145">
                  <c:v>48.591375770020534</c:v>
                </c:pt>
                <c:pt idx="1146">
                  <c:v>48.624229979466122</c:v>
                </c:pt>
                <c:pt idx="1147">
                  <c:v>48.657084188911703</c:v>
                </c:pt>
                <c:pt idx="1148">
                  <c:v>48.689938398357292</c:v>
                </c:pt>
                <c:pt idx="1149">
                  <c:v>48.722792607802873</c:v>
                </c:pt>
                <c:pt idx="1150">
                  <c:v>48.755646817248461</c:v>
                </c:pt>
                <c:pt idx="1151">
                  <c:v>48.788501026694043</c:v>
                </c:pt>
                <c:pt idx="1152">
                  <c:v>48.821355236139631</c:v>
                </c:pt>
                <c:pt idx="1153">
                  <c:v>48.854209445585212</c:v>
                </c:pt>
                <c:pt idx="1154">
                  <c:v>48.887063655030801</c:v>
                </c:pt>
                <c:pt idx="1155">
                  <c:v>48.919917864476389</c:v>
                </c:pt>
                <c:pt idx="1156">
                  <c:v>48.95277207392197</c:v>
                </c:pt>
                <c:pt idx="1157">
                  <c:v>48.985626283367559</c:v>
                </c:pt>
                <c:pt idx="1158">
                  <c:v>49.01848049281314</c:v>
                </c:pt>
                <c:pt idx="1159">
                  <c:v>49.051334702258728</c:v>
                </c:pt>
                <c:pt idx="1160">
                  <c:v>49.08418891170431</c:v>
                </c:pt>
                <c:pt idx="1161">
                  <c:v>49.117043121149898</c:v>
                </c:pt>
                <c:pt idx="1162">
                  <c:v>49.149897330595479</c:v>
                </c:pt>
                <c:pt idx="1163">
                  <c:v>49.182751540041068</c:v>
                </c:pt>
                <c:pt idx="1164">
                  <c:v>49.215605749486656</c:v>
                </c:pt>
                <c:pt idx="1165">
                  <c:v>49.248459958932237</c:v>
                </c:pt>
                <c:pt idx="1166">
                  <c:v>49.281314168377826</c:v>
                </c:pt>
                <c:pt idx="1167">
                  <c:v>49.314168377823407</c:v>
                </c:pt>
                <c:pt idx="1168">
                  <c:v>49.347022587268995</c:v>
                </c:pt>
                <c:pt idx="1169">
                  <c:v>49.379876796714576</c:v>
                </c:pt>
                <c:pt idx="1170">
                  <c:v>49.412731006160165</c:v>
                </c:pt>
                <c:pt idx="1171">
                  <c:v>49.445585215605746</c:v>
                </c:pt>
                <c:pt idx="1172">
                  <c:v>49.478439425051334</c:v>
                </c:pt>
                <c:pt idx="1173">
                  <c:v>49.511293634496923</c:v>
                </c:pt>
                <c:pt idx="1174">
                  <c:v>49.544147843942504</c:v>
                </c:pt>
                <c:pt idx="1175">
                  <c:v>49.577002053388092</c:v>
                </c:pt>
                <c:pt idx="1176">
                  <c:v>49.609856262833674</c:v>
                </c:pt>
                <c:pt idx="1177">
                  <c:v>49.642710472279262</c:v>
                </c:pt>
                <c:pt idx="1178">
                  <c:v>49.675564681724843</c:v>
                </c:pt>
                <c:pt idx="1179">
                  <c:v>49.708418891170432</c:v>
                </c:pt>
                <c:pt idx="1180">
                  <c:v>49.741273100616013</c:v>
                </c:pt>
                <c:pt idx="1181">
                  <c:v>49.774127310061601</c:v>
                </c:pt>
                <c:pt idx="1182">
                  <c:v>49.80698151950719</c:v>
                </c:pt>
                <c:pt idx="1183">
                  <c:v>49.839835728952771</c:v>
                </c:pt>
                <c:pt idx="1184">
                  <c:v>49.872689938398359</c:v>
                </c:pt>
                <c:pt idx="1185">
                  <c:v>49.905544147843941</c:v>
                </c:pt>
                <c:pt idx="1186">
                  <c:v>49.938398357289529</c:v>
                </c:pt>
                <c:pt idx="1187">
                  <c:v>49.97125256673511</c:v>
                </c:pt>
                <c:pt idx="1188">
                  <c:v>50.004106776180699</c:v>
                </c:pt>
                <c:pt idx="1189">
                  <c:v>50.036960985626287</c:v>
                </c:pt>
                <c:pt idx="1190">
                  <c:v>50.069815195071868</c:v>
                </c:pt>
                <c:pt idx="1191">
                  <c:v>50.102669404517457</c:v>
                </c:pt>
                <c:pt idx="1192">
                  <c:v>50.135523613963038</c:v>
                </c:pt>
                <c:pt idx="1193">
                  <c:v>50.168377823408626</c:v>
                </c:pt>
                <c:pt idx="1194">
                  <c:v>50.201232032854207</c:v>
                </c:pt>
                <c:pt idx="1195">
                  <c:v>50.234086242299796</c:v>
                </c:pt>
                <c:pt idx="1196">
                  <c:v>50.266940451745377</c:v>
                </c:pt>
                <c:pt idx="1197">
                  <c:v>50.299794661190965</c:v>
                </c:pt>
                <c:pt idx="1198">
                  <c:v>50.332648870636554</c:v>
                </c:pt>
                <c:pt idx="1199">
                  <c:v>50.365503080082135</c:v>
                </c:pt>
                <c:pt idx="1200">
                  <c:v>50.398357289527723</c:v>
                </c:pt>
                <c:pt idx="1201">
                  <c:v>50.431211498973305</c:v>
                </c:pt>
                <c:pt idx="1202">
                  <c:v>50.464065708418893</c:v>
                </c:pt>
                <c:pt idx="1203">
                  <c:v>50.496919917864474</c:v>
                </c:pt>
                <c:pt idx="1204">
                  <c:v>50.529774127310063</c:v>
                </c:pt>
                <c:pt idx="1205">
                  <c:v>50.562628336755644</c:v>
                </c:pt>
                <c:pt idx="1206">
                  <c:v>50.595482546201232</c:v>
                </c:pt>
                <c:pt idx="1207">
                  <c:v>50.628336755646821</c:v>
                </c:pt>
                <c:pt idx="1208">
                  <c:v>50.661190965092402</c:v>
                </c:pt>
                <c:pt idx="1209">
                  <c:v>50.69404517453799</c:v>
                </c:pt>
                <c:pt idx="1210">
                  <c:v>50.726899383983572</c:v>
                </c:pt>
                <c:pt idx="1211">
                  <c:v>50.75975359342916</c:v>
                </c:pt>
                <c:pt idx="1212">
                  <c:v>50.792607802874741</c:v>
                </c:pt>
                <c:pt idx="1213">
                  <c:v>50.82546201232033</c:v>
                </c:pt>
                <c:pt idx="1214">
                  <c:v>50.858316221765911</c:v>
                </c:pt>
                <c:pt idx="1215">
                  <c:v>50.891170431211499</c:v>
                </c:pt>
                <c:pt idx="1216">
                  <c:v>50.924024640657088</c:v>
                </c:pt>
                <c:pt idx="1217">
                  <c:v>50.956878850102669</c:v>
                </c:pt>
                <c:pt idx="1218">
                  <c:v>50.989733059548257</c:v>
                </c:pt>
                <c:pt idx="1219">
                  <c:v>51.022587268993838</c:v>
                </c:pt>
                <c:pt idx="1220">
                  <c:v>51.055441478439427</c:v>
                </c:pt>
                <c:pt idx="1221">
                  <c:v>51.088295687885008</c:v>
                </c:pt>
                <c:pt idx="1222">
                  <c:v>51.121149897330596</c:v>
                </c:pt>
                <c:pt idx="1223">
                  <c:v>51.154004106776178</c:v>
                </c:pt>
                <c:pt idx="1224">
                  <c:v>51.186858316221766</c:v>
                </c:pt>
                <c:pt idx="1225">
                  <c:v>51.219712525667354</c:v>
                </c:pt>
                <c:pt idx="1226">
                  <c:v>51.252566735112936</c:v>
                </c:pt>
                <c:pt idx="1227">
                  <c:v>51.285420944558524</c:v>
                </c:pt>
                <c:pt idx="1228">
                  <c:v>51.318275154004105</c:v>
                </c:pt>
                <c:pt idx="1229">
                  <c:v>51.351129363449694</c:v>
                </c:pt>
                <c:pt idx="1230">
                  <c:v>51.383983572895275</c:v>
                </c:pt>
                <c:pt idx="1231">
                  <c:v>51.416837782340863</c:v>
                </c:pt>
                <c:pt idx="1232">
                  <c:v>51.449691991786445</c:v>
                </c:pt>
                <c:pt idx="1233">
                  <c:v>51.482546201232033</c:v>
                </c:pt>
                <c:pt idx="1234">
                  <c:v>51.515400410677621</c:v>
                </c:pt>
                <c:pt idx="1235">
                  <c:v>51.548254620123203</c:v>
                </c:pt>
                <c:pt idx="1236">
                  <c:v>51.581108829568791</c:v>
                </c:pt>
                <c:pt idx="1237">
                  <c:v>51.613963039014372</c:v>
                </c:pt>
                <c:pt idx="1238">
                  <c:v>51.646817248459961</c:v>
                </c:pt>
                <c:pt idx="1239">
                  <c:v>51.679671457905542</c:v>
                </c:pt>
                <c:pt idx="1240">
                  <c:v>51.71252566735113</c:v>
                </c:pt>
                <c:pt idx="1241">
                  <c:v>51.745379876796711</c:v>
                </c:pt>
                <c:pt idx="1242">
                  <c:v>51.7782340862423</c:v>
                </c:pt>
                <c:pt idx="1243">
                  <c:v>51.811088295687888</c:v>
                </c:pt>
                <c:pt idx="1244">
                  <c:v>51.843942505133469</c:v>
                </c:pt>
                <c:pt idx="1245">
                  <c:v>51.876796714579058</c:v>
                </c:pt>
                <c:pt idx="1246">
                  <c:v>51.909650924024639</c:v>
                </c:pt>
                <c:pt idx="1247">
                  <c:v>51.942505133470227</c:v>
                </c:pt>
                <c:pt idx="1248">
                  <c:v>51.975359342915809</c:v>
                </c:pt>
                <c:pt idx="1249">
                  <c:v>52.008213552361397</c:v>
                </c:pt>
                <c:pt idx="1250">
                  <c:v>52.041067761806978</c:v>
                </c:pt>
                <c:pt idx="1251">
                  <c:v>52.073921971252567</c:v>
                </c:pt>
                <c:pt idx="1252">
                  <c:v>52.106776180698155</c:v>
                </c:pt>
                <c:pt idx="1253">
                  <c:v>52.139630390143736</c:v>
                </c:pt>
                <c:pt idx="1254">
                  <c:v>52.172484599589325</c:v>
                </c:pt>
                <c:pt idx="1255">
                  <c:v>52.205338809034906</c:v>
                </c:pt>
                <c:pt idx="1256">
                  <c:v>52.238193018480494</c:v>
                </c:pt>
                <c:pt idx="1257">
                  <c:v>52.271047227926076</c:v>
                </c:pt>
                <c:pt idx="1258">
                  <c:v>52.303901437371664</c:v>
                </c:pt>
                <c:pt idx="1259">
                  <c:v>52.369609856262834</c:v>
                </c:pt>
                <c:pt idx="1260">
                  <c:v>52.402464065708422</c:v>
                </c:pt>
                <c:pt idx="1261">
                  <c:v>52.435318275154003</c:v>
                </c:pt>
                <c:pt idx="1262">
                  <c:v>52.468172484599592</c:v>
                </c:pt>
                <c:pt idx="1263">
                  <c:v>52.501026694045173</c:v>
                </c:pt>
                <c:pt idx="1264">
                  <c:v>52.533880903490761</c:v>
                </c:pt>
                <c:pt idx="1265">
                  <c:v>52.566735112936342</c:v>
                </c:pt>
                <c:pt idx="1266">
                  <c:v>52.599589322381931</c:v>
                </c:pt>
                <c:pt idx="1267">
                  <c:v>52.632443531827512</c:v>
                </c:pt>
                <c:pt idx="1268">
                  <c:v>52.6652977412731</c:v>
                </c:pt>
                <c:pt idx="1269">
                  <c:v>52.698151950718689</c:v>
                </c:pt>
                <c:pt idx="1270">
                  <c:v>52.73100616016427</c:v>
                </c:pt>
                <c:pt idx="1271">
                  <c:v>52.763860369609858</c:v>
                </c:pt>
                <c:pt idx="1272">
                  <c:v>52.829568788501028</c:v>
                </c:pt>
                <c:pt idx="1273">
                  <c:v>52.862422997946609</c:v>
                </c:pt>
                <c:pt idx="1274">
                  <c:v>52.895277207392198</c:v>
                </c:pt>
                <c:pt idx="1275">
                  <c:v>52.928131416837779</c:v>
                </c:pt>
                <c:pt idx="1276">
                  <c:v>52.960985626283367</c:v>
                </c:pt>
                <c:pt idx="1277">
                  <c:v>52.993839835728956</c:v>
                </c:pt>
                <c:pt idx="1278">
                  <c:v>53.026694045174537</c:v>
                </c:pt>
                <c:pt idx="1279">
                  <c:v>53.059548254620125</c:v>
                </c:pt>
                <c:pt idx="1280">
                  <c:v>53.092402464065707</c:v>
                </c:pt>
                <c:pt idx="1281">
                  <c:v>53.125256673511295</c:v>
                </c:pt>
                <c:pt idx="1282">
                  <c:v>53.158110882956876</c:v>
                </c:pt>
                <c:pt idx="1283">
                  <c:v>53.190965092402465</c:v>
                </c:pt>
                <c:pt idx="1284">
                  <c:v>53.223819301848046</c:v>
                </c:pt>
                <c:pt idx="1285">
                  <c:v>53.256673511293634</c:v>
                </c:pt>
                <c:pt idx="1286">
                  <c:v>53.289527720739223</c:v>
                </c:pt>
                <c:pt idx="1287">
                  <c:v>53.322381930184804</c:v>
                </c:pt>
                <c:pt idx="1288">
                  <c:v>53.355236139630392</c:v>
                </c:pt>
                <c:pt idx="1289">
                  <c:v>53.388090349075974</c:v>
                </c:pt>
                <c:pt idx="1290">
                  <c:v>53.420944558521562</c:v>
                </c:pt>
                <c:pt idx="1291">
                  <c:v>53.453798767967143</c:v>
                </c:pt>
                <c:pt idx="1292">
                  <c:v>53.486652977412732</c:v>
                </c:pt>
                <c:pt idx="1293">
                  <c:v>53.519507186858313</c:v>
                </c:pt>
                <c:pt idx="1294">
                  <c:v>53.552361396303901</c:v>
                </c:pt>
                <c:pt idx="1295">
                  <c:v>53.585215605749489</c:v>
                </c:pt>
                <c:pt idx="1296">
                  <c:v>53.618069815195071</c:v>
                </c:pt>
                <c:pt idx="1297">
                  <c:v>53.650924024640659</c:v>
                </c:pt>
                <c:pt idx="1298">
                  <c:v>53.68377823408624</c:v>
                </c:pt>
                <c:pt idx="1299">
                  <c:v>53.716632443531829</c:v>
                </c:pt>
                <c:pt idx="1300">
                  <c:v>53.74948665297741</c:v>
                </c:pt>
                <c:pt idx="1301">
                  <c:v>53.782340862422998</c:v>
                </c:pt>
                <c:pt idx="1302">
                  <c:v>53.81519507186858</c:v>
                </c:pt>
                <c:pt idx="1303">
                  <c:v>53.848049281314168</c:v>
                </c:pt>
                <c:pt idx="1304">
                  <c:v>53.880903490759756</c:v>
                </c:pt>
                <c:pt idx="1305">
                  <c:v>53.913757700205338</c:v>
                </c:pt>
                <c:pt idx="1306">
                  <c:v>53.946611909650926</c:v>
                </c:pt>
                <c:pt idx="1307">
                  <c:v>53.979466119096507</c:v>
                </c:pt>
                <c:pt idx="1308">
                  <c:v>54.012320328542096</c:v>
                </c:pt>
                <c:pt idx="1309">
                  <c:v>54.045174537987677</c:v>
                </c:pt>
                <c:pt idx="1310">
                  <c:v>54.078028747433265</c:v>
                </c:pt>
                <c:pt idx="1311">
                  <c:v>54.110882956878854</c:v>
                </c:pt>
                <c:pt idx="1312">
                  <c:v>54.143737166324435</c:v>
                </c:pt>
                <c:pt idx="1313">
                  <c:v>54.209445585215605</c:v>
                </c:pt>
                <c:pt idx="1314">
                  <c:v>54.242299794661193</c:v>
                </c:pt>
                <c:pt idx="1315">
                  <c:v>54.308008213552363</c:v>
                </c:pt>
                <c:pt idx="1316">
                  <c:v>54.340862422997944</c:v>
                </c:pt>
                <c:pt idx="1317">
                  <c:v>54.373716632443532</c:v>
                </c:pt>
                <c:pt idx="1318">
                  <c:v>54.47227926078029</c:v>
                </c:pt>
                <c:pt idx="1319">
                  <c:v>54.505133470225871</c:v>
                </c:pt>
                <c:pt idx="1320">
                  <c:v>54.53798767967146</c:v>
                </c:pt>
                <c:pt idx="1321">
                  <c:v>54.767967145790557</c:v>
                </c:pt>
                <c:pt idx="1322">
                  <c:v>54.800821355236138</c:v>
                </c:pt>
                <c:pt idx="1323">
                  <c:v>54.866529774127308</c:v>
                </c:pt>
                <c:pt idx="1324">
                  <c:v>54.899383983572896</c:v>
                </c:pt>
                <c:pt idx="1325">
                  <c:v>54.997946611909654</c:v>
                </c:pt>
                <c:pt idx="1326">
                  <c:v>55.096509240246405</c:v>
                </c:pt>
                <c:pt idx="1327">
                  <c:v>55.195071868583163</c:v>
                </c:pt>
              </c:numCache>
            </c:numRef>
          </c:xVal>
          <c:yVal>
            <c:numRef>
              <c:f>'slide 41 calc CIF'!$N$32:$N$1359</c:f>
              <c:numCache>
                <c:formatCode>General</c:formatCode>
                <c:ptCount val="1328"/>
                <c:pt idx="0">
                  <c:v>0</c:v>
                </c:pt>
                <c:pt idx="1">
                  <c:v>2.2724690376093624E-2</c:v>
                </c:pt>
                <c:pt idx="2">
                  <c:v>3.4090910852403754E-2</c:v>
                </c:pt>
                <c:pt idx="3">
                  <c:v>4.545713132871388E-2</c:v>
                </c:pt>
                <c:pt idx="4">
                  <c:v>7.9555792757644281E-2</c:v>
                </c:pt>
                <c:pt idx="5">
                  <c:v>9.0922013233954407E-2</c:v>
                </c:pt>
                <c:pt idx="6">
                  <c:v>0.10228823371026455</c:v>
                </c:pt>
                <c:pt idx="7">
                  <c:v>0.11365445418657467</c:v>
                </c:pt>
                <c:pt idx="8">
                  <c:v>0.1250206746628848</c:v>
                </c:pt>
                <c:pt idx="9">
                  <c:v>0.1250206746628848</c:v>
                </c:pt>
                <c:pt idx="10">
                  <c:v>0.15912321711405841</c:v>
                </c:pt>
                <c:pt idx="11">
                  <c:v>0.15912321711405841</c:v>
                </c:pt>
                <c:pt idx="12">
                  <c:v>0.17049202567507935</c:v>
                </c:pt>
                <c:pt idx="13">
                  <c:v>0.18186212908901156</c:v>
                </c:pt>
                <c:pt idx="14">
                  <c:v>0.1932322325029438</c:v>
                </c:pt>
                <c:pt idx="15">
                  <c:v>0.21597243933080823</c:v>
                </c:pt>
                <c:pt idx="16">
                  <c:v>0.21597243933080823</c:v>
                </c:pt>
                <c:pt idx="17">
                  <c:v>0.23872042236071114</c:v>
                </c:pt>
                <c:pt idx="18">
                  <c:v>0.26147359366362805</c:v>
                </c:pt>
                <c:pt idx="19">
                  <c:v>0.28422676496654498</c:v>
                </c:pt>
                <c:pt idx="20">
                  <c:v>0.29560335061800341</c:v>
                </c:pt>
                <c:pt idx="21">
                  <c:v>0.31835652192092034</c:v>
                </c:pt>
                <c:pt idx="22">
                  <c:v>0.32973310757237878</c:v>
                </c:pt>
                <c:pt idx="23">
                  <c:v>0.35248627887529577</c:v>
                </c:pt>
                <c:pt idx="24">
                  <c:v>0.3638628645267542</c:v>
                </c:pt>
                <c:pt idx="25">
                  <c:v>0.38661603582967119</c:v>
                </c:pt>
                <c:pt idx="26">
                  <c:v>0.39799262148112963</c:v>
                </c:pt>
                <c:pt idx="27">
                  <c:v>0.40936920713258812</c:v>
                </c:pt>
                <c:pt idx="28">
                  <c:v>0.42074579278404661</c:v>
                </c:pt>
                <c:pt idx="29">
                  <c:v>0.43212237843550511</c:v>
                </c:pt>
                <c:pt idx="30">
                  <c:v>0.44349896408696365</c:v>
                </c:pt>
                <c:pt idx="31">
                  <c:v>0.45487554973842215</c:v>
                </c:pt>
                <c:pt idx="32">
                  <c:v>0.47762872104133902</c:v>
                </c:pt>
                <c:pt idx="33">
                  <c:v>0.48900530669279751</c:v>
                </c:pt>
                <c:pt idx="34">
                  <c:v>0.50038189234425601</c:v>
                </c:pt>
                <c:pt idx="35">
                  <c:v>0.5117584779957145</c:v>
                </c:pt>
                <c:pt idx="36">
                  <c:v>0.52313506364717299</c:v>
                </c:pt>
                <c:pt idx="37">
                  <c:v>0.53451164929863149</c:v>
                </c:pt>
                <c:pt idx="38">
                  <c:v>0.53451164929863149</c:v>
                </c:pt>
                <c:pt idx="39">
                  <c:v>0.54588953632113235</c:v>
                </c:pt>
                <c:pt idx="40">
                  <c:v>0.55726742334363311</c:v>
                </c:pt>
                <c:pt idx="41">
                  <c:v>0.5800231973886345</c:v>
                </c:pt>
                <c:pt idx="42">
                  <c:v>0.5800231973886345</c:v>
                </c:pt>
                <c:pt idx="43">
                  <c:v>0.59140238667587408</c:v>
                </c:pt>
                <c:pt idx="44">
                  <c:v>0.59140238667587408</c:v>
                </c:pt>
                <c:pt idx="45">
                  <c:v>0.60278287867510982</c:v>
                </c:pt>
                <c:pt idx="46">
                  <c:v>0.62554386267358131</c:v>
                </c:pt>
                <c:pt idx="47">
                  <c:v>0.62554386267358131</c:v>
                </c:pt>
                <c:pt idx="48">
                  <c:v>0.63692435467281705</c:v>
                </c:pt>
                <c:pt idx="49">
                  <c:v>0.6483048466720529</c:v>
                </c:pt>
                <c:pt idx="50">
                  <c:v>0.65968533867128865</c:v>
                </c:pt>
                <c:pt idx="51">
                  <c:v>0.67106583067052439</c:v>
                </c:pt>
                <c:pt idx="52">
                  <c:v>0.68244632266976024</c:v>
                </c:pt>
                <c:pt idx="53">
                  <c:v>0.69382681466899598</c:v>
                </c:pt>
                <c:pt idx="54">
                  <c:v>0.70520730666823173</c:v>
                </c:pt>
                <c:pt idx="55">
                  <c:v>0.71658779866746758</c:v>
                </c:pt>
                <c:pt idx="56">
                  <c:v>0.72796829066670332</c:v>
                </c:pt>
                <c:pt idx="57">
                  <c:v>0.75072927466517481</c:v>
                </c:pt>
                <c:pt idx="58">
                  <c:v>0.76210976666441055</c:v>
                </c:pt>
                <c:pt idx="59">
                  <c:v>0.77349025866364629</c:v>
                </c:pt>
                <c:pt idx="60">
                  <c:v>0.78487075066288203</c:v>
                </c:pt>
                <c:pt idx="61">
                  <c:v>0.79625124266211778</c:v>
                </c:pt>
                <c:pt idx="62">
                  <c:v>0.79625124266211778</c:v>
                </c:pt>
                <c:pt idx="63">
                  <c:v>0.81901745126382541</c:v>
                </c:pt>
                <c:pt idx="64">
                  <c:v>0.81901745126382541</c:v>
                </c:pt>
                <c:pt idx="65">
                  <c:v>0.81901745126382541</c:v>
                </c:pt>
                <c:pt idx="66">
                  <c:v>0.83040186291558094</c:v>
                </c:pt>
                <c:pt idx="67">
                  <c:v>0.84178627456733635</c:v>
                </c:pt>
                <c:pt idx="68">
                  <c:v>0.84178627456733635</c:v>
                </c:pt>
                <c:pt idx="69">
                  <c:v>0.84178627456733635</c:v>
                </c:pt>
                <c:pt idx="70">
                  <c:v>0.85317592028100619</c:v>
                </c:pt>
                <c:pt idx="71">
                  <c:v>0.86456556599467604</c:v>
                </c:pt>
                <c:pt idx="72">
                  <c:v>0.875955211708346</c:v>
                </c:pt>
                <c:pt idx="73">
                  <c:v>0.88734485742201585</c:v>
                </c:pt>
                <c:pt idx="74">
                  <c:v>0.92151379456302562</c:v>
                </c:pt>
                <c:pt idx="75">
                  <c:v>0.94429570670958163</c:v>
                </c:pt>
                <c:pt idx="76">
                  <c:v>0.94429570670958163</c:v>
                </c:pt>
                <c:pt idx="77">
                  <c:v>0.96708024078180777</c:v>
                </c:pt>
                <c:pt idx="78">
                  <c:v>0.97847250781792072</c:v>
                </c:pt>
                <c:pt idx="79">
                  <c:v>0.98986477485403368</c:v>
                </c:pt>
                <c:pt idx="80">
                  <c:v>1.0012570418901467</c:v>
                </c:pt>
                <c:pt idx="81">
                  <c:v>1.0240415759623729</c:v>
                </c:pt>
                <c:pt idx="82">
                  <c:v>1.0354351553204575</c:v>
                </c:pt>
                <c:pt idx="83">
                  <c:v>1.0468313605322777</c:v>
                </c:pt>
                <c:pt idx="84">
                  <c:v>1.0582275657440976</c:v>
                </c:pt>
                <c:pt idx="85">
                  <c:v>1.0582275657440976</c:v>
                </c:pt>
                <c:pt idx="86">
                  <c:v>1.0696250847909665</c:v>
                </c:pt>
                <c:pt idx="87">
                  <c:v>1.0810226038378354</c:v>
                </c:pt>
                <c:pt idx="88">
                  <c:v>1.0810226038378354</c:v>
                </c:pt>
                <c:pt idx="89">
                  <c:v>1.0924201228847041</c:v>
                </c:pt>
                <c:pt idx="90">
                  <c:v>1.1038176419315731</c:v>
                </c:pt>
                <c:pt idx="91">
                  <c:v>1.1152151609784418</c:v>
                </c:pt>
                <c:pt idx="92">
                  <c:v>1.1380101990721794</c:v>
                </c:pt>
                <c:pt idx="93">
                  <c:v>1.1494090334703519</c:v>
                </c:pt>
                <c:pt idx="94">
                  <c:v>1.1608078678685245</c:v>
                </c:pt>
                <c:pt idx="95">
                  <c:v>1.1722067022666971</c:v>
                </c:pt>
                <c:pt idx="96">
                  <c:v>1.195004371063042</c:v>
                </c:pt>
                <c:pt idx="97">
                  <c:v>1.2064032054612146</c:v>
                </c:pt>
                <c:pt idx="98">
                  <c:v>1.2405997086557321</c:v>
                </c:pt>
                <c:pt idx="99">
                  <c:v>1.2519985430539047</c:v>
                </c:pt>
                <c:pt idx="100">
                  <c:v>1.2633973774520773</c:v>
                </c:pt>
                <c:pt idx="101">
                  <c:v>1.2747962118502498</c:v>
                </c:pt>
                <c:pt idx="102">
                  <c:v>1.2861950462484224</c:v>
                </c:pt>
                <c:pt idx="103">
                  <c:v>1.2975991536126632</c:v>
                </c:pt>
                <c:pt idx="104">
                  <c:v>1.2975991536126632</c:v>
                </c:pt>
                <c:pt idx="105">
                  <c:v>1.2975991536126632</c:v>
                </c:pt>
                <c:pt idx="106">
                  <c:v>1.3090045801333372</c:v>
                </c:pt>
                <c:pt idx="107">
                  <c:v>1.331815433174685</c:v>
                </c:pt>
                <c:pt idx="108">
                  <c:v>1.3432208596953588</c:v>
                </c:pt>
                <c:pt idx="109">
                  <c:v>1.354628927278096</c:v>
                </c:pt>
                <c:pt idx="110">
                  <c:v>1.3660369948608333</c:v>
                </c:pt>
                <c:pt idx="111">
                  <c:v>1.3660369948608333</c:v>
                </c:pt>
                <c:pt idx="112">
                  <c:v>1.3660369948608333</c:v>
                </c:pt>
                <c:pt idx="113">
                  <c:v>1.3660369948608333</c:v>
                </c:pt>
                <c:pt idx="114">
                  <c:v>1.3774477059536117</c:v>
                </c:pt>
                <c:pt idx="115">
                  <c:v>1.4002691281391688</c:v>
                </c:pt>
                <c:pt idx="116">
                  <c:v>1.4116798392319472</c:v>
                </c:pt>
                <c:pt idx="117">
                  <c:v>1.4230905503247258</c:v>
                </c:pt>
                <c:pt idx="118">
                  <c:v>1.4230905503247258</c:v>
                </c:pt>
                <c:pt idx="119">
                  <c:v>1.4345012614175041</c:v>
                </c:pt>
                <c:pt idx="120">
                  <c:v>1.4345012614175041</c:v>
                </c:pt>
                <c:pt idx="121">
                  <c:v>1.4345012614175041</c:v>
                </c:pt>
                <c:pt idx="122">
                  <c:v>1.4687373654803517</c:v>
                </c:pt>
                <c:pt idx="123">
                  <c:v>1.4801494001679676</c:v>
                </c:pt>
                <c:pt idx="124">
                  <c:v>1.4801494001679676</c:v>
                </c:pt>
                <c:pt idx="125">
                  <c:v>1.4915614348555835</c:v>
                </c:pt>
                <c:pt idx="126">
                  <c:v>1.5029734695431993</c:v>
                </c:pt>
                <c:pt idx="127">
                  <c:v>1.514386829208719</c:v>
                </c:pt>
                <c:pt idx="128">
                  <c:v>1.525800188874239</c:v>
                </c:pt>
                <c:pt idx="129">
                  <c:v>1.5372135485397587</c:v>
                </c:pt>
                <c:pt idx="130">
                  <c:v>1.5714536275363185</c:v>
                </c:pt>
                <c:pt idx="131">
                  <c:v>1.5828669872018384</c:v>
                </c:pt>
                <c:pt idx="132">
                  <c:v>1.5942803468673585</c:v>
                </c:pt>
                <c:pt idx="133">
                  <c:v>1.6171097192341177</c:v>
                </c:pt>
                <c:pt idx="134">
                  <c:v>1.6285244054174974</c:v>
                </c:pt>
                <c:pt idx="135">
                  <c:v>1.6399390916008771</c:v>
                </c:pt>
                <c:pt idx="136">
                  <c:v>1.6627684639676363</c:v>
                </c:pt>
                <c:pt idx="137">
                  <c:v>1.6741831501510163</c:v>
                </c:pt>
                <c:pt idx="138">
                  <c:v>1.685597836334396</c:v>
                </c:pt>
                <c:pt idx="139">
                  <c:v>1.6970125225177757</c:v>
                </c:pt>
                <c:pt idx="140">
                  <c:v>1.7084285369169085</c:v>
                </c:pt>
                <c:pt idx="141">
                  <c:v>1.7312605657151745</c:v>
                </c:pt>
                <c:pt idx="142">
                  <c:v>1.7426765801143071</c:v>
                </c:pt>
                <c:pt idx="143">
                  <c:v>1.75409259451344</c:v>
                </c:pt>
                <c:pt idx="144">
                  <c:v>1.7655086089125729</c:v>
                </c:pt>
                <c:pt idx="145">
                  <c:v>1.7769246233117055</c:v>
                </c:pt>
                <c:pt idx="146">
                  <c:v>1.7883406377108384</c:v>
                </c:pt>
                <c:pt idx="147">
                  <c:v>1.7997566521099713</c:v>
                </c:pt>
                <c:pt idx="148">
                  <c:v>1.8111726665091039</c:v>
                </c:pt>
                <c:pt idx="149">
                  <c:v>1.8225886809082368</c:v>
                </c:pt>
                <c:pt idx="150">
                  <c:v>1.8340046953073694</c:v>
                </c:pt>
                <c:pt idx="151">
                  <c:v>1.8340046953073694</c:v>
                </c:pt>
                <c:pt idx="152">
                  <c:v>1.8340046953073694</c:v>
                </c:pt>
                <c:pt idx="153">
                  <c:v>1.8340046953073694</c:v>
                </c:pt>
                <c:pt idx="154">
                  <c:v>1.8340046953073694</c:v>
                </c:pt>
                <c:pt idx="155">
                  <c:v>1.8340046953073694</c:v>
                </c:pt>
                <c:pt idx="156">
                  <c:v>1.8454260346507032</c:v>
                </c:pt>
                <c:pt idx="157">
                  <c:v>1.8568487063948</c:v>
                </c:pt>
                <c:pt idx="158">
                  <c:v>1.8568487063948</c:v>
                </c:pt>
                <c:pt idx="159">
                  <c:v>1.8796967156173567</c:v>
                </c:pt>
                <c:pt idx="160">
                  <c:v>1.8911233875189952</c:v>
                </c:pt>
                <c:pt idx="161">
                  <c:v>1.9139767313222718</c:v>
                </c:pt>
                <c:pt idx="162">
                  <c:v>1.9368300751255483</c:v>
                </c:pt>
                <c:pt idx="163">
                  <c:v>1.9482567470271865</c:v>
                </c:pt>
                <c:pt idx="164">
                  <c:v>1.9596847539763655</c:v>
                </c:pt>
                <c:pt idx="165">
                  <c:v>1.9711127609255443</c:v>
                </c:pt>
                <c:pt idx="166">
                  <c:v>1.9939687748239023</c:v>
                </c:pt>
                <c:pt idx="167">
                  <c:v>2.0053967817730811</c:v>
                </c:pt>
                <c:pt idx="168">
                  <c:v>2.0053967817730811</c:v>
                </c:pt>
                <c:pt idx="169">
                  <c:v>2.0168247887222601</c:v>
                </c:pt>
                <c:pt idx="170">
                  <c:v>2.0282527956714391</c:v>
                </c:pt>
                <c:pt idx="171">
                  <c:v>2.0625368165189761</c:v>
                </c:pt>
                <c:pt idx="172">
                  <c:v>2.0625368165189761</c:v>
                </c:pt>
                <c:pt idx="173">
                  <c:v>2.0853928304173341</c:v>
                </c:pt>
                <c:pt idx="174">
                  <c:v>2.1082488443156921</c:v>
                </c:pt>
                <c:pt idx="175">
                  <c:v>2.1311048582140502</c:v>
                </c:pt>
                <c:pt idx="176">
                  <c:v>2.1425328651632292</c:v>
                </c:pt>
                <c:pt idx="177">
                  <c:v>2.1768168860107662</c:v>
                </c:pt>
                <c:pt idx="178">
                  <c:v>2.1996728999091242</c:v>
                </c:pt>
                <c:pt idx="179">
                  <c:v>2.2111009068583027</c:v>
                </c:pt>
                <c:pt idx="180">
                  <c:v>2.2225289138074817</c:v>
                </c:pt>
                <c:pt idx="181">
                  <c:v>2.2339569207566607</c:v>
                </c:pt>
                <c:pt idx="182">
                  <c:v>2.2453849277058393</c:v>
                </c:pt>
                <c:pt idx="183">
                  <c:v>2.2568129346550183</c:v>
                </c:pt>
                <c:pt idx="184">
                  <c:v>2.2682409416041973</c:v>
                </c:pt>
                <c:pt idx="185">
                  <c:v>2.2910969555025553</c:v>
                </c:pt>
                <c:pt idx="186">
                  <c:v>2.3025249624517343</c:v>
                </c:pt>
                <c:pt idx="187">
                  <c:v>2.3025249624517343</c:v>
                </c:pt>
                <c:pt idx="188">
                  <c:v>2.3253809763500923</c:v>
                </c:pt>
                <c:pt idx="189">
                  <c:v>2.3368089832992709</c:v>
                </c:pt>
                <c:pt idx="190">
                  <c:v>2.3596649971976293</c:v>
                </c:pt>
                <c:pt idx="191">
                  <c:v>2.3596649971976293</c:v>
                </c:pt>
                <c:pt idx="192">
                  <c:v>2.3710943467228125</c:v>
                </c:pt>
                <c:pt idx="193">
                  <c:v>2.3825236962479961</c:v>
                </c:pt>
                <c:pt idx="194">
                  <c:v>2.3825236962479961</c:v>
                </c:pt>
                <c:pt idx="195">
                  <c:v>2.3939530457731792</c:v>
                </c:pt>
                <c:pt idx="196">
                  <c:v>2.4053823952983628</c:v>
                </c:pt>
                <c:pt idx="197">
                  <c:v>2.4282410943487296</c:v>
                </c:pt>
                <c:pt idx="198">
                  <c:v>2.4282410943487296</c:v>
                </c:pt>
                <c:pt idx="199">
                  <c:v>2.4625291429242799</c:v>
                </c:pt>
                <c:pt idx="200">
                  <c:v>2.4739584924494631</c:v>
                </c:pt>
                <c:pt idx="201">
                  <c:v>2.4968171914998298</c:v>
                </c:pt>
                <c:pt idx="202">
                  <c:v>2.5082465410250134</c:v>
                </c:pt>
                <c:pt idx="203">
                  <c:v>2.519675890550197</c:v>
                </c:pt>
                <c:pt idx="204">
                  <c:v>2.519675890550197</c:v>
                </c:pt>
                <c:pt idx="205">
                  <c:v>2.5311079315506011</c:v>
                </c:pt>
                <c:pt idx="206">
                  <c:v>2.5425399725510052</c:v>
                </c:pt>
                <c:pt idx="207">
                  <c:v>2.5425399725510052</c:v>
                </c:pt>
                <c:pt idx="208">
                  <c:v>2.56541483060083</c:v>
                </c:pt>
                <c:pt idx="209">
                  <c:v>2.56541483060083</c:v>
                </c:pt>
                <c:pt idx="210">
                  <c:v>2.56541483060083</c:v>
                </c:pt>
                <c:pt idx="211">
                  <c:v>2.5768536080611382</c:v>
                </c:pt>
                <c:pt idx="212">
                  <c:v>2.5768536080611382</c:v>
                </c:pt>
                <c:pt idx="213">
                  <c:v>2.5768536080611382</c:v>
                </c:pt>
                <c:pt idx="214">
                  <c:v>2.5882937345929711</c:v>
                </c:pt>
                <c:pt idx="215">
                  <c:v>2.5882937345929711</c:v>
                </c:pt>
                <c:pt idx="216">
                  <c:v>2.5882937345929711</c:v>
                </c:pt>
                <c:pt idx="217">
                  <c:v>2.5997365608596787</c:v>
                </c:pt>
                <c:pt idx="218">
                  <c:v>2.6111793871263869</c:v>
                </c:pt>
                <c:pt idx="219">
                  <c:v>2.6226235643761249</c:v>
                </c:pt>
                <c:pt idx="220">
                  <c:v>2.6340677416258633</c:v>
                </c:pt>
                <c:pt idx="221">
                  <c:v>2.6455119188756013</c:v>
                </c:pt>
                <c:pt idx="222">
                  <c:v>2.6569560961253393</c:v>
                </c:pt>
                <c:pt idx="223">
                  <c:v>2.6798444506248154</c:v>
                </c:pt>
                <c:pt idx="224">
                  <c:v>2.6798444506248154</c:v>
                </c:pt>
                <c:pt idx="225">
                  <c:v>2.6912886278745538</c:v>
                </c:pt>
                <c:pt idx="226">
                  <c:v>2.7027328051242918</c:v>
                </c:pt>
                <c:pt idx="227">
                  <c:v>2.7027328051242918</c:v>
                </c:pt>
                <c:pt idx="228">
                  <c:v>2.7027328051242918</c:v>
                </c:pt>
                <c:pt idx="229">
                  <c:v>2.7141783352735751</c:v>
                </c:pt>
                <c:pt idx="230">
                  <c:v>2.7141783352735751</c:v>
                </c:pt>
                <c:pt idx="231">
                  <c:v>2.7256238654228579</c:v>
                </c:pt>
                <c:pt idx="232">
                  <c:v>2.7370707492717443</c:v>
                </c:pt>
                <c:pt idx="233">
                  <c:v>2.7485176331206307</c:v>
                </c:pt>
                <c:pt idx="234">
                  <c:v>2.7599645169695175</c:v>
                </c:pt>
                <c:pt idx="235">
                  <c:v>2.7714114008184039</c:v>
                </c:pt>
                <c:pt idx="236">
                  <c:v>2.7828582846672902</c:v>
                </c:pt>
                <c:pt idx="237">
                  <c:v>2.7828582846672902</c:v>
                </c:pt>
                <c:pt idx="238">
                  <c:v>2.8057547620073522</c:v>
                </c:pt>
                <c:pt idx="239">
                  <c:v>2.8172030006773832</c:v>
                </c:pt>
                <c:pt idx="240">
                  <c:v>2.8286512393474141</c:v>
                </c:pt>
                <c:pt idx="241">
                  <c:v>2.8400994780174451</c:v>
                </c:pt>
                <c:pt idx="242">
                  <c:v>2.8515477166874761</c:v>
                </c:pt>
                <c:pt idx="243">
                  <c:v>2.874444194027538</c:v>
                </c:pt>
                <c:pt idx="244">
                  <c:v>2.8973433845418315</c:v>
                </c:pt>
                <c:pt idx="245">
                  <c:v>2.8973433845418315</c:v>
                </c:pt>
                <c:pt idx="246">
                  <c:v>2.8973433845418315</c:v>
                </c:pt>
                <c:pt idx="247">
                  <c:v>2.8973433845418315</c:v>
                </c:pt>
                <c:pt idx="248">
                  <c:v>2.9202480059088498</c:v>
                </c:pt>
                <c:pt idx="249">
                  <c:v>2.9317003165923587</c:v>
                </c:pt>
                <c:pt idx="250">
                  <c:v>2.9317003165923587</c:v>
                </c:pt>
                <c:pt idx="251">
                  <c:v>2.9431539859555076</c:v>
                </c:pt>
                <c:pt idx="252">
                  <c:v>2.9546076553186564</c:v>
                </c:pt>
                <c:pt idx="253">
                  <c:v>2.9546076553186564</c:v>
                </c:pt>
                <c:pt idx="254">
                  <c:v>2.9660708467347199</c:v>
                </c:pt>
                <c:pt idx="255">
                  <c:v>2.9775340381507838</c:v>
                </c:pt>
                <c:pt idx="256">
                  <c:v>2.9775340381507838</c:v>
                </c:pt>
                <c:pt idx="257">
                  <c:v>3.0004658692678046</c:v>
                </c:pt>
                <c:pt idx="258">
                  <c:v>3.0119317848263147</c:v>
                </c:pt>
                <c:pt idx="259">
                  <c:v>3.0463295315018462</c:v>
                </c:pt>
                <c:pt idx="260">
                  <c:v>3.0577954470603563</c:v>
                </c:pt>
                <c:pt idx="261">
                  <c:v>3.0577954470603563</c:v>
                </c:pt>
                <c:pt idx="262">
                  <c:v>3.0692640903256727</c:v>
                </c:pt>
                <c:pt idx="263">
                  <c:v>3.092201376856305</c:v>
                </c:pt>
                <c:pt idx="264">
                  <c:v>3.092201376856305</c:v>
                </c:pt>
                <c:pt idx="265">
                  <c:v>3.092201376856305</c:v>
                </c:pt>
                <c:pt idx="266">
                  <c:v>3.1036713852737776</c:v>
                </c:pt>
                <c:pt idx="267">
                  <c:v>3.1036713852737776</c:v>
                </c:pt>
                <c:pt idx="268">
                  <c:v>3.1036713852737776</c:v>
                </c:pt>
                <c:pt idx="269">
                  <c:v>3.1151413936912502</c:v>
                </c:pt>
                <c:pt idx="270">
                  <c:v>3.1266114021087228</c:v>
                </c:pt>
                <c:pt idx="271">
                  <c:v>3.1495514189436675</c:v>
                </c:pt>
                <c:pt idx="272">
                  <c:v>3.1839614441960857</c:v>
                </c:pt>
                <c:pt idx="273">
                  <c:v>3.1839614441960857</c:v>
                </c:pt>
                <c:pt idx="274">
                  <c:v>3.1954341881271331</c:v>
                </c:pt>
                <c:pt idx="275">
                  <c:v>3.2069083004675232</c:v>
                </c:pt>
                <c:pt idx="276">
                  <c:v>3.2069083004675232</c:v>
                </c:pt>
                <c:pt idx="277">
                  <c:v>3.2069083004675232</c:v>
                </c:pt>
                <c:pt idx="278">
                  <c:v>3.2183837820337291</c:v>
                </c:pt>
                <c:pt idx="279">
                  <c:v>3.2413347451661418</c:v>
                </c:pt>
                <c:pt idx="280">
                  <c:v>3.2528102267323478</c:v>
                </c:pt>
                <c:pt idx="281">
                  <c:v>3.2642870788325999</c:v>
                </c:pt>
                <c:pt idx="282">
                  <c:v>3.2757639309328521</c:v>
                </c:pt>
                <c:pt idx="283">
                  <c:v>3.2872407830331039</c:v>
                </c:pt>
                <c:pt idx="284">
                  <c:v>3.298717635133356</c:v>
                </c:pt>
                <c:pt idx="285">
                  <c:v>3.298717635133356</c:v>
                </c:pt>
                <c:pt idx="286">
                  <c:v>3.3101944872336078</c:v>
                </c:pt>
                <c:pt idx="287">
                  <c:v>3.3331481914341121</c:v>
                </c:pt>
                <c:pt idx="288">
                  <c:v>3.356101895634616</c:v>
                </c:pt>
                <c:pt idx="289">
                  <c:v>3.3675787477348682</c:v>
                </c:pt>
                <c:pt idx="290">
                  <c:v>3.3675787477348682</c:v>
                </c:pt>
                <c:pt idx="291">
                  <c:v>3.3790555998351199</c:v>
                </c:pt>
                <c:pt idx="292">
                  <c:v>3.3905338254217412</c:v>
                </c:pt>
                <c:pt idx="293">
                  <c:v>3.3905338254217412</c:v>
                </c:pt>
                <c:pt idx="294">
                  <c:v>3.3905338254217412</c:v>
                </c:pt>
                <c:pt idx="295">
                  <c:v>3.4020134249879632</c:v>
                </c:pt>
                <c:pt idx="296">
                  <c:v>3.4134930245541852</c:v>
                </c:pt>
                <c:pt idx="297">
                  <c:v>3.4479318232528517</c:v>
                </c:pt>
                <c:pt idx="298">
                  <c:v>3.4594114228190738</c:v>
                </c:pt>
                <c:pt idx="299">
                  <c:v>3.4708910223852958</c:v>
                </c:pt>
                <c:pt idx="300">
                  <c:v>3.4823706219515178</c:v>
                </c:pt>
                <c:pt idx="301">
                  <c:v>3.4938502215177398</c:v>
                </c:pt>
                <c:pt idx="302">
                  <c:v>3.5053298210839618</c:v>
                </c:pt>
                <c:pt idx="303">
                  <c:v>3.5168094206501839</c:v>
                </c:pt>
                <c:pt idx="304">
                  <c:v>3.5168094206501839</c:v>
                </c:pt>
                <c:pt idx="305">
                  <c:v>3.5282959065988697</c:v>
                </c:pt>
                <c:pt idx="306">
                  <c:v>3.5397823925475551</c:v>
                </c:pt>
                <c:pt idx="307">
                  <c:v>3.551268878496241</c:v>
                </c:pt>
                <c:pt idx="308">
                  <c:v>3.5627581226358132</c:v>
                </c:pt>
                <c:pt idx="309">
                  <c:v>3.5627581226358132</c:v>
                </c:pt>
                <c:pt idx="310">
                  <c:v>3.5627581226358132</c:v>
                </c:pt>
                <c:pt idx="311">
                  <c:v>3.5742515072093806</c:v>
                </c:pt>
                <c:pt idx="312">
                  <c:v>3.5972382763565145</c:v>
                </c:pt>
                <c:pt idx="313">
                  <c:v>3.5972382763565145</c:v>
                </c:pt>
                <c:pt idx="314">
                  <c:v>3.5972382763565145</c:v>
                </c:pt>
                <c:pt idx="315">
                  <c:v>3.5972382763565145</c:v>
                </c:pt>
                <c:pt idx="316">
                  <c:v>3.6087385713344666</c:v>
                </c:pt>
                <c:pt idx="317">
                  <c:v>3.6317391612903713</c:v>
                </c:pt>
                <c:pt idx="318">
                  <c:v>3.6547397512462756</c:v>
                </c:pt>
                <c:pt idx="319">
                  <c:v>3.6777403412021799</c:v>
                </c:pt>
                <c:pt idx="320">
                  <c:v>3.6777403412021799</c:v>
                </c:pt>
                <c:pt idx="321">
                  <c:v>3.689240636180132</c:v>
                </c:pt>
                <c:pt idx="322">
                  <c:v>3.689240636180132</c:v>
                </c:pt>
                <c:pt idx="323">
                  <c:v>3.7007423157348938</c:v>
                </c:pt>
                <c:pt idx="324">
                  <c:v>3.7237456748444169</c:v>
                </c:pt>
                <c:pt idx="325">
                  <c:v>3.7352473543991787</c:v>
                </c:pt>
                <c:pt idx="326">
                  <c:v>3.7467490339539404</c:v>
                </c:pt>
                <c:pt idx="327">
                  <c:v>3.7467490339539404</c:v>
                </c:pt>
                <c:pt idx="328">
                  <c:v>3.7582520992532267</c:v>
                </c:pt>
                <c:pt idx="329">
                  <c:v>3.7582520992532267</c:v>
                </c:pt>
                <c:pt idx="330">
                  <c:v>3.7582520992532267</c:v>
                </c:pt>
                <c:pt idx="331">
                  <c:v>3.7697579375448411</c:v>
                </c:pt>
                <c:pt idx="332">
                  <c:v>3.7812637758364556</c:v>
                </c:pt>
                <c:pt idx="333">
                  <c:v>3.7812637758364556</c:v>
                </c:pt>
                <c:pt idx="334">
                  <c:v>3.79276961412807</c:v>
                </c:pt>
                <c:pt idx="335">
                  <c:v>3.815781290711298</c:v>
                </c:pt>
                <c:pt idx="336">
                  <c:v>3.8272871290029125</c:v>
                </c:pt>
                <c:pt idx="337">
                  <c:v>3.8387929672945269</c:v>
                </c:pt>
                <c:pt idx="338">
                  <c:v>3.8733104821693698</c:v>
                </c:pt>
                <c:pt idx="339">
                  <c:v>3.8848163204609842</c:v>
                </c:pt>
                <c:pt idx="340">
                  <c:v>3.8963221587525987</c:v>
                </c:pt>
                <c:pt idx="341">
                  <c:v>3.9078279970442131</c:v>
                </c:pt>
                <c:pt idx="342">
                  <c:v>3.9193338353358276</c:v>
                </c:pt>
                <c:pt idx="343">
                  <c:v>3.9423455119190556</c:v>
                </c:pt>
                <c:pt idx="344">
                  <c:v>3.95385135021067</c:v>
                </c:pt>
                <c:pt idx="345">
                  <c:v>3.95385135021067</c:v>
                </c:pt>
                <c:pt idx="346">
                  <c:v>3.95385135021067</c:v>
                </c:pt>
                <c:pt idx="347">
                  <c:v>3.9768658090060351</c:v>
                </c:pt>
                <c:pt idx="348">
                  <c:v>3.9883730384037182</c:v>
                </c:pt>
                <c:pt idx="349">
                  <c:v>3.9998816600856593</c:v>
                </c:pt>
                <c:pt idx="350">
                  <c:v>4.0113916747259255</c:v>
                </c:pt>
                <c:pt idx="351">
                  <c:v>4.0229016893661917</c:v>
                </c:pt>
                <c:pt idx="352">
                  <c:v>4.0459217186467242</c:v>
                </c:pt>
                <c:pt idx="353">
                  <c:v>4.0459217186467242</c:v>
                </c:pt>
                <c:pt idx="354">
                  <c:v>4.0574331274263606</c:v>
                </c:pt>
                <c:pt idx="355">
                  <c:v>4.0689445362059979</c:v>
                </c:pt>
                <c:pt idx="356">
                  <c:v>4.0804559449856344</c:v>
                </c:pt>
                <c:pt idx="357">
                  <c:v>4.0804559449856344</c:v>
                </c:pt>
                <c:pt idx="358">
                  <c:v>4.0804559449856344</c:v>
                </c:pt>
                <c:pt idx="359">
                  <c:v>4.0804559449856344</c:v>
                </c:pt>
                <c:pt idx="360">
                  <c:v>4.091970144578994</c:v>
                </c:pt>
                <c:pt idx="361">
                  <c:v>4.091970144578994</c:v>
                </c:pt>
                <c:pt idx="362">
                  <c:v>4.091970144578994</c:v>
                </c:pt>
                <c:pt idx="363">
                  <c:v>4.1034885340319622</c:v>
                </c:pt>
                <c:pt idx="364">
                  <c:v>4.1150083210085242</c:v>
                </c:pt>
                <c:pt idx="365">
                  <c:v>4.1265281079850862</c:v>
                </c:pt>
                <c:pt idx="366">
                  <c:v>4.1495676819382092</c:v>
                </c:pt>
                <c:pt idx="367">
                  <c:v>4.1495676819382092</c:v>
                </c:pt>
                <c:pt idx="368">
                  <c:v>4.1610888674563489</c:v>
                </c:pt>
                <c:pt idx="369">
                  <c:v>4.1726100529744885</c:v>
                </c:pt>
                <c:pt idx="370">
                  <c:v>4.1841312384926272</c:v>
                </c:pt>
                <c:pt idx="371">
                  <c:v>4.1956524240107669</c:v>
                </c:pt>
                <c:pt idx="372">
                  <c:v>4.1956524240107669</c:v>
                </c:pt>
                <c:pt idx="373">
                  <c:v>4.1956524240107669</c:v>
                </c:pt>
                <c:pt idx="374">
                  <c:v>4.1956524240107669</c:v>
                </c:pt>
                <c:pt idx="375">
                  <c:v>4.1956524240107669</c:v>
                </c:pt>
                <c:pt idx="376">
                  <c:v>4.2071792106644192</c:v>
                </c:pt>
                <c:pt idx="377">
                  <c:v>4.2417595706253737</c:v>
                </c:pt>
                <c:pt idx="378">
                  <c:v>4.2417595706253737</c:v>
                </c:pt>
                <c:pt idx="379">
                  <c:v>4.253286357279026</c:v>
                </c:pt>
                <c:pt idx="380">
                  <c:v>4.2648145462181581</c:v>
                </c:pt>
                <c:pt idx="381">
                  <c:v>4.2648145462181581</c:v>
                </c:pt>
                <c:pt idx="382">
                  <c:v>4.2763455410935052</c:v>
                </c:pt>
                <c:pt idx="383">
                  <c:v>4.2763455410935052</c:v>
                </c:pt>
                <c:pt idx="384">
                  <c:v>4.2878779396200857</c:v>
                </c:pt>
                <c:pt idx="385">
                  <c:v>4.2994103381466653</c:v>
                </c:pt>
                <c:pt idx="386">
                  <c:v>4.3109427366732458</c:v>
                </c:pt>
                <c:pt idx="387">
                  <c:v>4.3224751351998254</c:v>
                </c:pt>
                <c:pt idx="388">
                  <c:v>4.3224751351998254</c:v>
                </c:pt>
                <c:pt idx="389">
                  <c:v>4.3340075337264059</c:v>
                </c:pt>
                <c:pt idx="390">
                  <c:v>4.3455399322529855</c:v>
                </c:pt>
                <c:pt idx="391">
                  <c:v>4.3686047293061456</c:v>
                </c:pt>
                <c:pt idx="392">
                  <c:v>4.3801371278327252</c:v>
                </c:pt>
                <c:pt idx="393">
                  <c:v>4.3916695263593057</c:v>
                </c:pt>
                <c:pt idx="394">
                  <c:v>4.3916695263593057</c:v>
                </c:pt>
                <c:pt idx="395">
                  <c:v>4.4032033309330112</c:v>
                </c:pt>
                <c:pt idx="396">
                  <c:v>4.4147371355067175</c:v>
                </c:pt>
                <c:pt idx="397">
                  <c:v>4.4378075588067638</c:v>
                </c:pt>
                <c:pt idx="398">
                  <c:v>4.4493427704567869</c:v>
                </c:pt>
                <c:pt idx="399">
                  <c:v>4.4493427704567869</c:v>
                </c:pt>
                <c:pt idx="400">
                  <c:v>4.4608793900418346</c:v>
                </c:pt>
                <c:pt idx="401">
                  <c:v>4.4724160096268815</c:v>
                </c:pt>
                <c:pt idx="402">
                  <c:v>4.4724160096268815</c:v>
                </c:pt>
                <c:pt idx="403">
                  <c:v>4.4839526292119292</c:v>
                </c:pt>
                <c:pt idx="404">
                  <c:v>4.4954892487969769</c:v>
                </c:pt>
                <c:pt idx="405">
                  <c:v>4.5070258683820237</c:v>
                </c:pt>
                <c:pt idx="406">
                  <c:v>4.5300991075521182</c:v>
                </c:pt>
                <c:pt idx="407">
                  <c:v>4.541635727137165</c:v>
                </c:pt>
                <c:pt idx="408">
                  <c:v>4.5531723467222127</c:v>
                </c:pt>
                <c:pt idx="409">
                  <c:v>4.5531723467222127</c:v>
                </c:pt>
                <c:pt idx="410">
                  <c:v>4.5647131980311606</c:v>
                </c:pt>
                <c:pt idx="411">
                  <c:v>4.5762540493401094</c:v>
                </c:pt>
                <c:pt idx="412">
                  <c:v>4.5877963125466978</c:v>
                </c:pt>
                <c:pt idx="413">
                  <c:v>4.5993414009309159</c:v>
                </c:pt>
                <c:pt idx="414">
                  <c:v>4.610887902595632</c:v>
                </c:pt>
                <c:pt idx="415">
                  <c:v>4.6224372322058942</c:v>
                </c:pt>
                <c:pt idx="416">
                  <c:v>4.6339879764817136</c:v>
                </c:pt>
                <c:pt idx="417">
                  <c:v>4.6339879764817136</c:v>
                </c:pt>
                <c:pt idx="418">
                  <c:v>4.6570922954044072</c:v>
                </c:pt>
                <c:pt idx="419">
                  <c:v>4.6570922954044072</c:v>
                </c:pt>
                <c:pt idx="420">
                  <c:v>4.6802022792330522</c:v>
                </c:pt>
                <c:pt idx="421">
                  <c:v>4.6917572711473756</c:v>
                </c:pt>
                <c:pt idx="422">
                  <c:v>4.7033136806781766</c:v>
                </c:pt>
                <c:pt idx="423">
                  <c:v>4.7033136806781766</c:v>
                </c:pt>
                <c:pt idx="424">
                  <c:v>4.7148715083473416</c:v>
                </c:pt>
                <c:pt idx="425">
                  <c:v>4.7379871636856716</c:v>
                </c:pt>
                <c:pt idx="426">
                  <c:v>4.7495449913548367</c:v>
                </c:pt>
                <c:pt idx="427">
                  <c:v>4.7726606466931676</c:v>
                </c:pt>
                <c:pt idx="428">
                  <c:v>4.7842198940684701</c:v>
                </c:pt>
                <c:pt idx="429">
                  <c:v>4.795780561673209</c:v>
                </c:pt>
                <c:pt idx="430">
                  <c:v>4.795780561673209</c:v>
                </c:pt>
                <c:pt idx="431">
                  <c:v>4.8073426503802956</c:v>
                </c:pt>
                <c:pt idx="432">
                  <c:v>4.8189047390873831</c:v>
                </c:pt>
                <c:pt idx="433">
                  <c:v>4.8189047390873831</c:v>
                </c:pt>
                <c:pt idx="434">
                  <c:v>4.8304668277944707</c:v>
                </c:pt>
                <c:pt idx="435">
                  <c:v>4.8420303390026289</c:v>
                </c:pt>
                <c:pt idx="436">
                  <c:v>4.8535938502107872</c:v>
                </c:pt>
                <c:pt idx="437">
                  <c:v>4.8651573614189454</c:v>
                </c:pt>
                <c:pt idx="438">
                  <c:v>4.8767222961788956</c:v>
                </c:pt>
                <c:pt idx="439">
                  <c:v>4.8767222961788956</c:v>
                </c:pt>
                <c:pt idx="440">
                  <c:v>4.8882886551918956</c:v>
                </c:pt>
                <c:pt idx="441">
                  <c:v>4.8882886551918956</c:v>
                </c:pt>
                <c:pt idx="442">
                  <c:v>4.8998564389842763</c:v>
                </c:pt>
                <c:pt idx="443">
                  <c:v>4.9114256480826937</c:v>
                </c:pt>
                <c:pt idx="444">
                  <c:v>4.9345640662795276</c:v>
                </c:pt>
                <c:pt idx="445">
                  <c:v>4.9461332753779441</c:v>
                </c:pt>
                <c:pt idx="446">
                  <c:v>4.9577024844763615</c:v>
                </c:pt>
                <c:pt idx="447">
                  <c:v>4.9577024844763615</c:v>
                </c:pt>
                <c:pt idx="448">
                  <c:v>4.980843755745723</c:v>
                </c:pt>
                <c:pt idx="449">
                  <c:v>4.980843755745723</c:v>
                </c:pt>
                <c:pt idx="450">
                  <c:v>4.980843755745723</c:v>
                </c:pt>
                <c:pt idx="451">
                  <c:v>4.9924215319849665</c:v>
                </c:pt>
                <c:pt idx="452">
                  <c:v>4.9924215319849665</c:v>
                </c:pt>
                <c:pt idx="453">
                  <c:v>5.0040021672873642</c:v>
                </c:pt>
                <c:pt idx="454">
                  <c:v>5.0040021672873642</c:v>
                </c:pt>
                <c:pt idx="455">
                  <c:v>5.0040021672873642</c:v>
                </c:pt>
                <c:pt idx="456">
                  <c:v>5.0040021672873642</c:v>
                </c:pt>
                <c:pt idx="457">
                  <c:v>5.0040021672873642</c:v>
                </c:pt>
                <c:pt idx="458">
                  <c:v>5.0155913903801235</c:v>
                </c:pt>
                <c:pt idx="459">
                  <c:v>5.0503762586043699</c:v>
                </c:pt>
                <c:pt idx="460">
                  <c:v>5.0503762586043699</c:v>
                </c:pt>
                <c:pt idx="461">
                  <c:v>5.0503762586043699</c:v>
                </c:pt>
                <c:pt idx="462">
                  <c:v>5.0503762586043699</c:v>
                </c:pt>
                <c:pt idx="463">
                  <c:v>5.0503762586043699</c:v>
                </c:pt>
                <c:pt idx="464">
                  <c:v>5.0503762586043699</c:v>
                </c:pt>
                <c:pt idx="465">
                  <c:v>5.0503762586043699</c:v>
                </c:pt>
                <c:pt idx="466">
                  <c:v>5.0853515154592754</c:v>
                </c:pt>
                <c:pt idx="467">
                  <c:v>5.0853515154592754</c:v>
                </c:pt>
                <c:pt idx="468">
                  <c:v>5.0853515154592754</c:v>
                </c:pt>
                <c:pt idx="469">
                  <c:v>5.108717784244746</c:v>
                </c:pt>
                <c:pt idx="470">
                  <c:v>5.108717784244746</c:v>
                </c:pt>
                <c:pt idx="471">
                  <c:v>5.108717784244746</c:v>
                </c:pt>
                <c:pt idx="472">
                  <c:v>5.1204448017014323</c:v>
                </c:pt>
                <c:pt idx="473">
                  <c:v>5.1204448017014323</c:v>
                </c:pt>
                <c:pt idx="474">
                  <c:v>5.1321850500916915</c:v>
                </c:pt>
                <c:pt idx="475">
                  <c:v>5.1321850500916915</c:v>
                </c:pt>
                <c:pt idx="476">
                  <c:v>5.1321850500916915</c:v>
                </c:pt>
                <c:pt idx="477">
                  <c:v>5.14395777088132</c:v>
                </c:pt>
                <c:pt idx="478">
                  <c:v>5.1557438293455595</c:v>
                </c:pt>
                <c:pt idx="479">
                  <c:v>5.1557438293455595</c:v>
                </c:pt>
                <c:pt idx="480">
                  <c:v>5.1557438293455595</c:v>
                </c:pt>
                <c:pt idx="481">
                  <c:v>5.1675536770031165</c:v>
                </c:pt>
                <c:pt idx="482">
                  <c:v>5.1675536770031165</c:v>
                </c:pt>
                <c:pt idx="483">
                  <c:v>5.1793964003595807</c:v>
                </c:pt>
                <c:pt idx="484">
                  <c:v>5.1793964003595807</c:v>
                </c:pt>
                <c:pt idx="485">
                  <c:v>5.1912857663820411</c:v>
                </c:pt>
                <c:pt idx="486">
                  <c:v>5.2031857168585463</c:v>
                </c:pt>
                <c:pt idx="487">
                  <c:v>5.2031857168585463</c:v>
                </c:pt>
                <c:pt idx="488">
                  <c:v>5.2150993053783834</c:v>
                </c:pt>
                <c:pt idx="489">
                  <c:v>5.2270235256064872</c:v>
                </c:pt>
                <c:pt idx="490">
                  <c:v>5.2270235256064872</c:v>
                </c:pt>
                <c:pt idx="491">
                  <c:v>5.2389797592102987</c:v>
                </c:pt>
                <c:pt idx="492">
                  <c:v>5.2509543658200331</c:v>
                </c:pt>
                <c:pt idx="493">
                  <c:v>5.2868966033984419</c:v>
                </c:pt>
                <c:pt idx="494">
                  <c:v>5.2868966033984419</c:v>
                </c:pt>
                <c:pt idx="495">
                  <c:v>5.2868966033984419</c:v>
                </c:pt>
                <c:pt idx="496">
                  <c:v>5.2989096963475291</c:v>
                </c:pt>
                <c:pt idx="497">
                  <c:v>5.2989096963475291</c:v>
                </c:pt>
                <c:pt idx="498">
                  <c:v>5.3229823126487545</c:v>
                </c:pt>
                <c:pt idx="499">
                  <c:v>5.3229823126487545</c:v>
                </c:pt>
                <c:pt idx="500">
                  <c:v>5.3350341515195616</c:v>
                </c:pt>
                <c:pt idx="501">
                  <c:v>5.3350341515195616</c:v>
                </c:pt>
                <c:pt idx="502">
                  <c:v>5.35917209398787</c:v>
                </c:pt>
                <c:pt idx="503">
                  <c:v>5.3712488707913124</c:v>
                </c:pt>
                <c:pt idx="504">
                  <c:v>5.3712488707913124</c:v>
                </c:pt>
                <c:pt idx="505">
                  <c:v>5.3954399785110878</c:v>
                </c:pt>
                <c:pt idx="506">
                  <c:v>5.3954399785110878</c:v>
                </c:pt>
                <c:pt idx="507">
                  <c:v>5.3954399785110878</c:v>
                </c:pt>
                <c:pt idx="508">
                  <c:v>5.3954399785110878</c:v>
                </c:pt>
                <c:pt idx="509">
                  <c:v>5.4075559471148251</c:v>
                </c:pt>
                <c:pt idx="510">
                  <c:v>5.4196750631321491</c:v>
                </c:pt>
                <c:pt idx="511">
                  <c:v>5.4196750631321491</c:v>
                </c:pt>
                <c:pt idx="512">
                  <c:v>5.4196750631321491</c:v>
                </c:pt>
                <c:pt idx="513">
                  <c:v>5.4196750631321491</c:v>
                </c:pt>
                <c:pt idx="514">
                  <c:v>5.4318352555432226</c:v>
                </c:pt>
                <c:pt idx="515">
                  <c:v>5.4318352555432226</c:v>
                </c:pt>
                <c:pt idx="516">
                  <c:v>5.4318352555432226</c:v>
                </c:pt>
                <c:pt idx="517">
                  <c:v>5.4440160934422597</c:v>
                </c:pt>
                <c:pt idx="518">
                  <c:v>5.4440160934422597</c:v>
                </c:pt>
                <c:pt idx="519">
                  <c:v>5.4440160934422597</c:v>
                </c:pt>
                <c:pt idx="520">
                  <c:v>5.4440160934422597</c:v>
                </c:pt>
                <c:pt idx="521">
                  <c:v>5.4440160934422597</c:v>
                </c:pt>
                <c:pt idx="522">
                  <c:v>5.4440160934422597</c:v>
                </c:pt>
                <c:pt idx="523">
                  <c:v>5.4684608042212322</c:v>
                </c:pt>
                <c:pt idx="524">
                  <c:v>5.4806943889699156</c:v>
                </c:pt>
                <c:pt idx="525">
                  <c:v>5.4806943889699156</c:v>
                </c:pt>
                <c:pt idx="526">
                  <c:v>5.4929714866665922</c:v>
                </c:pt>
                <c:pt idx="527">
                  <c:v>5.4929714866665922</c:v>
                </c:pt>
                <c:pt idx="528">
                  <c:v>5.5052793946731668</c:v>
                </c:pt>
                <c:pt idx="529">
                  <c:v>5.5052793946731668</c:v>
                </c:pt>
                <c:pt idx="530">
                  <c:v>5.5052793946731668</c:v>
                </c:pt>
                <c:pt idx="531">
                  <c:v>5.5052793946731668</c:v>
                </c:pt>
                <c:pt idx="532">
                  <c:v>5.5052793946731668</c:v>
                </c:pt>
                <c:pt idx="533">
                  <c:v>5.5176329963185884</c:v>
                </c:pt>
                <c:pt idx="534">
                  <c:v>5.5299898752160708</c:v>
                </c:pt>
                <c:pt idx="535">
                  <c:v>5.5299898752160708</c:v>
                </c:pt>
                <c:pt idx="536">
                  <c:v>5.5299898752160708</c:v>
                </c:pt>
                <c:pt idx="537">
                  <c:v>5.5299898752160708</c:v>
                </c:pt>
                <c:pt idx="538">
                  <c:v>5.5299898752160708</c:v>
                </c:pt>
                <c:pt idx="539">
                  <c:v>5.5299898752160708</c:v>
                </c:pt>
                <c:pt idx="540">
                  <c:v>5.5423944767780933</c:v>
                </c:pt>
                <c:pt idx="541">
                  <c:v>5.5548106544247622</c:v>
                </c:pt>
                <c:pt idx="542">
                  <c:v>5.5548106544247622</c:v>
                </c:pt>
                <c:pt idx="543">
                  <c:v>5.5548106544247622</c:v>
                </c:pt>
                <c:pt idx="544">
                  <c:v>5.5548106544247622</c:v>
                </c:pt>
                <c:pt idx="545">
                  <c:v>5.5548106544247622</c:v>
                </c:pt>
                <c:pt idx="546">
                  <c:v>5.5672650254759892</c:v>
                </c:pt>
                <c:pt idx="547">
                  <c:v>5.5797327381137727</c:v>
                </c:pt>
                <c:pt idx="548">
                  <c:v>5.5797327381137727</c:v>
                </c:pt>
                <c:pt idx="549">
                  <c:v>5.5797327381137727</c:v>
                </c:pt>
                <c:pt idx="550">
                  <c:v>5.5797327381137727</c:v>
                </c:pt>
                <c:pt idx="551">
                  <c:v>5.5797327381137727</c:v>
                </c:pt>
                <c:pt idx="552">
                  <c:v>5.5922507440659484</c:v>
                </c:pt>
                <c:pt idx="553">
                  <c:v>5.6173137199034215</c:v>
                </c:pt>
                <c:pt idx="554">
                  <c:v>5.6173137199034215</c:v>
                </c:pt>
                <c:pt idx="555">
                  <c:v>5.6173137199034215</c:v>
                </c:pt>
                <c:pt idx="556">
                  <c:v>5.6173137199034215</c:v>
                </c:pt>
                <c:pt idx="557">
                  <c:v>5.6173137199034215</c:v>
                </c:pt>
                <c:pt idx="558">
                  <c:v>5.6299045542270463</c:v>
                </c:pt>
                <c:pt idx="559">
                  <c:v>5.6299045542270463</c:v>
                </c:pt>
                <c:pt idx="560">
                  <c:v>5.6299045542270463</c:v>
                </c:pt>
                <c:pt idx="561">
                  <c:v>5.6299045542270463</c:v>
                </c:pt>
                <c:pt idx="562">
                  <c:v>5.6299045542270463</c:v>
                </c:pt>
                <c:pt idx="563">
                  <c:v>5.6425880818094951</c:v>
                </c:pt>
                <c:pt idx="564">
                  <c:v>5.6552802623647791</c:v>
                </c:pt>
                <c:pt idx="565">
                  <c:v>5.6552802623647791</c:v>
                </c:pt>
                <c:pt idx="566">
                  <c:v>5.6552802623647791</c:v>
                </c:pt>
                <c:pt idx="567">
                  <c:v>5.6552802623647791</c:v>
                </c:pt>
                <c:pt idx="568">
                  <c:v>5.6808214763146054</c:v>
                </c:pt>
                <c:pt idx="569">
                  <c:v>5.6936184543116308</c:v>
                </c:pt>
                <c:pt idx="570">
                  <c:v>5.6936184543116308</c:v>
                </c:pt>
                <c:pt idx="571">
                  <c:v>5.6936184543116308</c:v>
                </c:pt>
                <c:pt idx="572">
                  <c:v>5.6936184543116308</c:v>
                </c:pt>
                <c:pt idx="573">
                  <c:v>5.6936184543116308</c:v>
                </c:pt>
                <c:pt idx="574">
                  <c:v>5.7064845189838902</c:v>
                </c:pt>
                <c:pt idx="575">
                  <c:v>5.7193773582080469</c:v>
                </c:pt>
                <c:pt idx="576">
                  <c:v>5.7452096329615916</c:v>
                </c:pt>
                <c:pt idx="577">
                  <c:v>5.7581455555369638</c:v>
                </c:pt>
                <c:pt idx="578">
                  <c:v>5.7710959074738248</c:v>
                </c:pt>
                <c:pt idx="579">
                  <c:v>5.7710959074738248</c:v>
                </c:pt>
                <c:pt idx="580">
                  <c:v>5.7710959074738248</c:v>
                </c:pt>
                <c:pt idx="581">
                  <c:v>5.7840970237749918</c:v>
                </c:pt>
                <c:pt idx="582">
                  <c:v>5.7840970237749918</c:v>
                </c:pt>
                <c:pt idx="583">
                  <c:v>5.7840970237749918</c:v>
                </c:pt>
                <c:pt idx="584">
                  <c:v>5.7840970237749918</c:v>
                </c:pt>
                <c:pt idx="585">
                  <c:v>5.7971861155190689</c:v>
                </c:pt>
                <c:pt idx="586">
                  <c:v>5.8102770533973827</c:v>
                </c:pt>
                <c:pt idx="587">
                  <c:v>5.83647740873882</c:v>
                </c:pt>
                <c:pt idx="588">
                  <c:v>5.83647740873882</c:v>
                </c:pt>
                <c:pt idx="589">
                  <c:v>5.83647740873882</c:v>
                </c:pt>
                <c:pt idx="590">
                  <c:v>5.83647740873882</c:v>
                </c:pt>
                <c:pt idx="591">
                  <c:v>5.8496632328241001</c:v>
                </c:pt>
                <c:pt idx="592">
                  <c:v>5.8496632328241001</c:v>
                </c:pt>
                <c:pt idx="593">
                  <c:v>5.8496632328241001</c:v>
                </c:pt>
                <c:pt idx="594">
                  <c:v>5.8496632328241001</c:v>
                </c:pt>
                <c:pt idx="595">
                  <c:v>5.8496632328241001</c:v>
                </c:pt>
                <c:pt idx="596">
                  <c:v>5.8629263544197459</c:v>
                </c:pt>
                <c:pt idx="597">
                  <c:v>5.8762103717956196</c:v>
                </c:pt>
                <c:pt idx="598">
                  <c:v>5.8895058162832141</c:v>
                </c:pt>
                <c:pt idx="599">
                  <c:v>5.916111965452937</c:v>
                </c:pt>
                <c:pt idx="600">
                  <c:v>5.916111965452937</c:v>
                </c:pt>
                <c:pt idx="601">
                  <c:v>5.9294322447613599</c:v>
                </c:pt>
                <c:pt idx="602">
                  <c:v>5.9294322447613599</c:v>
                </c:pt>
                <c:pt idx="603">
                  <c:v>5.9294322447613599</c:v>
                </c:pt>
                <c:pt idx="604">
                  <c:v>5.9427928553033915</c:v>
                </c:pt>
                <c:pt idx="605">
                  <c:v>5.9427928553033915</c:v>
                </c:pt>
                <c:pt idx="606">
                  <c:v>5.9427928553033915</c:v>
                </c:pt>
                <c:pt idx="607">
                  <c:v>5.9561766278400059</c:v>
                </c:pt>
                <c:pt idx="608">
                  <c:v>5.9695700777248035</c:v>
                </c:pt>
                <c:pt idx="609">
                  <c:v>5.9695700777248035</c:v>
                </c:pt>
                <c:pt idx="610">
                  <c:v>5.9695700777248035</c:v>
                </c:pt>
                <c:pt idx="611">
                  <c:v>5.9695700777248035</c:v>
                </c:pt>
                <c:pt idx="612">
                  <c:v>5.9695700777248035</c:v>
                </c:pt>
                <c:pt idx="613">
                  <c:v>5.9695700777248035</c:v>
                </c:pt>
                <c:pt idx="614">
                  <c:v>5.9830906372960531</c:v>
                </c:pt>
                <c:pt idx="615">
                  <c:v>6.0236819533609012</c:v>
                </c:pt>
                <c:pt idx="616">
                  <c:v>6.0236819533609012</c:v>
                </c:pt>
                <c:pt idx="617">
                  <c:v>6.0373401884004316</c:v>
                </c:pt>
                <c:pt idx="618">
                  <c:v>6.0373401884004316</c:v>
                </c:pt>
                <c:pt idx="619">
                  <c:v>6.0510368364980938</c:v>
                </c:pt>
                <c:pt idx="620">
                  <c:v>6.0510368364980938</c:v>
                </c:pt>
                <c:pt idx="621">
                  <c:v>6.0510368364980938</c:v>
                </c:pt>
                <c:pt idx="622">
                  <c:v>6.064782328511706</c:v>
                </c:pt>
                <c:pt idx="623">
                  <c:v>6.064782328511706</c:v>
                </c:pt>
                <c:pt idx="624">
                  <c:v>6.064782328511706</c:v>
                </c:pt>
                <c:pt idx="625">
                  <c:v>6.0786017725731956</c:v>
                </c:pt>
                <c:pt idx="626">
                  <c:v>6.0786017725731956</c:v>
                </c:pt>
                <c:pt idx="627">
                  <c:v>6.0786017725731956</c:v>
                </c:pt>
                <c:pt idx="628">
                  <c:v>6.0786017725731956</c:v>
                </c:pt>
                <c:pt idx="629">
                  <c:v>6.0924709716088037</c:v>
                </c:pt>
                <c:pt idx="630">
                  <c:v>6.1063484992431425</c:v>
                </c:pt>
                <c:pt idx="631">
                  <c:v>6.1202552603091513</c:v>
                </c:pt>
                <c:pt idx="632">
                  <c:v>6.1341766865344649</c:v>
                </c:pt>
                <c:pt idx="633">
                  <c:v>6.1481086084068117</c:v>
                </c:pt>
                <c:pt idx="634">
                  <c:v>6.1481086084068117</c:v>
                </c:pt>
                <c:pt idx="635">
                  <c:v>6.1481086084068117</c:v>
                </c:pt>
                <c:pt idx="636">
                  <c:v>6.1481086084068117</c:v>
                </c:pt>
                <c:pt idx="637">
                  <c:v>6.1481086084068117</c:v>
                </c:pt>
                <c:pt idx="638">
                  <c:v>6.1621038514510849</c:v>
                </c:pt>
                <c:pt idx="639">
                  <c:v>6.1621038514510849</c:v>
                </c:pt>
                <c:pt idx="640">
                  <c:v>6.1621038514510849</c:v>
                </c:pt>
                <c:pt idx="641">
                  <c:v>6.1761459136271277</c:v>
                </c:pt>
                <c:pt idx="642">
                  <c:v>6.1761459136271277</c:v>
                </c:pt>
                <c:pt idx="643">
                  <c:v>6.1761459136271277</c:v>
                </c:pt>
                <c:pt idx="644">
                  <c:v>6.1761459136271277</c:v>
                </c:pt>
                <c:pt idx="645">
                  <c:v>6.1761459136271277</c:v>
                </c:pt>
                <c:pt idx="646">
                  <c:v>6.1761459136271277</c:v>
                </c:pt>
                <c:pt idx="647">
                  <c:v>6.190286919568007</c:v>
                </c:pt>
                <c:pt idx="648">
                  <c:v>6.190286919568007</c:v>
                </c:pt>
                <c:pt idx="649">
                  <c:v>6.2044409367089539</c:v>
                </c:pt>
                <c:pt idx="650">
                  <c:v>6.2186145216155344</c:v>
                </c:pt>
                <c:pt idx="651">
                  <c:v>6.2328033656876549</c:v>
                </c:pt>
                <c:pt idx="652">
                  <c:v>6.2470228315906695</c:v>
                </c:pt>
                <c:pt idx="653">
                  <c:v>6.2470228315906695</c:v>
                </c:pt>
                <c:pt idx="654">
                  <c:v>6.261273056536119</c:v>
                </c:pt>
                <c:pt idx="655">
                  <c:v>6.261273056536119</c:v>
                </c:pt>
                <c:pt idx="656">
                  <c:v>6.2755431285915204</c:v>
                </c:pt>
                <c:pt idx="657">
                  <c:v>6.2755431285915204</c:v>
                </c:pt>
                <c:pt idx="658">
                  <c:v>6.2755431285915204</c:v>
                </c:pt>
                <c:pt idx="659">
                  <c:v>6.2755431285915204</c:v>
                </c:pt>
                <c:pt idx="660">
                  <c:v>6.2899155485456122</c:v>
                </c:pt>
                <c:pt idx="661">
                  <c:v>6.2899155485456122</c:v>
                </c:pt>
                <c:pt idx="662">
                  <c:v>6.2899155485456122</c:v>
                </c:pt>
                <c:pt idx="663">
                  <c:v>6.2899155485456122</c:v>
                </c:pt>
                <c:pt idx="664">
                  <c:v>6.3043374587546719</c:v>
                </c:pt>
                <c:pt idx="665">
                  <c:v>6.3043374587546719</c:v>
                </c:pt>
                <c:pt idx="666">
                  <c:v>6.3043374587546719</c:v>
                </c:pt>
                <c:pt idx="667">
                  <c:v>6.3043374587546719</c:v>
                </c:pt>
                <c:pt idx="668">
                  <c:v>6.3043374587546719</c:v>
                </c:pt>
                <c:pt idx="669">
                  <c:v>6.318868556927459</c:v>
                </c:pt>
                <c:pt idx="670">
                  <c:v>6.318868556927459</c:v>
                </c:pt>
                <c:pt idx="671">
                  <c:v>6.318868556927459</c:v>
                </c:pt>
                <c:pt idx="672">
                  <c:v>6.318868556927459</c:v>
                </c:pt>
                <c:pt idx="673">
                  <c:v>6.318868556927459</c:v>
                </c:pt>
                <c:pt idx="674">
                  <c:v>6.318868556927459</c:v>
                </c:pt>
                <c:pt idx="675">
                  <c:v>6.333538531526103</c:v>
                </c:pt>
                <c:pt idx="676">
                  <c:v>6.333538531526103</c:v>
                </c:pt>
                <c:pt idx="677">
                  <c:v>6.333538531526103</c:v>
                </c:pt>
                <c:pt idx="678">
                  <c:v>6.333538531526103</c:v>
                </c:pt>
                <c:pt idx="679">
                  <c:v>6.348250701641331</c:v>
                </c:pt>
                <c:pt idx="680">
                  <c:v>6.3629817063478393</c:v>
                </c:pt>
                <c:pt idx="681">
                  <c:v>6.3629817063478393</c:v>
                </c:pt>
                <c:pt idx="682">
                  <c:v>6.3629817063478393</c:v>
                </c:pt>
                <c:pt idx="683">
                  <c:v>6.377760016785583</c:v>
                </c:pt>
                <c:pt idx="684">
                  <c:v>6.3925525805367212</c:v>
                </c:pt>
                <c:pt idx="685">
                  <c:v>6.3925525805367212</c:v>
                </c:pt>
                <c:pt idx="686">
                  <c:v>6.3925525805367212</c:v>
                </c:pt>
                <c:pt idx="687">
                  <c:v>6.422261894883535</c:v>
                </c:pt>
                <c:pt idx="688">
                  <c:v>6.422261894883535</c:v>
                </c:pt>
                <c:pt idx="689">
                  <c:v>6.422261894883535</c:v>
                </c:pt>
                <c:pt idx="690">
                  <c:v>6.422261894883535</c:v>
                </c:pt>
                <c:pt idx="691">
                  <c:v>6.422261894883535</c:v>
                </c:pt>
                <c:pt idx="692">
                  <c:v>6.4371840301948033</c:v>
                </c:pt>
                <c:pt idx="693">
                  <c:v>6.4371840301948033</c:v>
                </c:pt>
                <c:pt idx="694">
                  <c:v>6.4521377169156677</c:v>
                </c:pt>
                <c:pt idx="695">
                  <c:v>6.4821035984241231</c:v>
                </c:pt>
                <c:pt idx="696">
                  <c:v>6.4821035984241231</c:v>
                </c:pt>
                <c:pt idx="697">
                  <c:v>6.4971012139489233</c:v>
                </c:pt>
                <c:pt idx="698">
                  <c:v>6.5121061788442844</c:v>
                </c:pt>
                <c:pt idx="699">
                  <c:v>6.5571578744580057</c:v>
                </c:pt>
                <c:pt idx="700">
                  <c:v>6.5721997126406846</c:v>
                </c:pt>
                <c:pt idx="701">
                  <c:v>6.5721997126406846</c:v>
                </c:pt>
                <c:pt idx="702">
                  <c:v>6.5721997126406846</c:v>
                </c:pt>
                <c:pt idx="703">
                  <c:v>6.5872910240560261</c:v>
                </c:pt>
                <c:pt idx="704">
                  <c:v>6.5872910240560261</c:v>
                </c:pt>
                <c:pt idx="705">
                  <c:v>6.6024096928256126</c:v>
                </c:pt>
                <c:pt idx="706">
                  <c:v>6.6024096928256126</c:v>
                </c:pt>
                <c:pt idx="707">
                  <c:v>6.6024096928256126</c:v>
                </c:pt>
                <c:pt idx="708">
                  <c:v>6.6024096928256126</c:v>
                </c:pt>
                <c:pt idx="709">
                  <c:v>6.6024096928256126</c:v>
                </c:pt>
                <c:pt idx="710">
                  <c:v>6.61769211697034</c:v>
                </c:pt>
                <c:pt idx="711">
                  <c:v>6.61769211697034</c:v>
                </c:pt>
                <c:pt idx="712">
                  <c:v>6.61769211697034</c:v>
                </c:pt>
                <c:pt idx="713">
                  <c:v>6.6330359163124353</c:v>
                </c:pt>
                <c:pt idx="714">
                  <c:v>6.6484054473321121</c:v>
                </c:pt>
                <c:pt idx="715">
                  <c:v>6.6946225676781017</c:v>
                </c:pt>
                <c:pt idx="716">
                  <c:v>6.6946225676781017</c:v>
                </c:pt>
                <c:pt idx="717">
                  <c:v>6.7100594338198469</c:v>
                </c:pt>
                <c:pt idx="718">
                  <c:v>6.7100594338198469</c:v>
                </c:pt>
                <c:pt idx="719">
                  <c:v>6.7100594338198469</c:v>
                </c:pt>
                <c:pt idx="720">
                  <c:v>6.7100594338198469</c:v>
                </c:pt>
                <c:pt idx="721">
                  <c:v>6.7100594338198469</c:v>
                </c:pt>
                <c:pt idx="722">
                  <c:v>6.7100594338198469</c:v>
                </c:pt>
                <c:pt idx="723">
                  <c:v>6.7100594338198469</c:v>
                </c:pt>
                <c:pt idx="724">
                  <c:v>6.7100594338198469</c:v>
                </c:pt>
                <c:pt idx="725">
                  <c:v>6.7411533183539136</c:v>
                </c:pt>
                <c:pt idx="726">
                  <c:v>6.7411533183539136</c:v>
                </c:pt>
                <c:pt idx="727">
                  <c:v>6.7567214129233513</c:v>
                </c:pt>
                <c:pt idx="728">
                  <c:v>6.7878947194539112</c:v>
                </c:pt>
                <c:pt idx="729">
                  <c:v>6.8035053071807834</c:v>
                </c:pt>
                <c:pt idx="730">
                  <c:v>6.8035053071807834</c:v>
                </c:pt>
                <c:pt idx="731">
                  <c:v>6.8035053071807834</c:v>
                </c:pt>
                <c:pt idx="732">
                  <c:v>6.8035053071807834</c:v>
                </c:pt>
                <c:pt idx="733">
                  <c:v>6.8191532855369417</c:v>
                </c:pt>
                <c:pt idx="734">
                  <c:v>6.8191532855369417</c:v>
                </c:pt>
                <c:pt idx="735">
                  <c:v>6.8191532855369417</c:v>
                </c:pt>
                <c:pt idx="736">
                  <c:v>6.8191532855369417</c:v>
                </c:pt>
                <c:pt idx="737">
                  <c:v>6.8191532855369417</c:v>
                </c:pt>
                <c:pt idx="738">
                  <c:v>6.8191532855369417</c:v>
                </c:pt>
                <c:pt idx="739">
                  <c:v>6.8191532855369417</c:v>
                </c:pt>
                <c:pt idx="740">
                  <c:v>6.8348847269572843</c:v>
                </c:pt>
                <c:pt idx="741">
                  <c:v>6.8348847269572843</c:v>
                </c:pt>
                <c:pt idx="742">
                  <c:v>6.8506297159503262</c:v>
                </c:pt>
                <c:pt idx="743">
                  <c:v>6.8506297159503262</c:v>
                </c:pt>
                <c:pt idx="744">
                  <c:v>6.8664182219279768</c:v>
                </c:pt>
                <c:pt idx="745">
                  <c:v>6.8664182219279768</c:v>
                </c:pt>
                <c:pt idx="746">
                  <c:v>6.8822285805090564</c:v>
                </c:pt>
                <c:pt idx="747">
                  <c:v>6.8822285805090564</c:v>
                </c:pt>
                <c:pt idx="748">
                  <c:v>6.8822285805090564</c:v>
                </c:pt>
                <c:pt idx="749">
                  <c:v>6.8822285805090564</c:v>
                </c:pt>
                <c:pt idx="750">
                  <c:v>6.8981214422658939</c:v>
                </c:pt>
                <c:pt idx="751">
                  <c:v>6.8981214422658939</c:v>
                </c:pt>
                <c:pt idx="752">
                  <c:v>6.9140392274860183</c:v>
                </c:pt>
                <c:pt idx="753">
                  <c:v>6.9299681168465135</c:v>
                </c:pt>
                <c:pt idx="754">
                  <c:v>6.9299681168465135</c:v>
                </c:pt>
                <c:pt idx="755">
                  <c:v>6.9299681168465135</c:v>
                </c:pt>
                <c:pt idx="756">
                  <c:v>6.9299681168465135</c:v>
                </c:pt>
                <c:pt idx="757">
                  <c:v>6.9299681168465135</c:v>
                </c:pt>
                <c:pt idx="758">
                  <c:v>6.9299681168465135</c:v>
                </c:pt>
                <c:pt idx="759">
                  <c:v>6.9459751975364696</c:v>
                </c:pt>
                <c:pt idx="760">
                  <c:v>6.9459751975364696</c:v>
                </c:pt>
                <c:pt idx="761">
                  <c:v>6.9459751975364696</c:v>
                </c:pt>
                <c:pt idx="762">
                  <c:v>6.9620047640289746</c:v>
                </c:pt>
                <c:pt idx="763">
                  <c:v>6.9780512393468923</c:v>
                </c:pt>
                <c:pt idx="764">
                  <c:v>6.9780512393468923</c:v>
                </c:pt>
                <c:pt idx="765">
                  <c:v>6.9780512393468923</c:v>
                </c:pt>
                <c:pt idx="766">
                  <c:v>6.9780512393468923</c:v>
                </c:pt>
                <c:pt idx="767">
                  <c:v>6.9780512393468923</c:v>
                </c:pt>
                <c:pt idx="768">
                  <c:v>6.9780512393468923</c:v>
                </c:pt>
                <c:pt idx="769">
                  <c:v>7.0103486398540626</c:v>
                </c:pt>
                <c:pt idx="770">
                  <c:v>7.0103486398540626</c:v>
                </c:pt>
                <c:pt idx="771">
                  <c:v>7.0103486398540626</c:v>
                </c:pt>
                <c:pt idx="772">
                  <c:v>7.0103486398540626</c:v>
                </c:pt>
                <c:pt idx="773">
                  <c:v>7.0103486398540626</c:v>
                </c:pt>
                <c:pt idx="774">
                  <c:v>7.0427205385781164</c:v>
                </c:pt>
                <c:pt idx="775">
                  <c:v>7.0427205385781164</c:v>
                </c:pt>
                <c:pt idx="776">
                  <c:v>7.0427205385781164</c:v>
                </c:pt>
                <c:pt idx="777">
                  <c:v>7.0589237468163075</c:v>
                </c:pt>
                <c:pt idx="778">
                  <c:v>7.0913532201525094</c:v>
                </c:pt>
                <c:pt idx="779">
                  <c:v>7.1075737292437742</c:v>
                </c:pt>
                <c:pt idx="780">
                  <c:v>7.1238029062237587</c:v>
                </c:pt>
                <c:pt idx="781">
                  <c:v>7.1238029062237587</c:v>
                </c:pt>
                <c:pt idx="782">
                  <c:v>7.1238029062237587</c:v>
                </c:pt>
                <c:pt idx="783">
                  <c:v>7.1238029062237587</c:v>
                </c:pt>
                <c:pt idx="784">
                  <c:v>7.1400523510644716</c:v>
                </c:pt>
                <c:pt idx="785">
                  <c:v>7.1400523510644716</c:v>
                </c:pt>
                <c:pt idx="786">
                  <c:v>7.1400523510644716</c:v>
                </c:pt>
                <c:pt idx="787">
                  <c:v>7.1400523510644716</c:v>
                </c:pt>
                <c:pt idx="788">
                  <c:v>7.1400523510644716</c:v>
                </c:pt>
                <c:pt idx="789">
                  <c:v>7.1563454146726517</c:v>
                </c:pt>
                <c:pt idx="790">
                  <c:v>7.1726413950483963</c:v>
                </c:pt>
                <c:pt idx="791">
                  <c:v>7.1889461335647926</c:v>
                </c:pt>
                <c:pt idx="792">
                  <c:v>7.2052625663530323</c:v>
                </c:pt>
                <c:pt idx="793">
                  <c:v>7.2379305840288763</c:v>
                </c:pt>
                <c:pt idx="794">
                  <c:v>7.2542645928667975</c:v>
                </c:pt>
                <c:pt idx="795">
                  <c:v>7.2542645928667975</c:v>
                </c:pt>
                <c:pt idx="796">
                  <c:v>7.2869502276652423</c:v>
                </c:pt>
                <c:pt idx="797">
                  <c:v>7.3033018663045155</c:v>
                </c:pt>
                <c:pt idx="798">
                  <c:v>7.3196829832899919</c:v>
                </c:pt>
                <c:pt idx="799">
                  <c:v>7.3360759235284343</c:v>
                </c:pt>
                <c:pt idx="800">
                  <c:v>7.3360759235284343</c:v>
                </c:pt>
                <c:pt idx="801">
                  <c:v>7.3360759235284343</c:v>
                </c:pt>
                <c:pt idx="802">
                  <c:v>7.3360759235284343</c:v>
                </c:pt>
                <c:pt idx="803">
                  <c:v>7.3525103874077926</c:v>
                </c:pt>
                <c:pt idx="804">
                  <c:v>7.3689656958689884</c:v>
                </c:pt>
                <c:pt idx="805">
                  <c:v>7.38543294144187</c:v>
                </c:pt>
                <c:pt idx="806">
                  <c:v>7.38543294144187</c:v>
                </c:pt>
                <c:pt idx="807">
                  <c:v>7.4019091528471872</c:v>
                </c:pt>
                <c:pt idx="808">
                  <c:v>7.4183943414835651</c:v>
                </c:pt>
                <c:pt idx="809">
                  <c:v>7.4348885187724161</c:v>
                </c:pt>
                <c:pt idx="810">
                  <c:v>7.4513977016810715</c:v>
                </c:pt>
                <c:pt idx="811">
                  <c:v>7.4513977016810715</c:v>
                </c:pt>
                <c:pt idx="812">
                  <c:v>7.4679189109477004</c:v>
                </c:pt>
                <c:pt idx="813">
                  <c:v>7.4679189109477004</c:v>
                </c:pt>
                <c:pt idx="814">
                  <c:v>7.4679189109477004</c:v>
                </c:pt>
                <c:pt idx="815">
                  <c:v>7.4679189109477004</c:v>
                </c:pt>
                <c:pt idx="816">
                  <c:v>7.4844763112532489</c:v>
                </c:pt>
                <c:pt idx="817">
                  <c:v>7.4844763112532489</c:v>
                </c:pt>
                <c:pt idx="818">
                  <c:v>7.4844763112532489</c:v>
                </c:pt>
                <c:pt idx="819">
                  <c:v>7.4844763112532489</c:v>
                </c:pt>
                <c:pt idx="820">
                  <c:v>7.4844763112532489</c:v>
                </c:pt>
                <c:pt idx="821">
                  <c:v>7.5010883063940241</c:v>
                </c:pt>
                <c:pt idx="822">
                  <c:v>7.5010883063940241</c:v>
                </c:pt>
                <c:pt idx="823">
                  <c:v>7.5010883063940241</c:v>
                </c:pt>
                <c:pt idx="824">
                  <c:v>7.5010883063940241</c:v>
                </c:pt>
                <c:pt idx="825">
                  <c:v>7.5345637612503458</c:v>
                </c:pt>
                <c:pt idx="826">
                  <c:v>7.5345637612503458</c:v>
                </c:pt>
                <c:pt idx="827">
                  <c:v>7.5345637612503458</c:v>
                </c:pt>
                <c:pt idx="828">
                  <c:v>7.5513511072190758</c:v>
                </c:pt>
                <c:pt idx="829">
                  <c:v>7.5513511072190758</c:v>
                </c:pt>
                <c:pt idx="830">
                  <c:v>7.5682103141513783</c:v>
                </c:pt>
                <c:pt idx="831">
                  <c:v>7.5851009630958641</c:v>
                </c:pt>
                <c:pt idx="832">
                  <c:v>7.6020231774467124</c:v>
                </c:pt>
                <c:pt idx="833">
                  <c:v>7.6359119548943681</c:v>
                </c:pt>
                <c:pt idx="834">
                  <c:v>7.6528785845184526</c:v>
                </c:pt>
                <c:pt idx="835">
                  <c:v>7.6528785845184526</c:v>
                </c:pt>
                <c:pt idx="836">
                  <c:v>7.6528785845184526</c:v>
                </c:pt>
                <c:pt idx="837">
                  <c:v>7.6528785845184526</c:v>
                </c:pt>
                <c:pt idx="838">
                  <c:v>7.6699960999688992</c:v>
                </c:pt>
                <c:pt idx="839">
                  <c:v>7.6699960999688992</c:v>
                </c:pt>
                <c:pt idx="840">
                  <c:v>7.6699960999688992</c:v>
                </c:pt>
                <c:pt idx="841">
                  <c:v>7.6699960999688992</c:v>
                </c:pt>
                <c:pt idx="842">
                  <c:v>7.6699960999688992</c:v>
                </c:pt>
                <c:pt idx="843">
                  <c:v>7.6872441975493704</c:v>
                </c:pt>
                <c:pt idx="844">
                  <c:v>7.6872441975493704</c:v>
                </c:pt>
                <c:pt idx="845">
                  <c:v>7.6872441975493704</c:v>
                </c:pt>
                <c:pt idx="846">
                  <c:v>7.6872441975493704</c:v>
                </c:pt>
                <c:pt idx="847">
                  <c:v>7.7046583977644758</c:v>
                </c:pt>
                <c:pt idx="848">
                  <c:v>7.7221028426345288</c:v>
                </c:pt>
                <c:pt idx="849">
                  <c:v>7.7221028426345288</c:v>
                </c:pt>
                <c:pt idx="850">
                  <c:v>7.7221028426345288</c:v>
                </c:pt>
                <c:pt idx="851">
                  <c:v>7.7221028426345288</c:v>
                </c:pt>
                <c:pt idx="852">
                  <c:v>7.739755121711041</c:v>
                </c:pt>
                <c:pt idx="853">
                  <c:v>7.739755121711041</c:v>
                </c:pt>
                <c:pt idx="854">
                  <c:v>7.739755121711041</c:v>
                </c:pt>
                <c:pt idx="855">
                  <c:v>7.7574731641801913</c:v>
                </c:pt>
                <c:pt idx="856">
                  <c:v>7.7752190487903254</c:v>
                </c:pt>
                <c:pt idx="857">
                  <c:v>7.7752190487903254</c:v>
                </c:pt>
                <c:pt idx="858">
                  <c:v>7.7931019536934318</c:v>
                </c:pt>
                <c:pt idx="859">
                  <c:v>7.7931019536934318</c:v>
                </c:pt>
                <c:pt idx="860">
                  <c:v>7.7931019536934318</c:v>
                </c:pt>
                <c:pt idx="861">
                  <c:v>7.7931019536934318</c:v>
                </c:pt>
                <c:pt idx="862">
                  <c:v>7.8111348557708764</c:v>
                </c:pt>
                <c:pt idx="863">
                  <c:v>7.8111348557708764</c:v>
                </c:pt>
                <c:pt idx="864">
                  <c:v>7.8292546285126861</c:v>
                </c:pt>
                <c:pt idx="865">
                  <c:v>7.8292546285126861</c:v>
                </c:pt>
                <c:pt idx="866">
                  <c:v>7.8292546285126861</c:v>
                </c:pt>
                <c:pt idx="867">
                  <c:v>7.8292546285126861</c:v>
                </c:pt>
                <c:pt idx="868">
                  <c:v>7.8292546285126861</c:v>
                </c:pt>
                <c:pt idx="869">
                  <c:v>7.8292546285126861</c:v>
                </c:pt>
                <c:pt idx="870">
                  <c:v>7.8475581345007095</c:v>
                </c:pt>
                <c:pt idx="871">
                  <c:v>7.8475581345007095</c:v>
                </c:pt>
                <c:pt idx="872">
                  <c:v>7.8475581345007095</c:v>
                </c:pt>
                <c:pt idx="873">
                  <c:v>7.8475581345007095</c:v>
                </c:pt>
                <c:pt idx="874">
                  <c:v>7.8660000767414413</c:v>
                </c:pt>
                <c:pt idx="875">
                  <c:v>7.8660000767414413</c:v>
                </c:pt>
                <c:pt idx="876">
                  <c:v>7.8660000767414413</c:v>
                </c:pt>
                <c:pt idx="877">
                  <c:v>7.8660000767414413</c:v>
                </c:pt>
                <c:pt idx="878">
                  <c:v>7.8845482251489241</c:v>
                </c:pt>
                <c:pt idx="879">
                  <c:v>7.9218285846315668</c:v>
                </c:pt>
                <c:pt idx="880">
                  <c:v>7.9218285846315668</c:v>
                </c:pt>
                <c:pt idx="881">
                  <c:v>7.9218285846315668</c:v>
                </c:pt>
                <c:pt idx="882">
                  <c:v>7.9218285846315668</c:v>
                </c:pt>
                <c:pt idx="883">
                  <c:v>7.9218285846315668</c:v>
                </c:pt>
                <c:pt idx="884">
                  <c:v>7.9218285846315668</c:v>
                </c:pt>
                <c:pt idx="885">
                  <c:v>7.9406911357092751</c:v>
                </c:pt>
                <c:pt idx="886">
                  <c:v>7.9406911357092751</c:v>
                </c:pt>
                <c:pt idx="887">
                  <c:v>7.9406911357092751</c:v>
                </c:pt>
                <c:pt idx="888">
                  <c:v>7.9597774323621486</c:v>
                </c:pt>
                <c:pt idx="889">
                  <c:v>8.0170605948472442</c:v>
                </c:pt>
                <c:pt idx="890">
                  <c:v>8.0170605948472442</c:v>
                </c:pt>
                <c:pt idx="891">
                  <c:v>8.0170605948472442</c:v>
                </c:pt>
                <c:pt idx="892">
                  <c:v>8.0362690516509723</c:v>
                </c:pt>
                <c:pt idx="893">
                  <c:v>8.0362690516509723</c:v>
                </c:pt>
                <c:pt idx="894">
                  <c:v>8.0556137386447979</c:v>
                </c:pt>
                <c:pt idx="895">
                  <c:v>8.0749750733899095</c:v>
                </c:pt>
                <c:pt idx="896">
                  <c:v>8.0749750733899095</c:v>
                </c:pt>
                <c:pt idx="897">
                  <c:v>8.0749750733899095</c:v>
                </c:pt>
                <c:pt idx="898">
                  <c:v>8.0749750733899095</c:v>
                </c:pt>
                <c:pt idx="899">
                  <c:v>8.0944369212290912</c:v>
                </c:pt>
                <c:pt idx="900">
                  <c:v>8.0944369212290912</c:v>
                </c:pt>
                <c:pt idx="901">
                  <c:v>8.0944369212290912</c:v>
                </c:pt>
                <c:pt idx="902">
                  <c:v>8.0944369212290912</c:v>
                </c:pt>
                <c:pt idx="903">
                  <c:v>8.0944369212290912</c:v>
                </c:pt>
                <c:pt idx="904">
                  <c:v>8.0944369212290912</c:v>
                </c:pt>
                <c:pt idx="905">
                  <c:v>8.0944369212290912</c:v>
                </c:pt>
                <c:pt idx="906">
                  <c:v>8.0944369212290912</c:v>
                </c:pt>
                <c:pt idx="907">
                  <c:v>8.1141764444862599</c:v>
                </c:pt>
                <c:pt idx="908">
                  <c:v>8.1141764444862599</c:v>
                </c:pt>
                <c:pt idx="909">
                  <c:v>8.1141764444862599</c:v>
                </c:pt>
                <c:pt idx="910">
                  <c:v>8.1340074149061028</c:v>
                </c:pt>
                <c:pt idx="911">
                  <c:v>8.1340074149061028</c:v>
                </c:pt>
                <c:pt idx="912">
                  <c:v>8.1539086456285848</c:v>
                </c:pt>
                <c:pt idx="913">
                  <c:v>8.1539086456285848</c:v>
                </c:pt>
                <c:pt idx="914">
                  <c:v>8.1539086456285848</c:v>
                </c:pt>
                <c:pt idx="915">
                  <c:v>8.1539086456285848</c:v>
                </c:pt>
                <c:pt idx="916">
                  <c:v>8.1539086456285848</c:v>
                </c:pt>
                <c:pt idx="917">
                  <c:v>8.1943470149859223</c:v>
                </c:pt>
                <c:pt idx="918">
                  <c:v>8.1943470149859223</c:v>
                </c:pt>
                <c:pt idx="919">
                  <c:v>8.1943470149859223</c:v>
                </c:pt>
                <c:pt idx="920">
                  <c:v>8.1943470149859223</c:v>
                </c:pt>
                <c:pt idx="921">
                  <c:v>8.2148852309343905</c:v>
                </c:pt>
                <c:pt idx="922">
                  <c:v>8.2148852309343905</c:v>
                </c:pt>
                <c:pt idx="923">
                  <c:v>8.235570114630935</c:v>
                </c:pt>
                <c:pt idx="924">
                  <c:v>8.235570114630935</c:v>
                </c:pt>
                <c:pt idx="925">
                  <c:v>8.235570114630935</c:v>
                </c:pt>
                <c:pt idx="926">
                  <c:v>8.235570114630935</c:v>
                </c:pt>
                <c:pt idx="927">
                  <c:v>8.235570114630935</c:v>
                </c:pt>
                <c:pt idx="928">
                  <c:v>8.2776772418556099</c:v>
                </c:pt>
                <c:pt idx="929">
                  <c:v>8.2776772418556099</c:v>
                </c:pt>
                <c:pt idx="930">
                  <c:v>8.2776772418556099</c:v>
                </c:pt>
                <c:pt idx="931">
                  <c:v>8.2776772418556099</c:v>
                </c:pt>
                <c:pt idx="932">
                  <c:v>8.2776772418556099</c:v>
                </c:pt>
                <c:pt idx="933">
                  <c:v>8.2776772418556099</c:v>
                </c:pt>
                <c:pt idx="934">
                  <c:v>8.2776772418556099</c:v>
                </c:pt>
                <c:pt idx="935">
                  <c:v>8.2776772418556099</c:v>
                </c:pt>
                <c:pt idx="936">
                  <c:v>8.2776772418556099</c:v>
                </c:pt>
                <c:pt idx="937">
                  <c:v>8.2993513743881451</c:v>
                </c:pt>
                <c:pt idx="938">
                  <c:v>8.2993513743881451</c:v>
                </c:pt>
                <c:pt idx="939">
                  <c:v>8.2993513743881451</c:v>
                </c:pt>
                <c:pt idx="940">
                  <c:v>8.3212210550561849</c:v>
                </c:pt>
                <c:pt idx="941">
                  <c:v>8.3651317753005365</c:v>
                </c:pt>
                <c:pt idx="942">
                  <c:v>8.3651317753005365</c:v>
                </c:pt>
                <c:pt idx="943">
                  <c:v>8.3651317753005365</c:v>
                </c:pt>
                <c:pt idx="944">
                  <c:v>8.3651317753005365</c:v>
                </c:pt>
                <c:pt idx="945">
                  <c:v>8.3651317753005365</c:v>
                </c:pt>
                <c:pt idx="946">
                  <c:v>8.3651317753005365</c:v>
                </c:pt>
                <c:pt idx="947">
                  <c:v>8.3651317753005365</c:v>
                </c:pt>
                <c:pt idx="948">
                  <c:v>8.3651317753005365</c:v>
                </c:pt>
                <c:pt idx="949">
                  <c:v>8.3651317753005365</c:v>
                </c:pt>
                <c:pt idx="950">
                  <c:v>8.3651317753005365</c:v>
                </c:pt>
                <c:pt idx="951">
                  <c:v>8.3651317753005365</c:v>
                </c:pt>
                <c:pt idx="952">
                  <c:v>8.3879828155908793</c:v>
                </c:pt>
                <c:pt idx="953">
                  <c:v>8.3879828155908793</c:v>
                </c:pt>
                <c:pt idx="954">
                  <c:v>8.3879828155908793</c:v>
                </c:pt>
                <c:pt idx="955">
                  <c:v>8.3879828155908793</c:v>
                </c:pt>
                <c:pt idx="956">
                  <c:v>8.3879828155908793</c:v>
                </c:pt>
                <c:pt idx="957">
                  <c:v>8.4111830323922661</c:v>
                </c:pt>
                <c:pt idx="958">
                  <c:v>8.4111830323922661</c:v>
                </c:pt>
                <c:pt idx="959">
                  <c:v>8.4111830323922661</c:v>
                </c:pt>
                <c:pt idx="960">
                  <c:v>8.4111830323922661</c:v>
                </c:pt>
                <c:pt idx="961">
                  <c:v>8.4111830323922661</c:v>
                </c:pt>
                <c:pt idx="962">
                  <c:v>8.4111830323922661</c:v>
                </c:pt>
                <c:pt idx="963">
                  <c:v>8.4349183549364231</c:v>
                </c:pt>
                <c:pt idx="964">
                  <c:v>8.4349183549364231</c:v>
                </c:pt>
                <c:pt idx="965">
                  <c:v>8.458786595286826</c:v>
                </c:pt>
                <c:pt idx="966">
                  <c:v>8.458786595286826</c:v>
                </c:pt>
                <c:pt idx="967">
                  <c:v>8.458786595286826</c:v>
                </c:pt>
                <c:pt idx="968">
                  <c:v>8.458786595286826</c:v>
                </c:pt>
                <c:pt idx="969">
                  <c:v>8.458786595286826</c:v>
                </c:pt>
                <c:pt idx="970">
                  <c:v>8.458786595286826</c:v>
                </c:pt>
                <c:pt idx="971">
                  <c:v>8.4830627844006781</c:v>
                </c:pt>
                <c:pt idx="972">
                  <c:v>8.4830627844006781</c:v>
                </c:pt>
                <c:pt idx="973">
                  <c:v>8.4830627844006781</c:v>
                </c:pt>
                <c:pt idx="974">
                  <c:v>8.4830627844006781</c:v>
                </c:pt>
                <c:pt idx="975">
                  <c:v>8.4830627844006781</c:v>
                </c:pt>
                <c:pt idx="976">
                  <c:v>8.4830627844006781</c:v>
                </c:pt>
                <c:pt idx="977">
                  <c:v>8.4830627844006781</c:v>
                </c:pt>
                <c:pt idx="978">
                  <c:v>8.4830627844006781</c:v>
                </c:pt>
                <c:pt idx="979">
                  <c:v>8.5085493248236261</c:v>
                </c:pt>
                <c:pt idx="980">
                  <c:v>8.5341819617809573</c:v>
                </c:pt>
                <c:pt idx="981">
                  <c:v>8.5598956913487356</c:v>
                </c:pt>
                <c:pt idx="982">
                  <c:v>8.5598956913487356</c:v>
                </c:pt>
                <c:pt idx="983">
                  <c:v>8.5598956913487356</c:v>
                </c:pt>
                <c:pt idx="984">
                  <c:v>8.5598956913487356</c:v>
                </c:pt>
                <c:pt idx="985">
                  <c:v>8.5598956913487356</c:v>
                </c:pt>
                <c:pt idx="986">
                  <c:v>8.5598956913487356</c:v>
                </c:pt>
                <c:pt idx="987">
                  <c:v>8.586441958610342</c:v>
                </c:pt>
                <c:pt idx="988">
                  <c:v>8.6130752887639837</c:v>
                </c:pt>
                <c:pt idx="989">
                  <c:v>8.6397643538387214</c:v>
                </c:pt>
                <c:pt idx="990">
                  <c:v>8.6397643538387214</c:v>
                </c:pt>
                <c:pt idx="991">
                  <c:v>8.6397643538387214</c:v>
                </c:pt>
                <c:pt idx="992">
                  <c:v>8.6397643538387214</c:v>
                </c:pt>
                <c:pt idx="993">
                  <c:v>8.6397643538387214</c:v>
                </c:pt>
                <c:pt idx="994">
                  <c:v>8.6397643538387214</c:v>
                </c:pt>
                <c:pt idx="995">
                  <c:v>8.6397643538387214</c:v>
                </c:pt>
                <c:pt idx="996">
                  <c:v>8.666974181158821</c:v>
                </c:pt>
                <c:pt idx="997">
                  <c:v>8.666974181158821</c:v>
                </c:pt>
                <c:pt idx="998">
                  <c:v>8.666974181158821</c:v>
                </c:pt>
                <c:pt idx="999">
                  <c:v>8.666974181158821</c:v>
                </c:pt>
                <c:pt idx="1000">
                  <c:v>8.666974181158821</c:v>
                </c:pt>
                <c:pt idx="1001">
                  <c:v>8.666974181158821</c:v>
                </c:pt>
                <c:pt idx="1002">
                  <c:v>8.666974181158821</c:v>
                </c:pt>
                <c:pt idx="1003">
                  <c:v>8.666974181158821</c:v>
                </c:pt>
                <c:pt idx="1004">
                  <c:v>8.666974181158821</c:v>
                </c:pt>
                <c:pt idx="1005">
                  <c:v>8.7513040713125125</c:v>
                </c:pt>
                <c:pt idx="1006">
                  <c:v>8.7513040713125125</c:v>
                </c:pt>
                <c:pt idx="1007">
                  <c:v>8.7796644575334639</c:v>
                </c:pt>
                <c:pt idx="1008">
                  <c:v>8.7796644575334639</c:v>
                </c:pt>
                <c:pt idx="1009">
                  <c:v>8.7796644575334639</c:v>
                </c:pt>
                <c:pt idx="1010">
                  <c:v>8.7796644575334639</c:v>
                </c:pt>
                <c:pt idx="1011">
                  <c:v>8.7796644575334639</c:v>
                </c:pt>
                <c:pt idx="1012">
                  <c:v>8.7796644575334639</c:v>
                </c:pt>
                <c:pt idx="1013">
                  <c:v>8.7796644575334639</c:v>
                </c:pt>
                <c:pt idx="1014">
                  <c:v>8.7796644575334639</c:v>
                </c:pt>
                <c:pt idx="1015">
                  <c:v>8.7796644575334639</c:v>
                </c:pt>
                <c:pt idx="1016">
                  <c:v>8.7796644575334639</c:v>
                </c:pt>
                <c:pt idx="1017">
                  <c:v>8.7796644575334639</c:v>
                </c:pt>
                <c:pt idx="1018">
                  <c:v>8.7796644575334639</c:v>
                </c:pt>
                <c:pt idx="1019">
                  <c:v>8.7796644575334639</c:v>
                </c:pt>
                <c:pt idx="1020">
                  <c:v>8.7796644575334639</c:v>
                </c:pt>
                <c:pt idx="1021">
                  <c:v>8.8095170881129086</c:v>
                </c:pt>
                <c:pt idx="1022">
                  <c:v>8.8095170881129086</c:v>
                </c:pt>
                <c:pt idx="1023">
                  <c:v>8.8095170881129086</c:v>
                </c:pt>
                <c:pt idx="1024">
                  <c:v>8.8095170881129086</c:v>
                </c:pt>
                <c:pt idx="1025">
                  <c:v>8.8095170881129086</c:v>
                </c:pt>
                <c:pt idx="1026">
                  <c:v>8.8095170881129086</c:v>
                </c:pt>
                <c:pt idx="1027">
                  <c:v>8.8400978316333152</c:v>
                </c:pt>
                <c:pt idx="1028">
                  <c:v>8.8400978316333152</c:v>
                </c:pt>
                <c:pt idx="1029">
                  <c:v>8.8400978316333152</c:v>
                </c:pt>
                <c:pt idx="1030">
                  <c:v>8.8400978316333152</c:v>
                </c:pt>
                <c:pt idx="1031">
                  <c:v>8.8400978316333152</c:v>
                </c:pt>
                <c:pt idx="1032">
                  <c:v>8.8400978316333152</c:v>
                </c:pt>
                <c:pt idx="1033">
                  <c:v>8.8400978316333152</c:v>
                </c:pt>
                <c:pt idx="1034">
                  <c:v>8.8400978316333152</c:v>
                </c:pt>
                <c:pt idx="1035">
                  <c:v>8.8400978316333152</c:v>
                </c:pt>
                <c:pt idx="1036">
                  <c:v>8.8400978316333152</c:v>
                </c:pt>
                <c:pt idx="1037">
                  <c:v>8.8400978316333152</c:v>
                </c:pt>
                <c:pt idx="1038">
                  <c:v>8.8400978316333152</c:v>
                </c:pt>
                <c:pt idx="1039">
                  <c:v>8.8400978316333152</c:v>
                </c:pt>
                <c:pt idx="1040">
                  <c:v>8.8723055636797792</c:v>
                </c:pt>
                <c:pt idx="1041">
                  <c:v>8.8723055636797792</c:v>
                </c:pt>
                <c:pt idx="1042">
                  <c:v>8.8723055636797792</c:v>
                </c:pt>
                <c:pt idx="1043">
                  <c:v>8.8723055636797792</c:v>
                </c:pt>
                <c:pt idx="1044">
                  <c:v>8.8723055636797792</c:v>
                </c:pt>
                <c:pt idx="1045">
                  <c:v>8.8723055636797792</c:v>
                </c:pt>
                <c:pt idx="1046">
                  <c:v>8.8723055636797792</c:v>
                </c:pt>
                <c:pt idx="1047">
                  <c:v>8.8723055636797792</c:v>
                </c:pt>
                <c:pt idx="1048">
                  <c:v>8.9384209587893917</c:v>
                </c:pt>
                <c:pt idx="1049">
                  <c:v>8.9716268971404087</c:v>
                </c:pt>
                <c:pt idx="1050">
                  <c:v>8.9716268971404087</c:v>
                </c:pt>
                <c:pt idx="1051">
                  <c:v>8.9716268971404087</c:v>
                </c:pt>
                <c:pt idx="1052">
                  <c:v>8.9716268971404087</c:v>
                </c:pt>
                <c:pt idx="1053">
                  <c:v>8.9716268971404087</c:v>
                </c:pt>
                <c:pt idx="1054">
                  <c:v>8.9716268971404087</c:v>
                </c:pt>
                <c:pt idx="1055">
                  <c:v>8.9716268971404087</c:v>
                </c:pt>
                <c:pt idx="1056">
                  <c:v>8.9716268971404087</c:v>
                </c:pt>
                <c:pt idx="1057">
                  <c:v>8.9716268971404087</c:v>
                </c:pt>
                <c:pt idx="1058">
                  <c:v>8.9716268971404087</c:v>
                </c:pt>
                <c:pt idx="1059">
                  <c:v>8.9716268971404087</c:v>
                </c:pt>
                <c:pt idx="1060">
                  <c:v>8.9716268971404087</c:v>
                </c:pt>
                <c:pt idx="1061">
                  <c:v>8.9716268971404087</c:v>
                </c:pt>
                <c:pt idx="1062">
                  <c:v>8.9716268971404087</c:v>
                </c:pt>
                <c:pt idx="1063">
                  <c:v>8.9716268971404087</c:v>
                </c:pt>
                <c:pt idx="1064">
                  <c:v>8.9716268971404087</c:v>
                </c:pt>
                <c:pt idx="1065">
                  <c:v>8.9716268971404087</c:v>
                </c:pt>
                <c:pt idx="1066">
                  <c:v>8.9716268971404087</c:v>
                </c:pt>
                <c:pt idx="1067">
                  <c:v>8.9716268971404087</c:v>
                </c:pt>
                <c:pt idx="1068">
                  <c:v>8.9716268971404087</c:v>
                </c:pt>
                <c:pt idx="1069">
                  <c:v>8.9716268971404087</c:v>
                </c:pt>
                <c:pt idx="1070">
                  <c:v>8.9716268971404087</c:v>
                </c:pt>
                <c:pt idx="1071">
                  <c:v>8.9716268971404087</c:v>
                </c:pt>
                <c:pt idx="1072">
                  <c:v>8.9716268971404087</c:v>
                </c:pt>
                <c:pt idx="1073">
                  <c:v>8.9716268971404087</c:v>
                </c:pt>
                <c:pt idx="1074">
                  <c:v>8.9716268971404087</c:v>
                </c:pt>
                <c:pt idx="1075">
                  <c:v>8.9716268971404087</c:v>
                </c:pt>
                <c:pt idx="1076">
                  <c:v>8.9716268971404087</c:v>
                </c:pt>
                <c:pt idx="1077">
                  <c:v>8.9716268971404087</c:v>
                </c:pt>
                <c:pt idx="1078">
                  <c:v>8.9716268971404087</c:v>
                </c:pt>
                <c:pt idx="1079">
                  <c:v>9.011335612846878</c:v>
                </c:pt>
                <c:pt idx="1080">
                  <c:v>9.011335612846878</c:v>
                </c:pt>
                <c:pt idx="1081">
                  <c:v>9.0512946311287159</c:v>
                </c:pt>
                <c:pt idx="1082">
                  <c:v>9.0512946311287159</c:v>
                </c:pt>
                <c:pt idx="1083">
                  <c:v>9.0512946311287159</c:v>
                </c:pt>
                <c:pt idx="1084">
                  <c:v>9.0512946311287159</c:v>
                </c:pt>
                <c:pt idx="1085">
                  <c:v>9.0512946311287159</c:v>
                </c:pt>
                <c:pt idx="1086">
                  <c:v>9.0512946311287159</c:v>
                </c:pt>
                <c:pt idx="1087">
                  <c:v>9.0512946311287159</c:v>
                </c:pt>
                <c:pt idx="1088">
                  <c:v>9.0512946311287159</c:v>
                </c:pt>
                <c:pt idx="1089">
                  <c:v>9.0512946311287159</c:v>
                </c:pt>
                <c:pt idx="1090">
                  <c:v>9.0927089363635467</c:v>
                </c:pt>
                <c:pt idx="1091">
                  <c:v>9.0927089363635467</c:v>
                </c:pt>
                <c:pt idx="1092">
                  <c:v>9.0927089363635467</c:v>
                </c:pt>
                <c:pt idx="1093">
                  <c:v>9.1346127723931172</c:v>
                </c:pt>
                <c:pt idx="1094">
                  <c:v>9.1346127723931172</c:v>
                </c:pt>
                <c:pt idx="1095">
                  <c:v>9.1346127723931172</c:v>
                </c:pt>
                <c:pt idx="1096">
                  <c:v>9.1346127723931172</c:v>
                </c:pt>
                <c:pt idx="1097">
                  <c:v>9.1346127723931172</c:v>
                </c:pt>
                <c:pt idx="1098">
                  <c:v>9.1346127723931172</c:v>
                </c:pt>
                <c:pt idx="1099">
                  <c:v>9.1780801645935934</c:v>
                </c:pt>
                <c:pt idx="1100">
                  <c:v>9.2216546193364355</c:v>
                </c:pt>
                <c:pt idx="1101">
                  <c:v>9.2216546193364355</c:v>
                </c:pt>
                <c:pt idx="1102">
                  <c:v>9.2216546193364355</c:v>
                </c:pt>
                <c:pt idx="1103">
                  <c:v>9.2216546193364355</c:v>
                </c:pt>
                <c:pt idx="1104">
                  <c:v>9.2216546193364355</c:v>
                </c:pt>
                <c:pt idx="1105">
                  <c:v>9.2216546193364355</c:v>
                </c:pt>
                <c:pt idx="1106">
                  <c:v>9.312520568640883</c:v>
                </c:pt>
                <c:pt idx="1107">
                  <c:v>9.312520568640883</c:v>
                </c:pt>
                <c:pt idx="1108">
                  <c:v>9.312520568640883</c:v>
                </c:pt>
                <c:pt idx="1109">
                  <c:v>9.3587622978157121</c:v>
                </c:pt>
                <c:pt idx="1110">
                  <c:v>9.4055431462496006</c:v>
                </c:pt>
                <c:pt idx="1111">
                  <c:v>9.4055431462496006</c:v>
                </c:pt>
                <c:pt idx="1112">
                  <c:v>9.4055431462496006</c:v>
                </c:pt>
                <c:pt idx="1113">
                  <c:v>9.4055431462496006</c:v>
                </c:pt>
                <c:pt idx="1114">
                  <c:v>9.4055431462496006</c:v>
                </c:pt>
                <c:pt idx="1115">
                  <c:v>9.4055431462496006</c:v>
                </c:pt>
                <c:pt idx="1116">
                  <c:v>9.4055431462496006</c:v>
                </c:pt>
                <c:pt idx="1117">
                  <c:v>9.4055431462496006</c:v>
                </c:pt>
                <c:pt idx="1118">
                  <c:v>9.4055431462496006</c:v>
                </c:pt>
                <c:pt idx="1119">
                  <c:v>9.4055431462496006</c:v>
                </c:pt>
                <c:pt idx="1120">
                  <c:v>9.4055431462496006</c:v>
                </c:pt>
                <c:pt idx="1121">
                  <c:v>9.4055431462496006</c:v>
                </c:pt>
                <c:pt idx="1122">
                  <c:v>9.5573253545474</c:v>
                </c:pt>
                <c:pt idx="1123">
                  <c:v>9.5573253545474</c:v>
                </c:pt>
                <c:pt idx="1124">
                  <c:v>9.5573253545474</c:v>
                </c:pt>
                <c:pt idx="1125">
                  <c:v>9.5573253545474</c:v>
                </c:pt>
                <c:pt idx="1126">
                  <c:v>9.5573253545474</c:v>
                </c:pt>
                <c:pt idx="1127">
                  <c:v>9.5573253545474</c:v>
                </c:pt>
                <c:pt idx="1128">
                  <c:v>9.5573253545474</c:v>
                </c:pt>
                <c:pt idx="1129">
                  <c:v>9.5573253545474</c:v>
                </c:pt>
                <c:pt idx="1130">
                  <c:v>9.5573253545474</c:v>
                </c:pt>
                <c:pt idx="1131">
                  <c:v>9.5573253545474</c:v>
                </c:pt>
                <c:pt idx="1132">
                  <c:v>9.5573253545474</c:v>
                </c:pt>
                <c:pt idx="1133">
                  <c:v>9.5573253545474</c:v>
                </c:pt>
                <c:pt idx="1134">
                  <c:v>9.5573253545474</c:v>
                </c:pt>
                <c:pt idx="1135">
                  <c:v>9.5573253545474</c:v>
                </c:pt>
                <c:pt idx="1136">
                  <c:v>9.5573253545474</c:v>
                </c:pt>
                <c:pt idx="1137">
                  <c:v>9.6134735428770224</c:v>
                </c:pt>
                <c:pt idx="1138">
                  <c:v>9.6134735428770224</c:v>
                </c:pt>
                <c:pt idx="1139">
                  <c:v>9.6134735428770224</c:v>
                </c:pt>
                <c:pt idx="1140">
                  <c:v>9.6134735428770224</c:v>
                </c:pt>
                <c:pt idx="1141">
                  <c:v>9.6134735428770224</c:v>
                </c:pt>
                <c:pt idx="1142">
                  <c:v>9.6134735428770224</c:v>
                </c:pt>
                <c:pt idx="1143">
                  <c:v>9.6134735428770224</c:v>
                </c:pt>
                <c:pt idx="1144">
                  <c:v>9.6134735428770224</c:v>
                </c:pt>
                <c:pt idx="1145">
                  <c:v>9.6134735428770224</c:v>
                </c:pt>
                <c:pt idx="1146">
                  <c:v>9.6134735428770224</c:v>
                </c:pt>
                <c:pt idx="1147">
                  <c:v>9.6734543720482584</c:v>
                </c:pt>
                <c:pt idx="1148">
                  <c:v>9.6734543720482584</c:v>
                </c:pt>
                <c:pt idx="1149">
                  <c:v>9.6734543720482584</c:v>
                </c:pt>
                <c:pt idx="1150">
                  <c:v>9.6734543720482584</c:v>
                </c:pt>
                <c:pt idx="1151">
                  <c:v>9.6734543720482584</c:v>
                </c:pt>
                <c:pt idx="1152">
                  <c:v>9.6734543720482584</c:v>
                </c:pt>
                <c:pt idx="1153">
                  <c:v>9.6734543720482584</c:v>
                </c:pt>
                <c:pt idx="1154">
                  <c:v>9.6734543720482584</c:v>
                </c:pt>
                <c:pt idx="1155">
                  <c:v>9.6734543720482584</c:v>
                </c:pt>
                <c:pt idx="1156">
                  <c:v>9.6734543720482584</c:v>
                </c:pt>
                <c:pt idx="1157">
                  <c:v>9.6734543720482584</c:v>
                </c:pt>
                <c:pt idx="1158">
                  <c:v>9.6734543720482584</c:v>
                </c:pt>
                <c:pt idx="1159">
                  <c:v>9.6734543720482584</c:v>
                </c:pt>
                <c:pt idx="1160">
                  <c:v>9.6734543720482584</c:v>
                </c:pt>
                <c:pt idx="1161">
                  <c:v>9.6734543720482584</c:v>
                </c:pt>
                <c:pt idx="1162">
                  <c:v>9.6734543720482584</c:v>
                </c:pt>
                <c:pt idx="1163">
                  <c:v>9.6734543720482584</c:v>
                </c:pt>
                <c:pt idx="1164">
                  <c:v>9.6734543720482584</c:v>
                </c:pt>
                <c:pt idx="1165">
                  <c:v>9.6734543720482584</c:v>
                </c:pt>
                <c:pt idx="1166">
                  <c:v>9.6734543720482584</c:v>
                </c:pt>
                <c:pt idx="1167">
                  <c:v>9.6734543720482584</c:v>
                </c:pt>
                <c:pt idx="1168">
                  <c:v>9.6734543720482584</c:v>
                </c:pt>
                <c:pt idx="1169">
                  <c:v>9.6734543720482584</c:v>
                </c:pt>
                <c:pt idx="1170">
                  <c:v>9.6734543720482584</c:v>
                </c:pt>
                <c:pt idx="1171">
                  <c:v>9.6734543720482584</c:v>
                </c:pt>
                <c:pt idx="1172">
                  <c:v>9.6734543720482584</c:v>
                </c:pt>
                <c:pt idx="1173">
                  <c:v>9.6734543720482584</c:v>
                </c:pt>
                <c:pt idx="1174">
                  <c:v>9.6734543720482584</c:v>
                </c:pt>
                <c:pt idx="1175">
                  <c:v>9.6734543720482584</c:v>
                </c:pt>
                <c:pt idx="1176">
                  <c:v>9.6734543720482584</c:v>
                </c:pt>
                <c:pt idx="1177">
                  <c:v>9.6734543720482584</c:v>
                </c:pt>
                <c:pt idx="1178">
                  <c:v>9.6734543720482584</c:v>
                </c:pt>
                <c:pt idx="1179">
                  <c:v>9.6734543720482584</c:v>
                </c:pt>
                <c:pt idx="1180">
                  <c:v>9.6734543720482584</c:v>
                </c:pt>
                <c:pt idx="1181">
                  <c:v>9.6734543720482584</c:v>
                </c:pt>
                <c:pt idx="1182">
                  <c:v>9.6734543720482584</c:v>
                </c:pt>
                <c:pt idx="1183">
                  <c:v>9.6734543720482584</c:v>
                </c:pt>
                <c:pt idx="1184">
                  <c:v>9.6734543720482584</c:v>
                </c:pt>
                <c:pt idx="1185">
                  <c:v>9.6734543720482584</c:v>
                </c:pt>
                <c:pt idx="1186">
                  <c:v>9.6734543720482584</c:v>
                </c:pt>
                <c:pt idx="1187">
                  <c:v>9.6734543720482584</c:v>
                </c:pt>
                <c:pt idx="1188">
                  <c:v>9.6734543720482584</c:v>
                </c:pt>
                <c:pt idx="1189">
                  <c:v>9.6734543720482584</c:v>
                </c:pt>
                <c:pt idx="1190">
                  <c:v>9.6734543720482584</c:v>
                </c:pt>
                <c:pt idx="1191">
                  <c:v>9.6734543720482584</c:v>
                </c:pt>
                <c:pt idx="1192">
                  <c:v>9.6734543720482584</c:v>
                </c:pt>
                <c:pt idx="1193">
                  <c:v>9.6734543720482584</c:v>
                </c:pt>
                <c:pt idx="1194">
                  <c:v>9.6734543720482584</c:v>
                </c:pt>
                <c:pt idx="1195">
                  <c:v>9.6734543720482584</c:v>
                </c:pt>
                <c:pt idx="1196">
                  <c:v>9.6734543720482584</c:v>
                </c:pt>
                <c:pt idx="1197">
                  <c:v>9.6734543720482584</c:v>
                </c:pt>
                <c:pt idx="1198">
                  <c:v>9.6734543720482584</c:v>
                </c:pt>
                <c:pt idx="1199">
                  <c:v>9.6734543720482584</c:v>
                </c:pt>
                <c:pt idx="1200">
                  <c:v>9.6734543720482584</c:v>
                </c:pt>
                <c:pt idx="1201">
                  <c:v>9.7942359815895976</c:v>
                </c:pt>
                <c:pt idx="1202">
                  <c:v>9.7942359815895976</c:v>
                </c:pt>
                <c:pt idx="1203">
                  <c:v>9.7942359815895976</c:v>
                </c:pt>
                <c:pt idx="1204">
                  <c:v>9.7942359815895976</c:v>
                </c:pt>
                <c:pt idx="1205">
                  <c:v>9.7942359815895976</c:v>
                </c:pt>
                <c:pt idx="1206">
                  <c:v>9.7942359815895976</c:v>
                </c:pt>
                <c:pt idx="1207">
                  <c:v>9.7942359815895976</c:v>
                </c:pt>
                <c:pt idx="1208">
                  <c:v>9.7942359815895976</c:v>
                </c:pt>
                <c:pt idx="1209">
                  <c:v>9.7942359815895976</c:v>
                </c:pt>
                <c:pt idx="1210">
                  <c:v>9.7942359815895976</c:v>
                </c:pt>
                <c:pt idx="1211">
                  <c:v>9.7942359815895976</c:v>
                </c:pt>
                <c:pt idx="1212">
                  <c:v>9.7942359815895976</c:v>
                </c:pt>
                <c:pt idx="1213">
                  <c:v>9.7942359815895976</c:v>
                </c:pt>
                <c:pt idx="1214">
                  <c:v>9.7942359815895976</c:v>
                </c:pt>
                <c:pt idx="1215">
                  <c:v>9.7942359815895976</c:v>
                </c:pt>
                <c:pt idx="1216">
                  <c:v>9.7942359815895976</c:v>
                </c:pt>
                <c:pt idx="1217">
                  <c:v>9.7942359815895976</c:v>
                </c:pt>
                <c:pt idx="1218">
                  <c:v>9.7942359815895976</c:v>
                </c:pt>
                <c:pt idx="1219">
                  <c:v>9.7942359815895976</c:v>
                </c:pt>
                <c:pt idx="1220">
                  <c:v>9.7942359815895976</c:v>
                </c:pt>
                <c:pt idx="1221">
                  <c:v>9.7942359815895976</c:v>
                </c:pt>
                <c:pt idx="1222">
                  <c:v>9.7942359815895976</c:v>
                </c:pt>
                <c:pt idx="1223">
                  <c:v>9.7942359815895976</c:v>
                </c:pt>
                <c:pt idx="1224">
                  <c:v>9.7942359815895976</c:v>
                </c:pt>
                <c:pt idx="1225">
                  <c:v>9.7942359815895976</c:v>
                </c:pt>
                <c:pt idx="1226">
                  <c:v>9.7942359815895976</c:v>
                </c:pt>
                <c:pt idx="1227">
                  <c:v>9.7942359815895976</c:v>
                </c:pt>
                <c:pt idx="1228">
                  <c:v>9.7942359815895976</c:v>
                </c:pt>
                <c:pt idx="1229">
                  <c:v>9.7942359815895976</c:v>
                </c:pt>
                <c:pt idx="1230">
                  <c:v>9.7942359815895976</c:v>
                </c:pt>
                <c:pt idx="1231">
                  <c:v>9.7942359815895976</c:v>
                </c:pt>
                <c:pt idx="1232">
                  <c:v>9.7942359815895976</c:v>
                </c:pt>
                <c:pt idx="1233">
                  <c:v>9.7942359815895976</c:v>
                </c:pt>
                <c:pt idx="1234">
                  <c:v>9.7942359815895976</c:v>
                </c:pt>
                <c:pt idx="1235">
                  <c:v>9.7942359815895976</c:v>
                </c:pt>
                <c:pt idx="1236">
                  <c:v>9.7942359815895976</c:v>
                </c:pt>
                <c:pt idx="1237">
                  <c:v>9.7942359815895976</c:v>
                </c:pt>
                <c:pt idx="1238">
                  <c:v>9.7942359815895976</c:v>
                </c:pt>
                <c:pt idx="1239">
                  <c:v>9.7942359815895976</c:v>
                </c:pt>
                <c:pt idx="1240">
                  <c:v>9.7942359815895976</c:v>
                </c:pt>
                <c:pt idx="1241">
                  <c:v>10.030902648934116</c:v>
                </c:pt>
                <c:pt idx="1242">
                  <c:v>10.030902648934116</c:v>
                </c:pt>
                <c:pt idx="1243">
                  <c:v>10.030902648934116</c:v>
                </c:pt>
                <c:pt idx="1244">
                  <c:v>10.030902648934116</c:v>
                </c:pt>
                <c:pt idx="1245">
                  <c:v>10.030902648934116</c:v>
                </c:pt>
                <c:pt idx="1246">
                  <c:v>10.030902648934116</c:v>
                </c:pt>
                <c:pt idx="1247">
                  <c:v>10.030902648934116</c:v>
                </c:pt>
                <c:pt idx="1248">
                  <c:v>10.302958724479684</c:v>
                </c:pt>
                <c:pt idx="1249">
                  <c:v>10.302958724479684</c:v>
                </c:pt>
                <c:pt idx="1250">
                  <c:v>10.302958724479684</c:v>
                </c:pt>
                <c:pt idx="1251">
                  <c:v>10.302958724479684</c:v>
                </c:pt>
                <c:pt idx="1252">
                  <c:v>10.302958724479684</c:v>
                </c:pt>
                <c:pt idx="1253">
                  <c:v>10.302958724479684</c:v>
                </c:pt>
                <c:pt idx="1254">
                  <c:v>10.302958724479684</c:v>
                </c:pt>
                <c:pt idx="1255">
                  <c:v>10.302958724479684</c:v>
                </c:pt>
                <c:pt idx="1256">
                  <c:v>10.302958724479684</c:v>
                </c:pt>
                <c:pt idx="1257">
                  <c:v>10.302958724479684</c:v>
                </c:pt>
                <c:pt idx="1258">
                  <c:v>10.302958724479684</c:v>
                </c:pt>
                <c:pt idx="1259">
                  <c:v>10.302958724479684</c:v>
                </c:pt>
                <c:pt idx="1260">
                  <c:v>10.302958724479684</c:v>
                </c:pt>
                <c:pt idx="1261">
                  <c:v>10.302958724479684</c:v>
                </c:pt>
                <c:pt idx="1262">
                  <c:v>10.302958724479684</c:v>
                </c:pt>
                <c:pt idx="1263">
                  <c:v>10.302958724479684</c:v>
                </c:pt>
                <c:pt idx="1264">
                  <c:v>10.302958724479684</c:v>
                </c:pt>
                <c:pt idx="1265">
                  <c:v>10.302958724479684</c:v>
                </c:pt>
                <c:pt idx="1266">
                  <c:v>10.302958724479684</c:v>
                </c:pt>
                <c:pt idx="1267">
                  <c:v>10.302958724479684</c:v>
                </c:pt>
                <c:pt idx="1268">
                  <c:v>10.302958724479684</c:v>
                </c:pt>
                <c:pt idx="1269">
                  <c:v>10.302958724479684</c:v>
                </c:pt>
                <c:pt idx="1270">
                  <c:v>10.302958724479684</c:v>
                </c:pt>
                <c:pt idx="1271">
                  <c:v>10.302958724479684</c:v>
                </c:pt>
                <c:pt idx="1272">
                  <c:v>10.302958724479684</c:v>
                </c:pt>
                <c:pt idx="1273">
                  <c:v>10.302958724479684</c:v>
                </c:pt>
                <c:pt idx="1274">
                  <c:v>10.302958724479684</c:v>
                </c:pt>
                <c:pt idx="1275">
                  <c:v>10.302958724479684</c:v>
                </c:pt>
                <c:pt idx="1276">
                  <c:v>10.302958724479684</c:v>
                </c:pt>
                <c:pt idx="1277">
                  <c:v>10.302958724479684</c:v>
                </c:pt>
                <c:pt idx="1278">
                  <c:v>10.302958724479684</c:v>
                </c:pt>
                <c:pt idx="1279">
                  <c:v>10.302958724479684</c:v>
                </c:pt>
                <c:pt idx="1280">
                  <c:v>10.302958724479684</c:v>
                </c:pt>
                <c:pt idx="1281">
                  <c:v>10.302958724479684</c:v>
                </c:pt>
                <c:pt idx="1282">
                  <c:v>10.302958724479684</c:v>
                </c:pt>
                <c:pt idx="1283">
                  <c:v>10.302958724479684</c:v>
                </c:pt>
                <c:pt idx="1284">
                  <c:v>10.302958724479684</c:v>
                </c:pt>
                <c:pt idx="1285">
                  <c:v>10.302958724479684</c:v>
                </c:pt>
                <c:pt idx="1286">
                  <c:v>10.302958724479684</c:v>
                </c:pt>
                <c:pt idx="1287">
                  <c:v>10.302958724479684</c:v>
                </c:pt>
                <c:pt idx="1288">
                  <c:v>10.302958724479684</c:v>
                </c:pt>
                <c:pt idx="1289">
                  <c:v>10.302958724479684</c:v>
                </c:pt>
                <c:pt idx="1290">
                  <c:v>10.302958724479684</c:v>
                </c:pt>
                <c:pt idx="1291">
                  <c:v>10.302958724479684</c:v>
                </c:pt>
                <c:pt idx="1292">
                  <c:v>10.302958724479684</c:v>
                </c:pt>
                <c:pt idx="1293">
                  <c:v>10.302958724479684</c:v>
                </c:pt>
                <c:pt idx="1294">
                  <c:v>10.302958724479684</c:v>
                </c:pt>
                <c:pt idx="1295">
                  <c:v>10.302958724479684</c:v>
                </c:pt>
                <c:pt idx="1296">
                  <c:v>10.302958724479684</c:v>
                </c:pt>
                <c:pt idx="1297">
                  <c:v>10.302958724479684</c:v>
                </c:pt>
                <c:pt idx="1298">
                  <c:v>10.302958724479684</c:v>
                </c:pt>
                <c:pt idx="1299">
                  <c:v>10.302958724479684</c:v>
                </c:pt>
                <c:pt idx="1300">
                  <c:v>10.302958724479684</c:v>
                </c:pt>
                <c:pt idx="1301">
                  <c:v>10.302958724479684</c:v>
                </c:pt>
                <c:pt idx="1302">
                  <c:v>10.302958724479684</c:v>
                </c:pt>
                <c:pt idx="1303">
                  <c:v>10.302958724479684</c:v>
                </c:pt>
                <c:pt idx="1304">
                  <c:v>10.302958724479684</c:v>
                </c:pt>
                <c:pt idx="1305">
                  <c:v>10.302958724479684</c:v>
                </c:pt>
                <c:pt idx="1306">
                  <c:v>10.302958724479684</c:v>
                </c:pt>
                <c:pt idx="1307">
                  <c:v>10.302958724479684</c:v>
                </c:pt>
                <c:pt idx="1308">
                  <c:v>10.302958724479684</c:v>
                </c:pt>
                <c:pt idx="1309">
                  <c:v>10.302958724479684</c:v>
                </c:pt>
                <c:pt idx="1310">
                  <c:v>10.302958724479684</c:v>
                </c:pt>
                <c:pt idx="1311">
                  <c:v>10.302958724479684</c:v>
                </c:pt>
                <c:pt idx="1312">
                  <c:v>10.302958724479684</c:v>
                </c:pt>
                <c:pt idx="1313">
                  <c:v>10.302958724479684</c:v>
                </c:pt>
                <c:pt idx="1314">
                  <c:v>10.302958724479684</c:v>
                </c:pt>
                <c:pt idx="1315">
                  <c:v>10.302958724479684</c:v>
                </c:pt>
                <c:pt idx="1316">
                  <c:v>10.302958724479684</c:v>
                </c:pt>
                <c:pt idx="1317">
                  <c:v>10.302958724479684</c:v>
                </c:pt>
                <c:pt idx="1318">
                  <c:v>10.302958724479684</c:v>
                </c:pt>
                <c:pt idx="1319">
                  <c:v>10.302958724479684</c:v>
                </c:pt>
                <c:pt idx="1320">
                  <c:v>10.302958724479684</c:v>
                </c:pt>
                <c:pt idx="1321">
                  <c:v>10.302958724479684</c:v>
                </c:pt>
                <c:pt idx="1322">
                  <c:v>10.302958724479684</c:v>
                </c:pt>
                <c:pt idx="1323">
                  <c:v>10.302958724479684</c:v>
                </c:pt>
                <c:pt idx="1324">
                  <c:v>10.302958724479684</c:v>
                </c:pt>
                <c:pt idx="1325">
                  <c:v>10.302958724479684</c:v>
                </c:pt>
                <c:pt idx="1326">
                  <c:v>10.302958724479684</c:v>
                </c:pt>
                <c:pt idx="1327">
                  <c:v>10.302958724479684</c:v>
                </c:pt>
              </c:numCache>
            </c:numRef>
          </c:yVal>
          <c:smooth val="1"/>
          <c:extLst>
            <c:ext xmlns:c16="http://schemas.microsoft.com/office/drawing/2014/chart" uri="{C3380CC4-5D6E-409C-BE32-E72D297353CC}">
              <c16:uniqueId val="{00000000-1849-4079-B481-B0C8E627FD56}"/>
            </c:ext>
          </c:extLst>
        </c:ser>
        <c:ser>
          <c:idx val="0"/>
          <c:order val="1"/>
          <c:spPr>
            <a:ln w="28575" cap="rnd">
              <a:solidFill>
                <a:schemeClr val="accent1"/>
              </a:solidFill>
              <a:round/>
            </a:ln>
            <a:effectLst/>
          </c:spPr>
          <c:marker>
            <c:symbol val="none"/>
          </c:marker>
          <c:xVal>
            <c:numRef>
              <c:f>'slide 41 calc CIF'!$O$32:$O$1315</c:f>
              <c:numCache>
                <c:formatCode>0</c:formatCode>
                <c:ptCount val="1284"/>
                <c:pt idx="0">
                  <c:v>0</c:v>
                </c:pt>
                <c:pt idx="1">
                  <c:v>3.2854209445585217E-2</c:v>
                </c:pt>
                <c:pt idx="2">
                  <c:v>6.5708418891170434E-2</c:v>
                </c:pt>
                <c:pt idx="3">
                  <c:v>9.856262833675565E-2</c:v>
                </c:pt>
                <c:pt idx="4">
                  <c:v>0.26283367556468173</c:v>
                </c:pt>
                <c:pt idx="5">
                  <c:v>0.29568788501026694</c:v>
                </c:pt>
                <c:pt idx="6">
                  <c:v>0.32854209445585214</c:v>
                </c:pt>
                <c:pt idx="7">
                  <c:v>0.3942505133470226</c:v>
                </c:pt>
                <c:pt idx="8">
                  <c:v>0.7227926078028748</c:v>
                </c:pt>
                <c:pt idx="9">
                  <c:v>0.75564681724845995</c:v>
                </c:pt>
                <c:pt idx="10">
                  <c:v>0.7885010266940452</c:v>
                </c:pt>
                <c:pt idx="11">
                  <c:v>0.91991786447638602</c:v>
                </c:pt>
                <c:pt idx="12">
                  <c:v>0.95277207392197127</c:v>
                </c:pt>
                <c:pt idx="13">
                  <c:v>0.98562628336755642</c:v>
                </c:pt>
                <c:pt idx="14">
                  <c:v>1.0841889117043122</c:v>
                </c:pt>
                <c:pt idx="15">
                  <c:v>1.1827515400410678</c:v>
                </c:pt>
                <c:pt idx="16">
                  <c:v>1.215605749486653</c:v>
                </c:pt>
                <c:pt idx="17">
                  <c:v>1.2484599589322383</c:v>
                </c:pt>
                <c:pt idx="18">
                  <c:v>1.2813141683778233</c:v>
                </c:pt>
                <c:pt idx="19">
                  <c:v>1.3141683778234086</c:v>
                </c:pt>
                <c:pt idx="20">
                  <c:v>1.3470225872689938</c:v>
                </c:pt>
                <c:pt idx="21">
                  <c:v>1.3798767967145791</c:v>
                </c:pt>
                <c:pt idx="22">
                  <c:v>1.4784394250513346</c:v>
                </c:pt>
                <c:pt idx="23">
                  <c:v>1.5770020533880904</c:v>
                </c:pt>
                <c:pt idx="24">
                  <c:v>1.6427104722792607</c:v>
                </c:pt>
                <c:pt idx="25">
                  <c:v>1.675564681724846</c:v>
                </c:pt>
                <c:pt idx="26">
                  <c:v>1.7412731006160165</c:v>
                </c:pt>
                <c:pt idx="27">
                  <c:v>1.7741273100616017</c:v>
                </c:pt>
                <c:pt idx="28">
                  <c:v>1.8726899383983573</c:v>
                </c:pt>
                <c:pt idx="29">
                  <c:v>1.9055441478439425</c:v>
                </c:pt>
                <c:pt idx="30">
                  <c:v>2.0698151950718686</c:v>
                </c:pt>
                <c:pt idx="31">
                  <c:v>2.1026694045174539</c:v>
                </c:pt>
                <c:pt idx="32">
                  <c:v>2.1355236139630391</c:v>
                </c:pt>
                <c:pt idx="33">
                  <c:v>2.1683778234086244</c:v>
                </c:pt>
                <c:pt idx="34">
                  <c:v>2.2669404517453797</c:v>
                </c:pt>
                <c:pt idx="35">
                  <c:v>2.299794661190965</c:v>
                </c:pt>
                <c:pt idx="36">
                  <c:v>2.4640657084188913</c:v>
                </c:pt>
                <c:pt idx="37">
                  <c:v>2.4969199178644765</c:v>
                </c:pt>
                <c:pt idx="38">
                  <c:v>2.5297741273100618</c:v>
                </c:pt>
                <c:pt idx="39">
                  <c:v>2.6283367556468171</c:v>
                </c:pt>
                <c:pt idx="40">
                  <c:v>2.6611909650924024</c:v>
                </c:pt>
                <c:pt idx="41">
                  <c:v>2.6940451745379876</c:v>
                </c:pt>
                <c:pt idx="42">
                  <c:v>2.7597535934291582</c:v>
                </c:pt>
                <c:pt idx="43">
                  <c:v>2.7926078028747434</c:v>
                </c:pt>
                <c:pt idx="44">
                  <c:v>2.8254620123203287</c:v>
                </c:pt>
                <c:pt idx="45">
                  <c:v>2.8911704312114992</c:v>
                </c:pt>
                <c:pt idx="46">
                  <c:v>3.055441478439425</c:v>
                </c:pt>
                <c:pt idx="47">
                  <c:v>3.1868583162217661</c:v>
                </c:pt>
                <c:pt idx="48">
                  <c:v>3.2525667351129361</c:v>
                </c:pt>
                <c:pt idx="49">
                  <c:v>3.3182751540041067</c:v>
                </c:pt>
                <c:pt idx="50">
                  <c:v>3.3511293634496919</c:v>
                </c:pt>
                <c:pt idx="51">
                  <c:v>3.482546201232033</c:v>
                </c:pt>
                <c:pt idx="52">
                  <c:v>3.5154004106776182</c:v>
                </c:pt>
                <c:pt idx="53">
                  <c:v>3.6139630390143735</c:v>
                </c:pt>
                <c:pt idx="54">
                  <c:v>3.8110882956878851</c:v>
                </c:pt>
                <c:pt idx="55">
                  <c:v>3.9753593429158109</c:v>
                </c:pt>
                <c:pt idx="56">
                  <c:v>4.0082135523613962</c:v>
                </c:pt>
                <c:pt idx="57">
                  <c:v>4.0410677618069819</c:v>
                </c:pt>
                <c:pt idx="58">
                  <c:v>4.2710472279260783</c:v>
                </c:pt>
                <c:pt idx="59">
                  <c:v>4.4024640657084193</c:v>
                </c:pt>
                <c:pt idx="60">
                  <c:v>4.5010266940451746</c:v>
                </c:pt>
                <c:pt idx="61">
                  <c:v>4.59958932238193</c:v>
                </c:pt>
                <c:pt idx="62">
                  <c:v>4.6324435318275157</c:v>
                </c:pt>
                <c:pt idx="63">
                  <c:v>4.6981519507186862</c:v>
                </c:pt>
                <c:pt idx="64">
                  <c:v>4.731006160164271</c:v>
                </c:pt>
                <c:pt idx="65">
                  <c:v>4.9281314168377826</c:v>
                </c:pt>
                <c:pt idx="66">
                  <c:v>4.9938398357289531</c:v>
                </c:pt>
                <c:pt idx="67">
                  <c:v>5.0595482546201236</c:v>
                </c:pt>
                <c:pt idx="68">
                  <c:v>5.0924024640657084</c:v>
                </c:pt>
                <c:pt idx="69">
                  <c:v>5.1909650924024637</c:v>
                </c:pt>
                <c:pt idx="70">
                  <c:v>5.28952772073922</c:v>
                </c:pt>
                <c:pt idx="71">
                  <c:v>5.3223819301848048</c:v>
                </c:pt>
                <c:pt idx="72">
                  <c:v>5.5195071868583163</c:v>
                </c:pt>
                <c:pt idx="73">
                  <c:v>5.5523613963039011</c:v>
                </c:pt>
                <c:pt idx="74">
                  <c:v>5.6837782340862422</c:v>
                </c:pt>
                <c:pt idx="75">
                  <c:v>5.7166324435318279</c:v>
                </c:pt>
                <c:pt idx="76">
                  <c:v>5.7823408624229984</c:v>
                </c:pt>
                <c:pt idx="77">
                  <c:v>5.8151950718685832</c:v>
                </c:pt>
                <c:pt idx="78">
                  <c:v>6.0123203285420947</c:v>
                </c:pt>
                <c:pt idx="79">
                  <c:v>6.0451745379876796</c:v>
                </c:pt>
                <c:pt idx="80">
                  <c:v>6.0780287474332653</c:v>
                </c:pt>
                <c:pt idx="81">
                  <c:v>6.1108829568788501</c:v>
                </c:pt>
                <c:pt idx="82">
                  <c:v>6.1437371663244349</c:v>
                </c:pt>
                <c:pt idx="83">
                  <c:v>6.2094455852156054</c:v>
                </c:pt>
                <c:pt idx="84">
                  <c:v>6.2422997946611911</c:v>
                </c:pt>
                <c:pt idx="85">
                  <c:v>6.2751540041067759</c:v>
                </c:pt>
                <c:pt idx="86">
                  <c:v>6.3408624229979464</c:v>
                </c:pt>
                <c:pt idx="87">
                  <c:v>6.3737166324435321</c:v>
                </c:pt>
                <c:pt idx="88">
                  <c:v>6.4394250513347027</c:v>
                </c:pt>
                <c:pt idx="89">
                  <c:v>6.4722792607802875</c:v>
                </c:pt>
                <c:pt idx="90">
                  <c:v>6.5051334702258723</c:v>
                </c:pt>
                <c:pt idx="91">
                  <c:v>6.669404517453799</c:v>
                </c:pt>
                <c:pt idx="92">
                  <c:v>6.7022587268993838</c:v>
                </c:pt>
                <c:pt idx="93">
                  <c:v>6.7351129363449695</c:v>
                </c:pt>
                <c:pt idx="94">
                  <c:v>6.8008213552361401</c:v>
                </c:pt>
                <c:pt idx="95">
                  <c:v>6.9322381930184802</c:v>
                </c:pt>
                <c:pt idx="96">
                  <c:v>7.0636550308008212</c:v>
                </c:pt>
                <c:pt idx="97">
                  <c:v>7.0965092402464069</c:v>
                </c:pt>
                <c:pt idx="98">
                  <c:v>7.1293634496919918</c:v>
                </c:pt>
                <c:pt idx="99">
                  <c:v>7.2607802874743328</c:v>
                </c:pt>
                <c:pt idx="100">
                  <c:v>7.3264887063655033</c:v>
                </c:pt>
                <c:pt idx="101">
                  <c:v>7.3593429158110881</c:v>
                </c:pt>
                <c:pt idx="102">
                  <c:v>7.3921971252566738</c:v>
                </c:pt>
                <c:pt idx="103">
                  <c:v>7.4579055441478443</c:v>
                </c:pt>
                <c:pt idx="104">
                  <c:v>7.4907597535934292</c:v>
                </c:pt>
                <c:pt idx="105">
                  <c:v>7.523613963039014</c:v>
                </c:pt>
                <c:pt idx="106">
                  <c:v>7.5564681724845997</c:v>
                </c:pt>
                <c:pt idx="107">
                  <c:v>7.655030800821355</c:v>
                </c:pt>
                <c:pt idx="108">
                  <c:v>7.7207392197125255</c:v>
                </c:pt>
                <c:pt idx="109">
                  <c:v>7.7535934291581112</c:v>
                </c:pt>
                <c:pt idx="110">
                  <c:v>7.8193018480492817</c:v>
                </c:pt>
                <c:pt idx="111">
                  <c:v>7.8521560574948666</c:v>
                </c:pt>
                <c:pt idx="112">
                  <c:v>7.8850102669404514</c:v>
                </c:pt>
                <c:pt idx="113">
                  <c:v>7.9178644763860371</c:v>
                </c:pt>
                <c:pt idx="114">
                  <c:v>7.9507186858316219</c:v>
                </c:pt>
                <c:pt idx="115">
                  <c:v>8.0164271047227924</c:v>
                </c:pt>
                <c:pt idx="116">
                  <c:v>8.0492813141683772</c:v>
                </c:pt>
                <c:pt idx="117">
                  <c:v>8.3449691991786441</c:v>
                </c:pt>
                <c:pt idx="118">
                  <c:v>8.3778234086242307</c:v>
                </c:pt>
                <c:pt idx="119">
                  <c:v>8.4763860369609851</c:v>
                </c:pt>
                <c:pt idx="120">
                  <c:v>8.7063655030800824</c:v>
                </c:pt>
                <c:pt idx="121">
                  <c:v>8.772073921971252</c:v>
                </c:pt>
                <c:pt idx="122">
                  <c:v>8.8377823408624234</c:v>
                </c:pt>
                <c:pt idx="123">
                  <c:v>8.9363449691991779</c:v>
                </c:pt>
                <c:pt idx="124">
                  <c:v>8.9691991786447645</c:v>
                </c:pt>
                <c:pt idx="125">
                  <c:v>9.0020533880903493</c:v>
                </c:pt>
                <c:pt idx="126">
                  <c:v>9.0349075975359341</c:v>
                </c:pt>
                <c:pt idx="127">
                  <c:v>9.1006160164271055</c:v>
                </c:pt>
                <c:pt idx="128">
                  <c:v>9.1334702258726903</c:v>
                </c:pt>
                <c:pt idx="129">
                  <c:v>9.1663244353182751</c:v>
                </c:pt>
                <c:pt idx="130">
                  <c:v>9.2320328542094447</c:v>
                </c:pt>
                <c:pt idx="131">
                  <c:v>9.2977412731006162</c:v>
                </c:pt>
                <c:pt idx="132">
                  <c:v>9.330595482546201</c:v>
                </c:pt>
                <c:pt idx="133">
                  <c:v>9.462012320328542</c:v>
                </c:pt>
                <c:pt idx="134">
                  <c:v>9.5277207392197134</c:v>
                </c:pt>
                <c:pt idx="135">
                  <c:v>9.6591375770020527</c:v>
                </c:pt>
                <c:pt idx="136">
                  <c:v>9.7248459958932241</c:v>
                </c:pt>
                <c:pt idx="137">
                  <c:v>9.7577002053388089</c:v>
                </c:pt>
                <c:pt idx="138">
                  <c:v>9.8234086242299803</c:v>
                </c:pt>
                <c:pt idx="139">
                  <c:v>9.8562628336755651</c:v>
                </c:pt>
                <c:pt idx="140">
                  <c:v>9.9548254620123195</c:v>
                </c:pt>
                <c:pt idx="141">
                  <c:v>10.020533880903491</c:v>
                </c:pt>
                <c:pt idx="142">
                  <c:v>10.053388090349076</c:v>
                </c:pt>
                <c:pt idx="143">
                  <c:v>10.086242299794661</c:v>
                </c:pt>
                <c:pt idx="144">
                  <c:v>10.119096509240247</c:v>
                </c:pt>
                <c:pt idx="145">
                  <c:v>10.151950718685832</c:v>
                </c:pt>
                <c:pt idx="146">
                  <c:v>10.250513347022586</c:v>
                </c:pt>
                <c:pt idx="147">
                  <c:v>10.316221765913758</c:v>
                </c:pt>
                <c:pt idx="148">
                  <c:v>10.381930184804927</c:v>
                </c:pt>
                <c:pt idx="149">
                  <c:v>10.447638603696099</c:v>
                </c:pt>
                <c:pt idx="150">
                  <c:v>10.480492813141684</c:v>
                </c:pt>
                <c:pt idx="151">
                  <c:v>10.546201232032855</c:v>
                </c:pt>
                <c:pt idx="152">
                  <c:v>10.57905544147844</c:v>
                </c:pt>
                <c:pt idx="153">
                  <c:v>10.677618069815194</c:v>
                </c:pt>
                <c:pt idx="154">
                  <c:v>10.940451745379876</c:v>
                </c:pt>
                <c:pt idx="155">
                  <c:v>11.006160164271048</c:v>
                </c:pt>
                <c:pt idx="156">
                  <c:v>11.039014373716633</c:v>
                </c:pt>
                <c:pt idx="157">
                  <c:v>11.104722792607802</c:v>
                </c:pt>
                <c:pt idx="158">
                  <c:v>11.137577002053389</c:v>
                </c:pt>
                <c:pt idx="159">
                  <c:v>11.236139630390143</c:v>
                </c:pt>
                <c:pt idx="160">
                  <c:v>11.301848049281315</c:v>
                </c:pt>
                <c:pt idx="161">
                  <c:v>11.3347022587269</c:v>
                </c:pt>
                <c:pt idx="162">
                  <c:v>11.367556468172484</c:v>
                </c:pt>
                <c:pt idx="163">
                  <c:v>11.400410677618069</c:v>
                </c:pt>
                <c:pt idx="164">
                  <c:v>11.433264887063656</c:v>
                </c:pt>
                <c:pt idx="165">
                  <c:v>11.466119096509241</c:v>
                </c:pt>
                <c:pt idx="166">
                  <c:v>11.564681724845997</c:v>
                </c:pt>
                <c:pt idx="167">
                  <c:v>11.761806981519507</c:v>
                </c:pt>
                <c:pt idx="168">
                  <c:v>11.794661190965092</c:v>
                </c:pt>
                <c:pt idx="169">
                  <c:v>11.827515400410677</c:v>
                </c:pt>
                <c:pt idx="170">
                  <c:v>11.926078028747433</c:v>
                </c:pt>
                <c:pt idx="171">
                  <c:v>11.991786447638603</c:v>
                </c:pt>
                <c:pt idx="172">
                  <c:v>12.057494866529774</c:v>
                </c:pt>
                <c:pt idx="173">
                  <c:v>12.156057494866531</c:v>
                </c:pt>
                <c:pt idx="174">
                  <c:v>12.188911704312115</c:v>
                </c:pt>
                <c:pt idx="175">
                  <c:v>12.2217659137577</c:v>
                </c:pt>
                <c:pt idx="176">
                  <c:v>12.28747433264887</c:v>
                </c:pt>
                <c:pt idx="177">
                  <c:v>12.320328542094456</c:v>
                </c:pt>
                <c:pt idx="178">
                  <c:v>12.484599589322382</c:v>
                </c:pt>
                <c:pt idx="179">
                  <c:v>12.583162217659138</c:v>
                </c:pt>
                <c:pt idx="180">
                  <c:v>12.648870636550308</c:v>
                </c:pt>
                <c:pt idx="181">
                  <c:v>12.780287474332649</c:v>
                </c:pt>
                <c:pt idx="182">
                  <c:v>12.91170431211499</c:v>
                </c:pt>
                <c:pt idx="183">
                  <c:v>12.944558521560575</c:v>
                </c:pt>
                <c:pt idx="184">
                  <c:v>12.97741273100616</c:v>
                </c:pt>
                <c:pt idx="185">
                  <c:v>13.010266940451745</c:v>
                </c:pt>
                <c:pt idx="186">
                  <c:v>13.108829568788501</c:v>
                </c:pt>
                <c:pt idx="187">
                  <c:v>13.174537987679672</c:v>
                </c:pt>
                <c:pt idx="188">
                  <c:v>13.207392197125257</c:v>
                </c:pt>
                <c:pt idx="189">
                  <c:v>13.273100616016427</c:v>
                </c:pt>
                <c:pt idx="190">
                  <c:v>13.305954825462011</c:v>
                </c:pt>
                <c:pt idx="191">
                  <c:v>13.371663244353183</c:v>
                </c:pt>
                <c:pt idx="192">
                  <c:v>13.404517453798768</c:v>
                </c:pt>
                <c:pt idx="193">
                  <c:v>13.437371663244353</c:v>
                </c:pt>
                <c:pt idx="194">
                  <c:v>13.568788501026694</c:v>
                </c:pt>
                <c:pt idx="195">
                  <c:v>13.60164271047228</c:v>
                </c:pt>
                <c:pt idx="196">
                  <c:v>13.66735112936345</c:v>
                </c:pt>
                <c:pt idx="197">
                  <c:v>13.700205338809035</c:v>
                </c:pt>
                <c:pt idx="198">
                  <c:v>13.733059548254619</c:v>
                </c:pt>
                <c:pt idx="199">
                  <c:v>13.831622176591376</c:v>
                </c:pt>
                <c:pt idx="200">
                  <c:v>13.897330595482547</c:v>
                </c:pt>
                <c:pt idx="201">
                  <c:v>13.995893223819301</c:v>
                </c:pt>
                <c:pt idx="202">
                  <c:v>14.061601642710473</c:v>
                </c:pt>
                <c:pt idx="203">
                  <c:v>14.127310061601642</c:v>
                </c:pt>
                <c:pt idx="204">
                  <c:v>14.160164271047227</c:v>
                </c:pt>
                <c:pt idx="205">
                  <c:v>14.258726899383984</c:v>
                </c:pt>
                <c:pt idx="206">
                  <c:v>14.291581108829568</c:v>
                </c:pt>
                <c:pt idx="207">
                  <c:v>14.390143737166325</c:v>
                </c:pt>
                <c:pt idx="208">
                  <c:v>14.422997946611909</c:v>
                </c:pt>
                <c:pt idx="209">
                  <c:v>14.488706365503081</c:v>
                </c:pt>
                <c:pt idx="210">
                  <c:v>14.55441478439425</c:v>
                </c:pt>
                <c:pt idx="211">
                  <c:v>14.685831622176591</c:v>
                </c:pt>
                <c:pt idx="212">
                  <c:v>14.751540041067761</c:v>
                </c:pt>
                <c:pt idx="213">
                  <c:v>14.784394250513348</c:v>
                </c:pt>
                <c:pt idx="214">
                  <c:v>14.882956878850102</c:v>
                </c:pt>
                <c:pt idx="215">
                  <c:v>14.948665297741274</c:v>
                </c:pt>
                <c:pt idx="216">
                  <c:v>14.981519507186858</c:v>
                </c:pt>
                <c:pt idx="217">
                  <c:v>15.047227926078028</c:v>
                </c:pt>
                <c:pt idx="218">
                  <c:v>15.112936344969199</c:v>
                </c:pt>
                <c:pt idx="219">
                  <c:v>15.145790554414784</c:v>
                </c:pt>
                <c:pt idx="220">
                  <c:v>15.178644763860369</c:v>
                </c:pt>
                <c:pt idx="221">
                  <c:v>15.211498973305956</c:v>
                </c:pt>
                <c:pt idx="222">
                  <c:v>15.342915811088295</c:v>
                </c:pt>
                <c:pt idx="223">
                  <c:v>15.474332648870636</c:v>
                </c:pt>
                <c:pt idx="224">
                  <c:v>15.507186858316222</c:v>
                </c:pt>
                <c:pt idx="225">
                  <c:v>15.572895277207392</c:v>
                </c:pt>
                <c:pt idx="226">
                  <c:v>15.638603696098563</c:v>
                </c:pt>
                <c:pt idx="227">
                  <c:v>15.704312114989733</c:v>
                </c:pt>
                <c:pt idx="228">
                  <c:v>15.737166324435318</c:v>
                </c:pt>
                <c:pt idx="229">
                  <c:v>15.901437371663244</c:v>
                </c:pt>
                <c:pt idx="230">
                  <c:v>15.967145790554415</c:v>
                </c:pt>
                <c:pt idx="231">
                  <c:v>16</c:v>
                </c:pt>
                <c:pt idx="232">
                  <c:v>16.131416837782339</c:v>
                </c:pt>
                <c:pt idx="233">
                  <c:v>16.394250513347021</c:v>
                </c:pt>
                <c:pt idx="234">
                  <c:v>16.427104722792606</c:v>
                </c:pt>
                <c:pt idx="235">
                  <c:v>16.492813141683779</c:v>
                </c:pt>
                <c:pt idx="236">
                  <c:v>16.525667351129364</c:v>
                </c:pt>
                <c:pt idx="237">
                  <c:v>16.558521560574949</c:v>
                </c:pt>
                <c:pt idx="238">
                  <c:v>16.591375770020534</c:v>
                </c:pt>
                <c:pt idx="239">
                  <c:v>16.689938398357288</c:v>
                </c:pt>
                <c:pt idx="240">
                  <c:v>16.722792607802873</c:v>
                </c:pt>
                <c:pt idx="241">
                  <c:v>16.755646817248461</c:v>
                </c:pt>
                <c:pt idx="242">
                  <c:v>16.919917864476385</c:v>
                </c:pt>
                <c:pt idx="243">
                  <c:v>16.985626283367555</c:v>
                </c:pt>
                <c:pt idx="244">
                  <c:v>17.018480492813143</c:v>
                </c:pt>
                <c:pt idx="245">
                  <c:v>17.084188911704313</c:v>
                </c:pt>
                <c:pt idx="246">
                  <c:v>17.117043121149898</c:v>
                </c:pt>
                <c:pt idx="247">
                  <c:v>17.149897330595483</c:v>
                </c:pt>
                <c:pt idx="248">
                  <c:v>17.182751540041068</c:v>
                </c:pt>
                <c:pt idx="249">
                  <c:v>17.347022587268995</c:v>
                </c:pt>
                <c:pt idx="250">
                  <c:v>17.412731006160165</c:v>
                </c:pt>
                <c:pt idx="251">
                  <c:v>17.478439425051334</c:v>
                </c:pt>
                <c:pt idx="252">
                  <c:v>17.511293634496919</c:v>
                </c:pt>
                <c:pt idx="253">
                  <c:v>17.544147843942504</c:v>
                </c:pt>
                <c:pt idx="254">
                  <c:v>17.577002053388089</c:v>
                </c:pt>
                <c:pt idx="255">
                  <c:v>17.675564681724847</c:v>
                </c:pt>
                <c:pt idx="256">
                  <c:v>17.741273100616016</c:v>
                </c:pt>
                <c:pt idx="257">
                  <c:v>17.774127310061601</c:v>
                </c:pt>
                <c:pt idx="258">
                  <c:v>17.839835728952771</c:v>
                </c:pt>
                <c:pt idx="259">
                  <c:v>17.872689938398356</c:v>
                </c:pt>
                <c:pt idx="260">
                  <c:v>17.905544147843944</c:v>
                </c:pt>
                <c:pt idx="261">
                  <c:v>17.971252566735114</c:v>
                </c:pt>
                <c:pt idx="262">
                  <c:v>18.135523613963038</c:v>
                </c:pt>
                <c:pt idx="263">
                  <c:v>18.168377823408623</c:v>
                </c:pt>
                <c:pt idx="264">
                  <c:v>18.201232032854211</c:v>
                </c:pt>
                <c:pt idx="265">
                  <c:v>18.234086242299796</c:v>
                </c:pt>
                <c:pt idx="266">
                  <c:v>18.266940451745381</c:v>
                </c:pt>
                <c:pt idx="267">
                  <c:v>18.33264887063655</c:v>
                </c:pt>
                <c:pt idx="268">
                  <c:v>18.365503080082135</c:v>
                </c:pt>
                <c:pt idx="269">
                  <c:v>18.464065708418889</c:v>
                </c:pt>
                <c:pt idx="270">
                  <c:v>18.496919917864478</c:v>
                </c:pt>
                <c:pt idx="271">
                  <c:v>18.562628336755647</c:v>
                </c:pt>
                <c:pt idx="272">
                  <c:v>18.661190965092402</c:v>
                </c:pt>
                <c:pt idx="273">
                  <c:v>18.726899383983572</c:v>
                </c:pt>
                <c:pt idx="274">
                  <c:v>18.759753593429156</c:v>
                </c:pt>
                <c:pt idx="275">
                  <c:v>18.792607802874745</c:v>
                </c:pt>
                <c:pt idx="276">
                  <c:v>18.82546201232033</c:v>
                </c:pt>
                <c:pt idx="277">
                  <c:v>18.858316221765914</c:v>
                </c:pt>
                <c:pt idx="278">
                  <c:v>18.924024640657084</c:v>
                </c:pt>
                <c:pt idx="279">
                  <c:v>18.989733059548254</c:v>
                </c:pt>
                <c:pt idx="280">
                  <c:v>19.055441478439427</c:v>
                </c:pt>
                <c:pt idx="281">
                  <c:v>19.088295687885012</c:v>
                </c:pt>
                <c:pt idx="282">
                  <c:v>19.219712525667351</c:v>
                </c:pt>
                <c:pt idx="283">
                  <c:v>19.252566735112936</c:v>
                </c:pt>
                <c:pt idx="284">
                  <c:v>19.285420944558521</c:v>
                </c:pt>
                <c:pt idx="285">
                  <c:v>19.318275154004105</c:v>
                </c:pt>
                <c:pt idx="286">
                  <c:v>19.351129363449694</c:v>
                </c:pt>
                <c:pt idx="287">
                  <c:v>19.416837782340863</c:v>
                </c:pt>
                <c:pt idx="288">
                  <c:v>19.449691991786448</c:v>
                </c:pt>
                <c:pt idx="289">
                  <c:v>19.482546201232033</c:v>
                </c:pt>
                <c:pt idx="290">
                  <c:v>19.515400410677618</c:v>
                </c:pt>
                <c:pt idx="291">
                  <c:v>19.548254620123203</c:v>
                </c:pt>
                <c:pt idx="292">
                  <c:v>19.613963039014372</c:v>
                </c:pt>
                <c:pt idx="293">
                  <c:v>19.71252566735113</c:v>
                </c:pt>
                <c:pt idx="294">
                  <c:v>19.7782340862423</c:v>
                </c:pt>
                <c:pt idx="295">
                  <c:v>19.811088295687885</c:v>
                </c:pt>
                <c:pt idx="296">
                  <c:v>19.843942505133469</c:v>
                </c:pt>
                <c:pt idx="297">
                  <c:v>19.909650924024639</c:v>
                </c:pt>
                <c:pt idx="298">
                  <c:v>19.975359342915812</c:v>
                </c:pt>
                <c:pt idx="299">
                  <c:v>20.041067761806982</c:v>
                </c:pt>
                <c:pt idx="300">
                  <c:v>20.073921971252567</c:v>
                </c:pt>
                <c:pt idx="301">
                  <c:v>20.172484599589321</c:v>
                </c:pt>
                <c:pt idx="302">
                  <c:v>20.205338809034906</c:v>
                </c:pt>
                <c:pt idx="303">
                  <c:v>20.238193018480494</c:v>
                </c:pt>
                <c:pt idx="304">
                  <c:v>20.271047227926079</c:v>
                </c:pt>
                <c:pt idx="305">
                  <c:v>20.303901437371664</c:v>
                </c:pt>
                <c:pt idx="306">
                  <c:v>20.336755646817249</c:v>
                </c:pt>
                <c:pt idx="307">
                  <c:v>20.435318275154003</c:v>
                </c:pt>
                <c:pt idx="308">
                  <c:v>20.468172484599588</c:v>
                </c:pt>
                <c:pt idx="309">
                  <c:v>20.501026694045173</c:v>
                </c:pt>
                <c:pt idx="310">
                  <c:v>20.566735112936346</c:v>
                </c:pt>
                <c:pt idx="311">
                  <c:v>20.599589322381931</c:v>
                </c:pt>
                <c:pt idx="312">
                  <c:v>20.632443531827516</c:v>
                </c:pt>
                <c:pt idx="313">
                  <c:v>20.698151950718685</c:v>
                </c:pt>
                <c:pt idx="314">
                  <c:v>20.73100616016427</c:v>
                </c:pt>
                <c:pt idx="315">
                  <c:v>20.763860369609855</c:v>
                </c:pt>
                <c:pt idx="316">
                  <c:v>20.79671457905544</c:v>
                </c:pt>
                <c:pt idx="317">
                  <c:v>20.829568788501028</c:v>
                </c:pt>
                <c:pt idx="318">
                  <c:v>20.895277207392198</c:v>
                </c:pt>
                <c:pt idx="319">
                  <c:v>20.960985626283367</c:v>
                </c:pt>
                <c:pt idx="320">
                  <c:v>20.993839835728952</c:v>
                </c:pt>
                <c:pt idx="321">
                  <c:v>21.026694045174537</c:v>
                </c:pt>
                <c:pt idx="322">
                  <c:v>21.059548254620122</c:v>
                </c:pt>
                <c:pt idx="323">
                  <c:v>21.09240246406571</c:v>
                </c:pt>
                <c:pt idx="324">
                  <c:v>21.190965092402465</c:v>
                </c:pt>
                <c:pt idx="325">
                  <c:v>21.223819301848049</c:v>
                </c:pt>
                <c:pt idx="326">
                  <c:v>21.486652977412732</c:v>
                </c:pt>
                <c:pt idx="327">
                  <c:v>21.519507186858316</c:v>
                </c:pt>
                <c:pt idx="328">
                  <c:v>21.683778234086244</c:v>
                </c:pt>
                <c:pt idx="329">
                  <c:v>21.782340862422998</c:v>
                </c:pt>
                <c:pt idx="330">
                  <c:v>21.815195071868583</c:v>
                </c:pt>
                <c:pt idx="331">
                  <c:v>21.848049281314168</c:v>
                </c:pt>
                <c:pt idx="332">
                  <c:v>21.946611909650922</c:v>
                </c:pt>
                <c:pt idx="333">
                  <c:v>22.04517453798768</c:v>
                </c:pt>
                <c:pt idx="334">
                  <c:v>22.17659137577002</c:v>
                </c:pt>
                <c:pt idx="335">
                  <c:v>22.209445585215605</c:v>
                </c:pt>
                <c:pt idx="336">
                  <c:v>22.275154004106778</c:v>
                </c:pt>
                <c:pt idx="337">
                  <c:v>22.308008213552363</c:v>
                </c:pt>
                <c:pt idx="338">
                  <c:v>22.406570841889117</c:v>
                </c:pt>
                <c:pt idx="339">
                  <c:v>22.472279260780287</c:v>
                </c:pt>
                <c:pt idx="340">
                  <c:v>22.505133470225871</c:v>
                </c:pt>
                <c:pt idx="341">
                  <c:v>22.537987679671456</c:v>
                </c:pt>
                <c:pt idx="342">
                  <c:v>22.603696098562629</c:v>
                </c:pt>
                <c:pt idx="343">
                  <c:v>22.636550308008214</c:v>
                </c:pt>
                <c:pt idx="344">
                  <c:v>22.669404517453799</c:v>
                </c:pt>
                <c:pt idx="345">
                  <c:v>22.735112936344969</c:v>
                </c:pt>
                <c:pt idx="346">
                  <c:v>22.833675564681723</c:v>
                </c:pt>
                <c:pt idx="347">
                  <c:v>22.866529774127311</c:v>
                </c:pt>
                <c:pt idx="348">
                  <c:v>22.899383983572896</c:v>
                </c:pt>
                <c:pt idx="349">
                  <c:v>23.06365503080082</c:v>
                </c:pt>
                <c:pt idx="350">
                  <c:v>23.162217659137578</c:v>
                </c:pt>
                <c:pt idx="351">
                  <c:v>23.195071868583163</c:v>
                </c:pt>
                <c:pt idx="352">
                  <c:v>23.260780287474333</c:v>
                </c:pt>
                <c:pt idx="353">
                  <c:v>23.293634496919918</c:v>
                </c:pt>
                <c:pt idx="354">
                  <c:v>23.359342915811087</c:v>
                </c:pt>
                <c:pt idx="355">
                  <c:v>23.392197125256672</c:v>
                </c:pt>
                <c:pt idx="356">
                  <c:v>23.42505133470226</c:v>
                </c:pt>
                <c:pt idx="357">
                  <c:v>23.49075975359343</c:v>
                </c:pt>
                <c:pt idx="358">
                  <c:v>23.523613963039015</c:v>
                </c:pt>
                <c:pt idx="359">
                  <c:v>23.589322381930184</c:v>
                </c:pt>
                <c:pt idx="360">
                  <c:v>23.655030800821354</c:v>
                </c:pt>
                <c:pt idx="361">
                  <c:v>23.687885010266939</c:v>
                </c:pt>
                <c:pt idx="362">
                  <c:v>23.720739219712527</c:v>
                </c:pt>
                <c:pt idx="363">
                  <c:v>23.753593429158112</c:v>
                </c:pt>
                <c:pt idx="364">
                  <c:v>23.786447638603697</c:v>
                </c:pt>
                <c:pt idx="365">
                  <c:v>23.819301848049282</c:v>
                </c:pt>
                <c:pt idx="366">
                  <c:v>23.852156057494867</c:v>
                </c:pt>
                <c:pt idx="367">
                  <c:v>23.885010266940451</c:v>
                </c:pt>
                <c:pt idx="368">
                  <c:v>23.917864476386036</c:v>
                </c:pt>
                <c:pt idx="369">
                  <c:v>23.950718685831621</c:v>
                </c:pt>
                <c:pt idx="370">
                  <c:v>23.983572895277206</c:v>
                </c:pt>
                <c:pt idx="371">
                  <c:v>24.049281314168379</c:v>
                </c:pt>
                <c:pt idx="372">
                  <c:v>24.082135523613964</c:v>
                </c:pt>
                <c:pt idx="373">
                  <c:v>24.147843942505133</c:v>
                </c:pt>
                <c:pt idx="374">
                  <c:v>24.180698151950718</c:v>
                </c:pt>
                <c:pt idx="375">
                  <c:v>24.213552361396303</c:v>
                </c:pt>
                <c:pt idx="376">
                  <c:v>24.279260780287473</c:v>
                </c:pt>
                <c:pt idx="377">
                  <c:v>24.312114989733061</c:v>
                </c:pt>
                <c:pt idx="378">
                  <c:v>24.344969199178646</c:v>
                </c:pt>
                <c:pt idx="379">
                  <c:v>24.4435318275154</c:v>
                </c:pt>
                <c:pt idx="380">
                  <c:v>24.542094455852155</c:v>
                </c:pt>
                <c:pt idx="381">
                  <c:v>24.57494866529774</c:v>
                </c:pt>
                <c:pt idx="382">
                  <c:v>24.607802874743328</c:v>
                </c:pt>
                <c:pt idx="383">
                  <c:v>24.640657084188913</c:v>
                </c:pt>
                <c:pt idx="384">
                  <c:v>24.673511293634498</c:v>
                </c:pt>
                <c:pt idx="385">
                  <c:v>24.903490759753595</c:v>
                </c:pt>
                <c:pt idx="386">
                  <c:v>24.969199178644764</c:v>
                </c:pt>
                <c:pt idx="387">
                  <c:v>25.002053388090349</c:v>
                </c:pt>
                <c:pt idx="388">
                  <c:v>25.034907597535934</c:v>
                </c:pt>
                <c:pt idx="389">
                  <c:v>25.133470225872689</c:v>
                </c:pt>
                <c:pt idx="390">
                  <c:v>25.166324435318277</c:v>
                </c:pt>
                <c:pt idx="391">
                  <c:v>25.199178644763862</c:v>
                </c:pt>
                <c:pt idx="392">
                  <c:v>25.232032854209447</c:v>
                </c:pt>
                <c:pt idx="393">
                  <c:v>25.264887063655031</c:v>
                </c:pt>
                <c:pt idx="394">
                  <c:v>25.297741273100616</c:v>
                </c:pt>
                <c:pt idx="395">
                  <c:v>25.363449691991786</c:v>
                </c:pt>
                <c:pt idx="396">
                  <c:v>25.494866529774129</c:v>
                </c:pt>
                <c:pt idx="397">
                  <c:v>25.527720739219713</c:v>
                </c:pt>
                <c:pt idx="398">
                  <c:v>25.560574948665298</c:v>
                </c:pt>
                <c:pt idx="399">
                  <c:v>25.593429158110883</c:v>
                </c:pt>
                <c:pt idx="400">
                  <c:v>25.626283367556468</c:v>
                </c:pt>
                <c:pt idx="401">
                  <c:v>25.659137577002053</c:v>
                </c:pt>
                <c:pt idx="402">
                  <c:v>25.691991786447637</c:v>
                </c:pt>
                <c:pt idx="403">
                  <c:v>25.724845995893222</c:v>
                </c:pt>
                <c:pt idx="404">
                  <c:v>25.790554414784395</c:v>
                </c:pt>
                <c:pt idx="405">
                  <c:v>25.82340862422998</c:v>
                </c:pt>
                <c:pt idx="406">
                  <c:v>25.856262833675565</c:v>
                </c:pt>
                <c:pt idx="407">
                  <c:v>25.88911704312115</c:v>
                </c:pt>
                <c:pt idx="408">
                  <c:v>25.921971252566735</c:v>
                </c:pt>
                <c:pt idx="409">
                  <c:v>25.95482546201232</c:v>
                </c:pt>
                <c:pt idx="410">
                  <c:v>25.987679671457904</c:v>
                </c:pt>
                <c:pt idx="411">
                  <c:v>26.020533880903489</c:v>
                </c:pt>
                <c:pt idx="412">
                  <c:v>26.053388090349078</c:v>
                </c:pt>
                <c:pt idx="413">
                  <c:v>26.086242299794662</c:v>
                </c:pt>
                <c:pt idx="414">
                  <c:v>26.119096509240247</c:v>
                </c:pt>
                <c:pt idx="415">
                  <c:v>26.151950718685832</c:v>
                </c:pt>
                <c:pt idx="416">
                  <c:v>26.184804928131417</c:v>
                </c:pt>
                <c:pt idx="417">
                  <c:v>26.217659137577002</c:v>
                </c:pt>
                <c:pt idx="418">
                  <c:v>26.250513347022586</c:v>
                </c:pt>
                <c:pt idx="419">
                  <c:v>26.283367556468171</c:v>
                </c:pt>
                <c:pt idx="420">
                  <c:v>26.316221765913756</c:v>
                </c:pt>
                <c:pt idx="421">
                  <c:v>26.349075975359344</c:v>
                </c:pt>
                <c:pt idx="422">
                  <c:v>26.381930184804929</c:v>
                </c:pt>
                <c:pt idx="423">
                  <c:v>26.414784394250514</c:v>
                </c:pt>
                <c:pt idx="424">
                  <c:v>26.447638603696099</c:v>
                </c:pt>
                <c:pt idx="425">
                  <c:v>26.480492813141684</c:v>
                </c:pt>
                <c:pt idx="426">
                  <c:v>26.513347022587268</c:v>
                </c:pt>
                <c:pt idx="427">
                  <c:v>26.546201232032853</c:v>
                </c:pt>
                <c:pt idx="428">
                  <c:v>26.579055441478438</c:v>
                </c:pt>
                <c:pt idx="429">
                  <c:v>26.611909650924023</c:v>
                </c:pt>
                <c:pt idx="430">
                  <c:v>26.644763860369611</c:v>
                </c:pt>
                <c:pt idx="431">
                  <c:v>26.677618069815196</c:v>
                </c:pt>
                <c:pt idx="432">
                  <c:v>26.710472279260781</c:v>
                </c:pt>
                <c:pt idx="433">
                  <c:v>26.743326488706366</c:v>
                </c:pt>
                <c:pt idx="434">
                  <c:v>26.776180698151951</c:v>
                </c:pt>
                <c:pt idx="435">
                  <c:v>26.809034907597535</c:v>
                </c:pt>
                <c:pt idx="436">
                  <c:v>26.84188911704312</c:v>
                </c:pt>
                <c:pt idx="437">
                  <c:v>26.874743326488705</c:v>
                </c:pt>
                <c:pt idx="438">
                  <c:v>26.90759753593429</c:v>
                </c:pt>
                <c:pt idx="439">
                  <c:v>26.940451745379878</c:v>
                </c:pt>
                <c:pt idx="440">
                  <c:v>26.973305954825463</c:v>
                </c:pt>
                <c:pt idx="441">
                  <c:v>27.006160164271048</c:v>
                </c:pt>
                <c:pt idx="442">
                  <c:v>27.039014373716633</c:v>
                </c:pt>
                <c:pt idx="443">
                  <c:v>27.071868583162217</c:v>
                </c:pt>
                <c:pt idx="444">
                  <c:v>27.104722792607802</c:v>
                </c:pt>
                <c:pt idx="445">
                  <c:v>27.137577002053387</c:v>
                </c:pt>
                <c:pt idx="446">
                  <c:v>27.170431211498972</c:v>
                </c:pt>
                <c:pt idx="447">
                  <c:v>27.20328542094456</c:v>
                </c:pt>
                <c:pt idx="448">
                  <c:v>27.236139630390145</c:v>
                </c:pt>
                <c:pt idx="449">
                  <c:v>27.26899383983573</c:v>
                </c:pt>
                <c:pt idx="450">
                  <c:v>27.301848049281315</c:v>
                </c:pt>
                <c:pt idx="451">
                  <c:v>27.3347022587269</c:v>
                </c:pt>
                <c:pt idx="452">
                  <c:v>27.367556468172484</c:v>
                </c:pt>
                <c:pt idx="453">
                  <c:v>27.400410677618069</c:v>
                </c:pt>
                <c:pt idx="454">
                  <c:v>27.433264887063654</c:v>
                </c:pt>
                <c:pt idx="455">
                  <c:v>27.466119096509239</c:v>
                </c:pt>
                <c:pt idx="456">
                  <c:v>27.498973305954827</c:v>
                </c:pt>
                <c:pt idx="457">
                  <c:v>27.531827515400412</c:v>
                </c:pt>
                <c:pt idx="458">
                  <c:v>27.564681724845997</c:v>
                </c:pt>
                <c:pt idx="459">
                  <c:v>27.597535934291582</c:v>
                </c:pt>
                <c:pt idx="460">
                  <c:v>27.630390143737166</c:v>
                </c:pt>
                <c:pt idx="461">
                  <c:v>27.663244353182751</c:v>
                </c:pt>
                <c:pt idx="462">
                  <c:v>27.696098562628336</c:v>
                </c:pt>
                <c:pt idx="463">
                  <c:v>27.728952772073921</c:v>
                </c:pt>
                <c:pt idx="464">
                  <c:v>27.761806981519506</c:v>
                </c:pt>
                <c:pt idx="465">
                  <c:v>27.794661190965094</c:v>
                </c:pt>
                <c:pt idx="466">
                  <c:v>27.827515400410679</c:v>
                </c:pt>
                <c:pt idx="467">
                  <c:v>27.860369609856264</c:v>
                </c:pt>
                <c:pt idx="468">
                  <c:v>27.893223819301848</c:v>
                </c:pt>
                <c:pt idx="469">
                  <c:v>27.926078028747433</c:v>
                </c:pt>
                <c:pt idx="470">
                  <c:v>27.958932238193018</c:v>
                </c:pt>
                <c:pt idx="471">
                  <c:v>27.991786447638603</c:v>
                </c:pt>
                <c:pt idx="472">
                  <c:v>28.024640657084188</c:v>
                </c:pt>
                <c:pt idx="473">
                  <c:v>28.057494866529773</c:v>
                </c:pt>
                <c:pt idx="474">
                  <c:v>28.090349075975361</c:v>
                </c:pt>
                <c:pt idx="475">
                  <c:v>28.123203285420946</c:v>
                </c:pt>
                <c:pt idx="476">
                  <c:v>28.156057494866531</c:v>
                </c:pt>
                <c:pt idx="477">
                  <c:v>28.188911704312115</c:v>
                </c:pt>
                <c:pt idx="478">
                  <c:v>28.2217659137577</c:v>
                </c:pt>
                <c:pt idx="479">
                  <c:v>28.254620123203285</c:v>
                </c:pt>
                <c:pt idx="480">
                  <c:v>28.28747433264887</c:v>
                </c:pt>
                <c:pt idx="481">
                  <c:v>28.320328542094455</c:v>
                </c:pt>
                <c:pt idx="482">
                  <c:v>28.353182751540039</c:v>
                </c:pt>
                <c:pt idx="483">
                  <c:v>28.386036960985628</c:v>
                </c:pt>
                <c:pt idx="484">
                  <c:v>28.418891170431213</c:v>
                </c:pt>
                <c:pt idx="485">
                  <c:v>28.451745379876797</c:v>
                </c:pt>
                <c:pt idx="486">
                  <c:v>28.484599589322382</c:v>
                </c:pt>
                <c:pt idx="487">
                  <c:v>28.517453798767967</c:v>
                </c:pt>
                <c:pt idx="488">
                  <c:v>28.550308008213552</c:v>
                </c:pt>
                <c:pt idx="489">
                  <c:v>28.583162217659137</c:v>
                </c:pt>
                <c:pt idx="490">
                  <c:v>28.616016427104721</c:v>
                </c:pt>
                <c:pt idx="491">
                  <c:v>28.648870636550306</c:v>
                </c:pt>
                <c:pt idx="492">
                  <c:v>28.681724845995895</c:v>
                </c:pt>
                <c:pt idx="493">
                  <c:v>28.714579055441479</c:v>
                </c:pt>
                <c:pt idx="494">
                  <c:v>28.747433264887064</c:v>
                </c:pt>
                <c:pt idx="495">
                  <c:v>28.780287474332649</c:v>
                </c:pt>
                <c:pt idx="496">
                  <c:v>28.813141683778234</c:v>
                </c:pt>
                <c:pt idx="497">
                  <c:v>28.845995893223819</c:v>
                </c:pt>
                <c:pt idx="498">
                  <c:v>28.878850102669404</c:v>
                </c:pt>
                <c:pt idx="499">
                  <c:v>28.911704312114988</c:v>
                </c:pt>
                <c:pt idx="500">
                  <c:v>28.944558521560573</c:v>
                </c:pt>
                <c:pt idx="501">
                  <c:v>28.977412731006162</c:v>
                </c:pt>
                <c:pt idx="502">
                  <c:v>29.010266940451746</c:v>
                </c:pt>
                <c:pt idx="503">
                  <c:v>29.043121149897331</c:v>
                </c:pt>
                <c:pt idx="504">
                  <c:v>29.075975359342916</c:v>
                </c:pt>
                <c:pt idx="505">
                  <c:v>29.108829568788501</c:v>
                </c:pt>
                <c:pt idx="506">
                  <c:v>29.141683778234086</c:v>
                </c:pt>
                <c:pt idx="507">
                  <c:v>29.17453798767967</c:v>
                </c:pt>
                <c:pt idx="508">
                  <c:v>29.207392197125255</c:v>
                </c:pt>
                <c:pt idx="509">
                  <c:v>29.240246406570844</c:v>
                </c:pt>
                <c:pt idx="510">
                  <c:v>29.273100616016428</c:v>
                </c:pt>
                <c:pt idx="511">
                  <c:v>29.305954825462013</c:v>
                </c:pt>
                <c:pt idx="512">
                  <c:v>29.338809034907598</c:v>
                </c:pt>
                <c:pt idx="513">
                  <c:v>29.371663244353183</c:v>
                </c:pt>
                <c:pt idx="514">
                  <c:v>29.404517453798768</c:v>
                </c:pt>
                <c:pt idx="515">
                  <c:v>29.437371663244353</c:v>
                </c:pt>
                <c:pt idx="516">
                  <c:v>29.470225872689937</c:v>
                </c:pt>
                <c:pt idx="517">
                  <c:v>29.503080082135522</c:v>
                </c:pt>
                <c:pt idx="518">
                  <c:v>29.535934291581111</c:v>
                </c:pt>
                <c:pt idx="519">
                  <c:v>29.568788501026695</c:v>
                </c:pt>
                <c:pt idx="520">
                  <c:v>29.60164271047228</c:v>
                </c:pt>
                <c:pt idx="521">
                  <c:v>29.634496919917865</c:v>
                </c:pt>
                <c:pt idx="522">
                  <c:v>29.66735112936345</c:v>
                </c:pt>
                <c:pt idx="523">
                  <c:v>29.700205338809035</c:v>
                </c:pt>
                <c:pt idx="524">
                  <c:v>29.733059548254619</c:v>
                </c:pt>
                <c:pt idx="525">
                  <c:v>29.765913757700204</c:v>
                </c:pt>
                <c:pt idx="526">
                  <c:v>29.798767967145789</c:v>
                </c:pt>
                <c:pt idx="527">
                  <c:v>29.831622176591377</c:v>
                </c:pt>
                <c:pt idx="528">
                  <c:v>29.864476386036962</c:v>
                </c:pt>
                <c:pt idx="529">
                  <c:v>29.897330595482547</c:v>
                </c:pt>
                <c:pt idx="530">
                  <c:v>29.930184804928132</c:v>
                </c:pt>
                <c:pt idx="531">
                  <c:v>29.963039014373717</c:v>
                </c:pt>
                <c:pt idx="532">
                  <c:v>29.995893223819301</c:v>
                </c:pt>
                <c:pt idx="533">
                  <c:v>30.028747433264886</c:v>
                </c:pt>
                <c:pt idx="534">
                  <c:v>30.061601642710471</c:v>
                </c:pt>
                <c:pt idx="535">
                  <c:v>30.094455852156056</c:v>
                </c:pt>
                <c:pt idx="536">
                  <c:v>30.127310061601644</c:v>
                </c:pt>
                <c:pt idx="537">
                  <c:v>30.160164271047229</c:v>
                </c:pt>
                <c:pt idx="538">
                  <c:v>30.193018480492814</c:v>
                </c:pt>
                <c:pt idx="539">
                  <c:v>30.225872689938399</c:v>
                </c:pt>
                <c:pt idx="540">
                  <c:v>30.258726899383984</c:v>
                </c:pt>
                <c:pt idx="541">
                  <c:v>30.291581108829568</c:v>
                </c:pt>
                <c:pt idx="542">
                  <c:v>30.324435318275153</c:v>
                </c:pt>
                <c:pt idx="543">
                  <c:v>30.357289527720738</c:v>
                </c:pt>
                <c:pt idx="544">
                  <c:v>30.390143737166323</c:v>
                </c:pt>
                <c:pt idx="545">
                  <c:v>30.422997946611911</c:v>
                </c:pt>
                <c:pt idx="546">
                  <c:v>30.455852156057496</c:v>
                </c:pt>
                <c:pt idx="547">
                  <c:v>30.488706365503081</c:v>
                </c:pt>
                <c:pt idx="548">
                  <c:v>30.521560574948666</c:v>
                </c:pt>
                <c:pt idx="549">
                  <c:v>30.55441478439425</c:v>
                </c:pt>
                <c:pt idx="550">
                  <c:v>30.587268993839835</c:v>
                </c:pt>
                <c:pt idx="551">
                  <c:v>30.62012320328542</c:v>
                </c:pt>
                <c:pt idx="552">
                  <c:v>30.652977412731005</c:v>
                </c:pt>
                <c:pt idx="553">
                  <c:v>30.68583162217659</c:v>
                </c:pt>
                <c:pt idx="554">
                  <c:v>30.718685831622178</c:v>
                </c:pt>
                <c:pt idx="555">
                  <c:v>30.751540041067763</c:v>
                </c:pt>
                <c:pt idx="556">
                  <c:v>30.784394250513348</c:v>
                </c:pt>
                <c:pt idx="557">
                  <c:v>30.817248459958932</c:v>
                </c:pt>
                <c:pt idx="558">
                  <c:v>30.850102669404517</c:v>
                </c:pt>
                <c:pt idx="559">
                  <c:v>30.882956878850102</c:v>
                </c:pt>
                <c:pt idx="560">
                  <c:v>30.915811088295687</c:v>
                </c:pt>
                <c:pt idx="561">
                  <c:v>30.948665297741272</c:v>
                </c:pt>
                <c:pt idx="562">
                  <c:v>30.981519507186857</c:v>
                </c:pt>
                <c:pt idx="563">
                  <c:v>31.014373716632445</c:v>
                </c:pt>
                <c:pt idx="564">
                  <c:v>31.04722792607803</c:v>
                </c:pt>
                <c:pt idx="565">
                  <c:v>31.080082135523615</c:v>
                </c:pt>
                <c:pt idx="566">
                  <c:v>31.112936344969199</c:v>
                </c:pt>
                <c:pt idx="567">
                  <c:v>31.145790554414784</c:v>
                </c:pt>
                <c:pt idx="568">
                  <c:v>31.178644763860369</c:v>
                </c:pt>
                <c:pt idx="569">
                  <c:v>31.211498973305954</c:v>
                </c:pt>
                <c:pt idx="570">
                  <c:v>31.244353182751539</c:v>
                </c:pt>
                <c:pt idx="571">
                  <c:v>31.277207392197127</c:v>
                </c:pt>
                <c:pt idx="572">
                  <c:v>31.310061601642712</c:v>
                </c:pt>
                <c:pt idx="573">
                  <c:v>31.342915811088297</c:v>
                </c:pt>
                <c:pt idx="574">
                  <c:v>31.375770020533881</c:v>
                </c:pt>
                <c:pt idx="575">
                  <c:v>31.408624229979466</c:v>
                </c:pt>
                <c:pt idx="576">
                  <c:v>31.441478439425051</c:v>
                </c:pt>
                <c:pt idx="577">
                  <c:v>31.474332648870636</c:v>
                </c:pt>
                <c:pt idx="578">
                  <c:v>31.507186858316221</c:v>
                </c:pt>
                <c:pt idx="579">
                  <c:v>31.540041067761805</c:v>
                </c:pt>
                <c:pt idx="580">
                  <c:v>31.572895277207394</c:v>
                </c:pt>
                <c:pt idx="581">
                  <c:v>31.605749486652979</c:v>
                </c:pt>
                <c:pt idx="582">
                  <c:v>31.638603696098563</c:v>
                </c:pt>
                <c:pt idx="583">
                  <c:v>31.671457905544148</c:v>
                </c:pt>
                <c:pt idx="584">
                  <c:v>31.704312114989733</c:v>
                </c:pt>
                <c:pt idx="585">
                  <c:v>31.737166324435318</c:v>
                </c:pt>
                <c:pt idx="586">
                  <c:v>31.770020533880903</c:v>
                </c:pt>
                <c:pt idx="587">
                  <c:v>31.802874743326488</c:v>
                </c:pt>
                <c:pt idx="588">
                  <c:v>31.835728952772072</c:v>
                </c:pt>
                <c:pt idx="589">
                  <c:v>31.868583162217661</c:v>
                </c:pt>
                <c:pt idx="590">
                  <c:v>31.901437371663246</c:v>
                </c:pt>
                <c:pt idx="591">
                  <c:v>31.93429158110883</c:v>
                </c:pt>
                <c:pt idx="592">
                  <c:v>31.967145790554415</c:v>
                </c:pt>
                <c:pt idx="593">
                  <c:v>32</c:v>
                </c:pt>
                <c:pt idx="594">
                  <c:v>32.032854209445588</c:v>
                </c:pt>
                <c:pt idx="595">
                  <c:v>32.06570841889117</c:v>
                </c:pt>
                <c:pt idx="596">
                  <c:v>32.098562628336758</c:v>
                </c:pt>
                <c:pt idx="597">
                  <c:v>32.131416837782339</c:v>
                </c:pt>
                <c:pt idx="598">
                  <c:v>32.164271047227928</c:v>
                </c:pt>
                <c:pt idx="599">
                  <c:v>32.197125256673509</c:v>
                </c:pt>
                <c:pt idx="600">
                  <c:v>32.229979466119097</c:v>
                </c:pt>
                <c:pt idx="601">
                  <c:v>32.262833675564679</c:v>
                </c:pt>
                <c:pt idx="602">
                  <c:v>32.295687885010267</c:v>
                </c:pt>
                <c:pt idx="603">
                  <c:v>32.328542094455855</c:v>
                </c:pt>
                <c:pt idx="604">
                  <c:v>32.361396303901437</c:v>
                </c:pt>
                <c:pt idx="605">
                  <c:v>32.394250513347025</c:v>
                </c:pt>
                <c:pt idx="606">
                  <c:v>32.427104722792606</c:v>
                </c:pt>
                <c:pt idx="607">
                  <c:v>32.459958932238195</c:v>
                </c:pt>
                <c:pt idx="608">
                  <c:v>32.492813141683776</c:v>
                </c:pt>
                <c:pt idx="609">
                  <c:v>32.525667351129364</c:v>
                </c:pt>
                <c:pt idx="610">
                  <c:v>32.558521560574945</c:v>
                </c:pt>
                <c:pt idx="611">
                  <c:v>32.591375770020534</c:v>
                </c:pt>
                <c:pt idx="612">
                  <c:v>32.624229979466122</c:v>
                </c:pt>
                <c:pt idx="613">
                  <c:v>32.657084188911703</c:v>
                </c:pt>
                <c:pt idx="614">
                  <c:v>32.689938398357292</c:v>
                </c:pt>
                <c:pt idx="615">
                  <c:v>32.722792607802873</c:v>
                </c:pt>
                <c:pt idx="616">
                  <c:v>32.755646817248461</c:v>
                </c:pt>
                <c:pt idx="617">
                  <c:v>32.788501026694043</c:v>
                </c:pt>
                <c:pt idx="618">
                  <c:v>32.821355236139631</c:v>
                </c:pt>
                <c:pt idx="619">
                  <c:v>32.854209445585212</c:v>
                </c:pt>
                <c:pt idx="620">
                  <c:v>32.887063655030801</c:v>
                </c:pt>
                <c:pt idx="621">
                  <c:v>32.919917864476389</c:v>
                </c:pt>
                <c:pt idx="622">
                  <c:v>32.95277207392197</c:v>
                </c:pt>
                <c:pt idx="623">
                  <c:v>32.985626283367559</c:v>
                </c:pt>
                <c:pt idx="624">
                  <c:v>33.01848049281314</c:v>
                </c:pt>
                <c:pt idx="625">
                  <c:v>33.051334702258728</c:v>
                </c:pt>
                <c:pt idx="626">
                  <c:v>33.08418891170431</c:v>
                </c:pt>
                <c:pt idx="627">
                  <c:v>33.117043121149898</c:v>
                </c:pt>
                <c:pt idx="628">
                  <c:v>33.149897330595479</c:v>
                </c:pt>
                <c:pt idx="629">
                  <c:v>33.182751540041068</c:v>
                </c:pt>
                <c:pt idx="630">
                  <c:v>33.215605749486656</c:v>
                </c:pt>
                <c:pt idx="631">
                  <c:v>33.248459958932237</c:v>
                </c:pt>
                <c:pt idx="632">
                  <c:v>33.281314168377826</c:v>
                </c:pt>
                <c:pt idx="633">
                  <c:v>33.314168377823407</c:v>
                </c:pt>
                <c:pt idx="634">
                  <c:v>33.347022587268995</c:v>
                </c:pt>
                <c:pt idx="635">
                  <c:v>33.379876796714576</c:v>
                </c:pt>
                <c:pt idx="636">
                  <c:v>33.412731006160165</c:v>
                </c:pt>
                <c:pt idx="637">
                  <c:v>33.445585215605746</c:v>
                </c:pt>
                <c:pt idx="638">
                  <c:v>33.478439425051334</c:v>
                </c:pt>
                <c:pt idx="639">
                  <c:v>33.511293634496923</c:v>
                </c:pt>
                <c:pt idx="640">
                  <c:v>33.544147843942504</c:v>
                </c:pt>
                <c:pt idx="641">
                  <c:v>33.577002053388092</c:v>
                </c:pt>
                <c:pt idx="642">
                  <c:v>33.609856262833674</c:v>
                </c:pt>
                <c:pt idx="643">
                  <c:v>33.642710472279262</c:v>
                </c:pt>
                <c:pt idx="644">
                  <c:v>33.675564681724843</c:v>
                </c:pt>
                <c:pt idx="645">
                  <c:v>33.708418891170432</c:v>
                </c:pt>
                <c:pt idx="646">
                  <c:v>33.741273100616013</c:v>
                </c:pt>
                <c:pt idx="647">
                  <c:v>33.774127310061601</c:v>
                </c:pt>
                <c:pt idx="648">
                  <c:v>33.80698151950719</c:v>
                </c:pt>
                <c:pt idx="649">
                  <c:v>33.839835728952771</c:v>
                </c:pt>
                <c:pt idx="650">
                  <c:v>33.872689938398359</c:v>
                </c:pt>
                <c:pt idx="651">
                  <c:v>33.905544147843941</c:v>
                </c:pt>
                <c:pt idx="652">
                  <c:v>33.938398357289529</c:v>
                </c:pt>
                <c:pt idx="653">
                  <c:v>34.004106776180699</c:v>
                </c:pt>
                <c:pt idx="654">
                  <c:v>34.036960985626287</c:v>
                </c:pt>
                <c:pt idx="655">
                  <c:v>34.069815195071868</c:v>
                </c:pt>
                <c:pt idx="656">
                  <c:v>34.102669404517457</c:v>
                </c:pt>
                <c:pt idx="657">
                  <c:v>34.135523613963038</c:v>
                </c:pt>
                <c:pt idx="658">
                  <c:v>34.168377823408626</c:v>
                </c:pt>
                <c:pt idx="659">
                  <c:v>34.201232032854207</c:v>
                </c:pt>
                <c:pt idx="660">
                  <c:v>34.234086242299796</c:v>
                </c:pt>
                <c:pt idx="661">
                  <c:v>34.266940451745377</c:v>
                </c:pt>
                <c:pt idx="662">
                  <c:v>34.299794661190965</c:v>
                </c:pt>
                <c:pt idx="663">
                  <c:v>34.332648870636554</c:v>
                </c:pt>
                <c:pt idx="664">
                  <c:v>34.365503080082135</c:v>
                </c:pt>
                <c:pt idx="665">
                  <c:v>34.398357289527723</c:v>
                </c:pt>
                <c:pt idx="666">
                  <c:v>34.431211498973305</c:v>
                </c:pt>
                <c:pt idx="667">
                  <c:v>34.464065708418893</c:v>
                </c:pt>
                <c:pt idx="668">
                  <c:v>34.496919917864474</c:v>
                </c:pt>
                <c:pt idx="669">
                  <c:v>34.529774127310063</c:v>
                </c:pt>
                <c:pt idx="670">
                  <c:v>34.562628336755644</c:v>
                </c:pt>
                <c:pt idx="671">
                  <c:v>34.595482546201232</c:v>
                </c:pt>
                <c:pt idx="672">
                  <c:v>34.628336755646821</c:v>
                </c:pt>
                <c:pt idx="673">
                  <c:v>34.661190965092402</c:v>
                </c:pt>
                <c:pt idx="674">
                  <c:v>34.69404517453799</c:v>
                </c:pt>
                <c:pt idx="675">
                  <c:v>34.726899383983572</c:v>
                </c:pt>
                <c:pt idx="676">
                  <c:v>34.75975359342916</c:v>
                </c:pt>
                <c:pt idx="677">
                  <c:v>34.792607802874741</c:v>
                </c:pt>
                <c:pt idx="678">
                  <c:v>34.82546201232033</c:v>
                </c:pt>
                <c:pt idx="679">
                  <c:v>34.891170431211499</c:v>
                </c:pt>
                <c:pt idx="680">
                  <c:v>34.924024640657088</c:v>
                </c:pt>
                <c:pt idx="681">
                  <c:v>34.956878850102669</c:v>
                </c:pt>
                <c:pt idx="682">
                  <c:v>34.989733059548257</c:v>
                </c:pt>
                <c:pt idx="683">
                  <c:v>35.022587268993838</c:v>
                </c:pt>
                <c:pt idx="684">
                  <c:v>35.055441478439427</c:v>
                </c:pt>
                <c:pt idx="685">
                  <c:v>35.088295687885008</c:v>
                </c:pt>
                <c:pt idx="686">
                  <c:v>35.121149897330596</c:v>
                </c:pt>
                <c:pt idx="687">
                  <c:v>35.154004106776178</c:v>
                </c:pt>
                <c:pt idx="688">
                  <c:v>35.186858316221766</c:v>
                </c:pt>
                <c:pt idx="689">
                  <c:v>35.219712525667354</c:v>
                </c:pt>
                <c:pt idx="690">
                  <c:v>35.252566735112936</c:v>
                </c:pt>
                <c:pt idx="691">
                  <c:v>35.285420944558524</c:v>
                </c:pt>
                <c:pt idx="692">
                  <c:v>35.318275154004105</c:v>
                </c:pt>
                <c:pt idx="693">
                  <c:v>35.351129363449694</c:v>
                </c:pt>
                <c:pt idx="694">
                  <c:v>35.383983572895275</c:v>
                </c:pt>
                <c:pt idx="695">
                  <c:v>35.416837782340863</c:v>
                </c:pt>
                <c:pt idx="696">
                  <c:v>35.449691991786445</c:v>
                </c:pt>
                <c:pt idx="697">
                  <c:v>35.482546201232033</c:v>
                </c:pt>
                <c:pt idx="698">
                  <c:v>35.515400410677621</c:v>
                </c:pt>
                <c:pt idx="699">
                  <c:v>35.548254620123203</c:v>
                </c:pt>
                <c:pt idx="700">
                  <c:v>35.581108829568791</c:v>
                </c:pt>
                <c:pt idx="701">
                  <c:v>35.613963039014372</c:v>
                </c:pt>
                <c:pt idx="702">
                  <c:v>35.646817248459961</c:v>
                </c:pt>
                <c:pt idx="703">
                  <c:v>35.679671457905542</c:v>
                </c:pt>
                <c:pt idx="704">
                  <c:v>35.71252566735113</c:v>
                </c:pt>
                <c:pt idx="705">
                  <c:v>35.745379876796711</c:v>
                </c:pt>
                <c:pt idx="706">
                  <c:v>35.7782340862423</c:v>
                </c:pt>
                <c:pt idx="707">
                  <c:v>35.811088295687888</c:v>
                </c:pt>
                <c:pt idx="708">
                  <c:v>35.843942505133469</c:v>
                </c:pt>
                <c:pt idx="709">
                  <c:v>35.876796714579058</c:v>
                </c:pt>
                <c:pt idx="710">
                  <c:v>35.909650924024639</c:v>
                </c:pt>
                <c:pt idx="711">
                  <c:v>35.942505133470227</c:v>
                </c:pt>
                <c:pt idx="712">
                  <c:v>35.975359342915809</c:v>
                </c:pt>
                <c:pt idx="713">
                  <c:v>36.008213552361397</c:v>
                </c:pt>
                <c:pt idx="714">
                  <c:v>36.041067761806978</c:v>
                </c:pt>
                <c:pt idx="715">
                  <c:v>36.073921971252567</c:v>
                </c:pt>
                <c:pt idx="716">
                  <c:v>36.106776180698155</c:v>
                </c:pt>
                <c:pt idx="717">
                  <c:v>36.139630390143736</c:v>
                </c:pt>
                <c:pt idx="718">
                  <c:v>36.172484599589325</c:v>
                </c:pt>
                <c:pt idx="719">
                  <c:v>36.238193018480494</c:v>
                </c:pt>
                <c:pt idx="720">
                  <c:v>36.303901437371664</c:v>
                </c:pt>
                <c:pt idx="721">
                  <c:v>36.336755646817245</c:v>
                </c:pt>
                <c:pt idx="722">
                  <c:v>36.369609856262834</c:v>
                </c:pt>
                <c:pt idx="723">
                  <c:v>36.402464065708422</c:v>
                </c:pt>
                <c:pt idx="724">
                  <c:v>36.435318275154003</c:v>
                </c:pt>
                <c:pt idx="725">
                  <c:v>36.501026694045173</c:v>
                </c:pt>
                <c:pt idx="726">
                  <c:v>36.533880903490761</c:v>
                </c:pt>
                <c:pt idx="727">
                  <c:v>36.566735112936342</c:v>
                </c:pt>
                <c:pt idx="728">
                  <c:v>36.599589322381931</c:v>
                </c:pt>
                <c:pt idx="729">
                  <c:v>36.632443531827512</c:v>
                </c:pt>
                <c:pt idx="730">
                  <c:v>36.6652977412731</c:v>
                </c:pt>
                <c:pt idx="731">
                  <c:v>36.698151950718689</c:v>
                </c:pt>
                <c:pt idx="732">
                  <c:v>36.73100616016427</c:v>
                </c:pt>
                <c:pt idx="733">
                  <c:v>36.763860369609858</c:v>
                </c:pt>
                <c:pt idx="734">
                  <c:v>36.79671457905544</c:v>
                </c:pt>
                <c:pt idx="735">
                  <c:v>36.829568788501028</c:v>
                </c:pt>
                <c:pt idx="736">
                  <c:v>36.862422997946609</c:v>
                </c:pt>
                <c:pt idx="737">
                  <c:v>36.895277207392198</c:v>
                </c:pt>
                <c:pt idx="738">
                  <c:v>36.928131416837779</c:v>
                </c:pt>
                <c:pt idx="739">
                  <c:v>36.960985626283367</c:v>
                </c:pt>
                <c:pt idx="740">
                  <c:v>36.993839835728956</c:v>
                </c:pt>
                <c:pt idx="741">
                  <c:v>37.026694045174537</c:v>
                </c:pt>
                <c:pt idx="742">
                  <c:v>37.059548254620125</c:v>
                </c:pt>
                <c:pt idx="743">
                  <c:v>37.092402464065707</c:v>
                </c:pt>
                <c:pt idx="744">
                  <c:v>37.125256673511295</c:v>
                </c:pt>
                <c:pt idx="745">
                  <c:v>37.223819301848046</c:v>
                </c:pt>
                <c:pt idx="746">
                  <c:v>37.256673511293634</c:v>
                </c:pt>
                <c:pt idx="747">
                  <c:v>37.289527720739223</c:v>
                </c:pt>
                <c:pt idx="748">
                  <c:v>37.322381930184804</c:v>
                </c:pt>
                <c:pt idx="749">
                  <c:v>37.355236139630392</c:v>
                </c:pt>
                <c:pt idx="750">
                  <c:v>37.388090349075974</c:v>
                </c:pt>
                <c:pt idx="751">
                  <c:v>37.420944558521562</c:v>
                </c:pt>
                <c:pt idx="752">
                  <c:v>37.453798767967143</c:v>
                </c:pt>
                <c:pt idx="753">
                  <c:v>37.486652977412732</c:v>
                </c:pt>
                <c:pt idx="754">
                  <c:v>37.519507186858313</c:v>
                </c:pt>
                <c:pt idx="755">
                  <c:v>37.552361396303901</c:v>
                </c:pt>
                <c:pt idx="756">
                  <c:v>37.585215605749489</c:v>
                </c:pt>
                <c:pt idx="757">
                  <c:v>37.618069815195071</c:v>
                </c:pt>
                <c:pt idx="758">
                  <c:v>37.650924024640659</c:v>
                </c:pt>
                <c:pt idx="759">
                  <c:v>37.68377823408624</c:v>
                </c:pt>
                <c:pt idx="760">
                  <c:v>37.716632443531829</c:v>
                </c:pt>
                <c:pt idx="761">
                  <c:v>37.74948665297741</c:v>
                </c:pt>
                <c:pt idx="762">
                  <c:v>37.782340862422998</c:v>
                </c:pt>
                <c:pt idx="763">
                  <c:v>37.81519507186858</c:v>
                </c:pt>
                <c:pt idx="764">
                  <c:v>37.848049281314168</c:v>
                </c:pt>
                <c:pt idx="765">
                  <c:v>37.880903490759756</c:v>
                </c:pt>
                <c:pt idx="766">
                  <c:v>37.913757700205338</c:v>
                </c:pt>
                <c:pt idx="767">
                  <c:v>37.946611909650926</c:v>
                </c:pt>
                <c:pt idx="768">
                  <c:v>37.979466119096507</c:v>
                </c:pt>
                <c:pt idx="769">
                  <c:v>38.012320328542096</c:v>
                </c:pt>
                <c:pt idx="770">
                  <c:v>38.045174537987677</c:v>
                </c:pt>
                <c:pt idx="771">
                  <c:v>38.078028747433265</c:v>
                </c:pt>
                <c:pt idx="772">
                  <c:v>38.110882956878854</c:v>
                </c:pt>
                <c:pt idx="773">
                  <c:v>38.143737166324435</c:v>
                </c:pt>
                <c:pt idx="774">
                  <c:v>38.176591375770023</c:v>
                </c:pt>
                <c:pt idx="775">
                  <c:v>38.209445585215605</c:v>
                </c:pt>
                <c:pt idx="776">
                  <c:v>38.242299794661193</c:v>
                </c:pt>
                <c:pt idx="777">
                  <c:v>38.275154004106774</c:v>
                </c:pt>
                <c:pt idx="778">
                  <c:v>38.308008213552363</c:v>
                </c:pt>
                <c:pt idx="779">
                  <c:v>38.340862422997944</c:v>
                </c:pt>
                <c:pt idx="780">
                  <c:v>38.373716632443532</c:v>
                </c:pt>
                <c:pt idx="781">
                  <c:v>38.406570841889121</c:v>
                </c:pt>
                <c:pt idx="782">
                  <c:v>38.439425051334702</c:v>
                </c:pt>
                <c:pt idx="783">
                  <c:v>38.47227926078029</c:v>
                </c:pt>
                <c:pt idx="784">
                  <c:v>38.505133470225871</c:v>
                </c:pt>
                <c:pt idx="785">
                  <c:v>38.53798767967146</c:v>
                </c:pt>
                <c:pt idx="786">
                  <c:v>38.570841889117041</c:v>
                </c:pt>
                <c:pt idx="787">
                  <c:v>38.603696098562629</c:v>
                </c:pt>
                <c:pt idx="788">
                  <c:v>38.636550308008211</c:v>
                </c:pt>
                <c:pt idx="789">
                  <c:v>38.669404517453799</c:v>
                </c:pt>
                <c:pt idx="790">
                  <c:v>38.702258726899387</c:v>
                </c:pt>
                <c:pt idx="791">
                  <c:v>38.735112936344969</c:v>
                </c:pt>
                <c:pt idx="792">
                  <c:v>38.767967145790557</c:v>
                </c:pt>
                <c:pt idx="793">
                  <c:v>38.800821355236138</c:v>
                </c:pt>
                <c:pt idx="794">
                  <c:v>38.833675564681727</c:v>
                </c:pt>
                <c:pt idx="795">
                  <c:v>38.866529774127308</c:v>
                </c:pt>
                <c:pt idx="796">
                  <c:v>38.899383983572896</c:v>
                </c:pt>
                <c:pt idx="797">
                  <c:v>38.932238193018478</c:v>
                </c:pt>
                <c:pt idx="798">
                  <c:v>38.965092402464066</c:v>
                </c:pt>
                <c:pt idx="799">
                  <c:v>38.997946611909654</c:v>
                </c:pt>
                <c:pt idx="800">
                  <c:v>39.030800821355236</c:v>
                </c:pt>
                <c:pt idx="801">
                  <c:v>39.063655030800824</c:v>
                </c:pt>
                <c:pt idx="802">
                  <c:v>39.096509240246405</c:v>
                </c:pt>
                <c:pt idx="803">
                  <c:v>39.129363449691994</c:v>
                </c:pt>
                <c:pt idx="804">
                  <c:v>39.162217659137575</c:v>
                </c:pt>
                <c:pt idx="805">
                  <c:v>39.195071868583163</c:v>
                </c:pt>
                <c:pt idx="806">
                  <c:v>39.227926078028744</c:v>
                </c:pt>
                <c:pt idx="807">
                  <c:v>39.260780287474333</c:v>
                </c:pt>
                <c:pt idx="808">
                  <c:v>39.293634496919921</c:v>
                </c:pt>
                <c:pt idx="809">
                  <c:v>39.326488706365502</c:v>
                </c:pt>
                <c:pt idx="810">
                  <c:v>39.359342915811091</c:v>
                </c:pt>
                <c:pt idx="811">
                  <c:v>39.392197125256672</c:v>
                </c:pt>
                <c:pt idx="812">
                  <c:v>39.42505133470226</c:v>
                </c:pt>
                <c:pt idx="813">
                  <c:v>39.457905544147842</c:v>
                </c:pt>
                <c:pt idx="814">
                  <c:v>39.49075975359343</c:v>
                </c:pt>
                <c:pt idx="815">
                  <c:v>39.523613963039011</c:v>
                </c:pt>
                <c:pt idx="816">
                  <c:v>39.5564681724846</c:v>
                </c:pt>
                <c:pt idx="817">
                  <c:v>39.589322381930188</c:v>
                </c:pt>
                <c:pt idx="818">
                  <c:v>39.622176591375769</c:v>
                </c:pt>
                <c:pt idx="819">
                  <c:v>39.655030800821358</c:v>
                </c:pt>
                <c:pt idx="820">
                  <c:v>39.687885010266939</c:v>
                </c:pt>
                <c:pt idx="821">
                  <c:v>39.720739219712527</c:v>
                </c:pt>
                <c:pt idx="822">
                  <c:v>39.753593429158109</c:v>
                </c:pt>
                <c:pt idx="823">
                  <c:v>39.786447638603697</c:v>
                </c:pt>
                <c:pt idx="824">
                  <c:v>39.819301848049278</c:v>
                </c:pt>
                <c:pt idx="825">
                  <c:v>39.852156057494867</c:v>
                </c:pt>
                <c:pt idx="826">
                  <c:v>39.885010266940455</c:v>
                </c:pt>
                <c:pt idx="827">
                  <c:v>39.917864476386036</c:v>
                </c:pt>
                <c:pt idx="828">
                  <c:v>39.950718685831625</c:v>
                </c:pt>
                <c:pt idx="829">
                  <c:v>39.983572895277206</c:v>
                </c:pt>
                <c:pt idx="830">
                  <c:v>40.016427104722794</c:v>
                </c:pt>
                <c:pt idx="831">
                  <c:v>40.049281314168375</c:v>
                </c:pt>
                <c:pt idx="832">
                  <c:v>40.082135523613964</c:v>
                </c:pt>
                <c:pt idx="833">
                  <c:v>40.114989733059545</c:v>
                </c:pt>
                <c:pt idx="834">
                  <c:v>40.147843942505133</c:v>
                </c:pt>
                <c:pt idx="835">
                  <c:v>40.180698151950722</c:v>
                </c:pt>
                <c:pt idx="836">
                  <c:v>40.213552361396303</c:v>
                </c:pt>
                <c:pt idx="837">
                  <c:v>40.246406570841891</c:v>
                </c:pt>
                <c:pt idx="838">
                  <c:v>40.279260780287473</c:v>
                </c:pt>
                <c:pt idx="839">
                  <c:v>40.312114989733061</c:v>
                </c:pt>
                <c:pt idx="840">
                  <c:v>40.344969199178642</c:v>
                </c:pt>
                <c:pt idx="841">
                  <c:v>40.377823408624231</c:v>
                </c:pt>
                <c:pt idx="842">
                  <c:v>40.410677618069812</c:v>
                </c:pt>
                <c:pt idx="843">
                  <c:v>40.4435318275154</c:v>
                </c:pt>
                <c:pt idx="844">
                  <c:v>40.476386036960989</c:v>
                </c:pt>
                <c:pt idx="845">
                  <c:v>40.50924024640657</c:v>
                </c:pt>
                <c:pt idx="846">
                  <c:v>40.542094455852158</c:v>
                </c:pt>
                <c:pt idx="847">
                  <c:v>40.57494866529774</c:v>
                </c:pt>
                <c:pt idx="848">
                  <c:v>40.607802874743328</c:v>
                </c:pt>
                <c:pt idx="849">
                  <c:v>40.640657084188909</c:v>
                </c:pt>
                <c:pt idx="850">
                  <c:v>40.673511293634498</c:v>
                </c:pt>
                <c:pt idx="851">
                  <c:v>40.706365503080079</c:v>
                </c:pt>
                <c:pt idx="852">
                  <c:v>40.739219712525667</c:v>
                </c:pt>
                <c:pt idx="853">
                  <c:v>40.772073921971256</c:v>
                </c:pt>
                <c:pt idx="854">
                  <c:v>40.804928131416837</c:v>
                </c:pt>
                <c:pt idx="855">
                  <c:v>40.837782340862425</c:v>
                </c:pt>
                <c:pt idx="856">
                  <c:v>40.870636550308006</c:v>
                </c:pt>
                <c:pt idx="857">
                  <c:v>40.903490759753595</c:v>
                </c:pt>
                <c:pt idx="858">
                  <c:v>40.936344969199176</c:v>
                </c:pt>
                <c:pt idx="859">
                  <c:v>40.969199178644764</c:v>
                </c:pt>
                <c:pt idx="860">
                  <c:v>41.002053388090346</c:v>
                </c:pt>
                <c:pt idx="861">
                  <c:v>41.034907597535934</c:v>
                </c:pt>
                <c:pt idx="862">
                  <c:v>41.067761806981522</c:v>
                </c:pt>
                <c:pt idx="863">
                  <c:v>41.100616016427104</c:v>
                </c:pt>
                <c:pt idx="864">
                  <c:v>41.133470225872692</c:v>
                </c:pt>
                <c:pt idx="865">
                  <c:v>41.166324435318273</c:v>
                </c:pt>
                <c:pt idx="866">
                  <c:v>41.199178644763862</c:v>
                </c:pt>
                <c:pt idx="867">
                  <c:v>41.232032854209443</c:v>
                </c:pt>
                <c:pt idx="868">
                  <c:v>41.264887063655031</c:v>
                </c:pt>
                <c:pt idx="869">
                  <c:v>41.297741273100613</c:v>
                </c:pt>
                <c:pt idx="870">
                  <c:v>41.330595482546201</c:v>
                </c:pt>
                <c:pt idx="871">
                  <c:v>41.363449691991789</c:v>
                </c:pt>
                <c:pt idx="872">
                  <c:v>41.396303901437371</c:v>
                </c:pt>
                <c:pt idx="873">
                  <c:v>41.429158110882959</c:v>
                </c:pt>
                <c:pt idx="874">
                  <c:v>41.46201232032854</c:v>
                </c:pt>
                <c:pt idx="875">
                  <c:v>41.494866529774129</c:v>
                </c:pt>
                <c:pt idx="876">
                  <c:v>41.52772073921971</c:v>
                </c:pt>
                <c:pt idx="877">
                  <c:v>41.560574948665298</c:v>
                </c:pt>
                <c:pt idx="878">
                  <c:v>41.593429158110879</c:v>
                </c:pt>
                <c:pt idx="879">
                  <c:v>41.626283367556468</c:v>
                </c:pt>
                <c:pt idx="880">
                  <c:v>41.659137577002056</c:v>
                </c:pt>
                <c:pt idx="881">
                  <c:v>41.691991786447637</c:v>
                </c:pt>
                <c:pt idx="882">
                  <c:v>41.724845995893226</c:v>
                </c:pt>
                <c:pt idx="883">
                  <c:v>41.757700205338807</c:v>
                </c:pt>
                <c:pt idx="884">
                  <c:v>41.790554414784395</c:v>
                </c:pt>
                <c:pt idx="885">
                  <c:v>41.823408624229977</c:v>
                </c:pt>
                <c:pt idx="886">
                  <c:v>41.856262833675565</c:v>
                </c:pt>
                <c:pt idx="887">
                  <c:v>41.889117043121146</c:v>
                </c:pt>
                <c:pt idx="888">
                  <c:v>41.921971252566735</c:v>
                </c:pt>
                <c:pt idx="889">
                  <c:v>41.954825462012323</c:v>
                </c:pt>
                <c:pt idx="890">
                  <c:v>41.987679671457904</c:v>
                </c:pt>
                <c:pt idx="891">
                  <c:v>42.020533880903493</c:v>
                </c:pt>
                <c:pt idx="892">
                  <c:v>42.053388090349074</c:v>
                </c:pt>
                <c:pt idx="893">
                  <c:v>42.086242299794662</c:v>
                </c:pt>
                <c:pt idx="894">
                  <c:v>42.119096509240244</c:v>
                </c:pt>
                <c:pt idx="895">
                  <c:v>42.151950718685832</c:v>
                </c:pt>
                <c:pt idx="896">
                  <c:v>42.18480492813142</c:v>
                </c:pt>
                <c:pt idx="897">
                  <c:v>42.217659137577002</c:v>
                </c:pt>
                <c:pt idx="898">
                  <c:v>42.25051334702259</c:v>
                </c:pt>
                <c:pt idx="899">
                  <c:v>42.283367556468171</c:v>
                </c:pt>
                <c:pt idx="900">
                  <c:v>42.31622176591376</c:v>
                </c:pt>
                <c:pt idx="901">
                  <c:v>42.349075975359341</c:v>
                </c:pt>
                <c:pt idx="902">
                  <c:v>42.381930184804929</c:v>
                </c:pt>
                <c:pt idx="903">
                  <c:v>42.414784394250511</c:v>
                </c:pt>
                <c:pt idx="904">
                  <c:v>42.447638603696099</c:v>
                </c:pt>
                <c:pt idx="905">
                  <c:v>42.480492813141687</c:v>
                </c:pt>
                <c:pt idx="906">
                  <c:v>42.513347022587268</c:v>
                </c:pt>
                <c:pt idx="907">
                  <c:v>42.546201232032857</c:v>
                </c:pt>
                <c:pt idx="908">
                  <c:v>42.579055441478438</c:v>
                </c:pt>
                <c:pt idx="909">
                  <c:v>42.611909650924026</c:v>
                </c:pt>
                <c:pt idx="910">
                  <c:v>42.644763860369608</c:v>
                </c:pt>
                <c:pt idx="911">
                  <c:v>42.677618069815196</c:v>
                </c:pt>
                <c:pt idx="912">
                  <c:v>42.710472279260777</c:v>
                </c:pt>
                <c:pt idx="913">
                  <c:v>42.743326488706366</c:v>
                </c:pt>
                <c:pt idx="914">
                  <c:v>42.776180698151954</c:v>
                </c:pt>
                <c:pt idx="915">
                  <c:v>42.809034907597535</c:v>
                </c:pt>
                <c:pt idx="916">
                  <c:v>42.841889117043124</c:v>
                </c:pt>
                <c:pt idx="917">
                  <c:v>42.874743326488705</c:v>
                </c:pt>
                <c:pt idx="918">
                  <c:v>42.907597535934293</c:v>
                </c:pt>
                <c:pt idx="919">
                  <c:v>42.940451745379875</c:v>
                </c:pt>
                <c:pt idx="920">
                  <c:v>42.973305954825463</c:v>
                </c:pt>
                <c:pt idx="921">
                  <c:v>43.006160164271044</c:v>
                </c:pt>
                <c:pt idx="922">
                  <c:v>43.039014373716633</c:v>
                </c:pt>
                <c:pt idx="923">
                  <c:v>43.071868583162221</c:v>
                </c:pt>
                <c:pt idx="924">
                  <c:v>43.104722792607802</c:v>
                </c:pt>
                <c:pt idx="925">
                  <c:v>43.137577002053391</c:v>
                </c:pt>
                <c:pt idx="926">
                  <c:v>43.170431211498972</c:v>
                </c:pt>
                <c:pt idx="927">
                  <c:v>43.20328542094456</c:v>
                </c:pt>
                <c:pt idx="928">
                  <c:v>43.236139630390142</c:v>
                </c:pt>
                <c:pt idx="929">
                  <c:v>43.26899383983573</c:v>
                </c:pt>
                <c:pt idx="930">
                  <c:v>43.301848049281311</c:v>
                </c:pt>
                <c:pt idx="931">
                  <c:v>43.3347022587269</c:v>
                </c:pt>
                <c:pt idx="932">
                  <c:v>43.367556468172488</c:v>
                </c:pt>
                <c:pt idx="933">
                  <c:v>43.400410677618069</c:v>
                </c:pt>
                <c:pt idx="934">
                  <c:v>43.433264887063658</c:v>
                </c:pt>
                <c:pt idx="935">
                  <c:v>43.466119096509239</c:v>
                </c:pt>
                <c:pt idx="936">
                  <c:v>43.498973305954827</c:v>
                </c:pt>
                <c:pt idx="937">
                  <c:v>43.531827515400408</c:v>
                </c:pt>
                <c:pt idx="938">
                  <c:v>43.564681724845997</c:v>
                </c:pt>
                <c:pt idx="939">
                  <c:v>43.597535934291578</c:v>
                </c:pt>
                <c:pt idx="940">
                  <c:v>43.630390143737166</c:v>
                </c:pt>
                <c:pt idx="941">
                  <c:v>43.663244353182755</c:v>
                </c:pt>
                <c:pt idx="942">
                  <c:v>43.696098562628336</c:v>
                </c:pt>
                <c:pt idx="943">
                  <c:v>43.728952772073924</c:v>
                </c:pt>
                <c:pt idx="944">
                  <c:v>43.761806981519506</c:v>
                </c:pt>
                <c:pt idx="945">
                  <c:v>43.794661190965094</c:v>
                </c:pt>
                <c:pt idx="946">
                  <c:v>43.827515400410675</c:v>
                </c:pt>
                <c:pt idx="947">
                  <c:v>43.860369609856264</c:v>
                </c:pt>
                <c:pt idx="948">
                  <c:v>43.893223819301845</c:v>
                </c:pt>
                <c:pt idx="949">
                  <c:v>43.926078028747433</c:v>
                </c:pt>
                <c:pt idx="950">
                  <c:v>43.958932238193022</c:v>
                </c:pt>
                <c:pt idx="951">
                  <c:v>43.991786447638603</c:v>
                </c:pt>
                <c:pt idx="952">
                  <c:v>44.024640657084191</c:v>
                </c:pt>
                <c:pt idx="953">
                  <c:v>44.057494866529773</c:v>
                </c:pt>
                <c:pt idx="954">
                  <c:v>44.090349075975361</c:v>
                </c:pt>
                <c:pt idx="955">
                  <c:v>44.123203285420942</c:v>
                </c:pt>
                <c:pt idx="956">
                  <c:v>44.156057494866531</c:v>
                </c:pt>
                <c:pt idx="957">
                  <c:v>44.188911704312112</c:v>
                </c:pt>
                <c:pt idx="958">
                  <c:v>44.2217659137577</c:v>
                </c:pt>
                <c:pt idx="959">
                  <c:v>44.254620123203289</c:v>
                </c:pt>
                <c:pt idx="960">
                  <c:v>44.28747433264887</c:v>
                </c:pt>
                <c:pt idx="961">
                  <c:v>44.320328542094458</c:v>
                </c:pt>
                <c:pt idx="962">
                  <c:v>44.353182751540039</c:v>
                </c:pt>
                <c:pt idx="963">
                  <c:v>44.386036960985628</c:v>
                </c:pt>
                <c:pt idx="964">
                  <c:v>44.418891170431209</c:v>
                </c:pt>
                <c:pt idx="965">
                  <c:v>44.451745379876797</c:v>
                </c:pt>
                <c:pt idx="966">
                  <c:v>44.484599589322379</c:v>
                </c:pt>
                <c:pt idx="967">
                  <c:v>44.517453798767967</c:v>
                </c:pt>
                <c:pt idx="968">
                  <c:v>44.550308008213555</c:v>
                </c:pt>
                <c:pt idx="969">
                  <c:v>44.583162217659137</c:v>
                </c:pt>
                <c:pt idx="970">
                  <c:v>44.616016427104725</c:v>
                </c:pt>
                <c:pt idx="971">
                  <c:v>44.648870636550306</c:v>
                </c:pt>
                <c:pt idx="972">
                  <c:v>44.681724845995895</c:v>
                </c:pt>
                <c:pt idx="973">
                  <c:v>44.714579055441476</c:v>
                </c:pt>
                <c:pt idx="974">
                  <c:v>44.747433264887064</c:v>
                </c:pt>
                <c:pt idx="975">
                  <c:v>44.780287474332646</c:v>
                </c:pt>
                <c:pt idx="976">
                  <c:v>44.813141683778234</c:v>
                </c:pt>
                <c:pt idx="977">
                  <c:v>44.845995893223822</c:v>
                </c:pt>
                <c:pt idx="978">
                  <c:v>44.878850102669404</c:v>
                </c:pt>
                <c:pt idx="979">
                  <c:v>44.911704312114992</c:v>
                </c:pt>
                <c:pt idx="980">
                  <c:v>44.944558521560573</c:v>
                </c:pt>
                <c:pt idx="981">
                  <c:v>44.977412731006162</c:v>
                </c:pt>
                <c:pt idx="982">
                  <c:v>45.010266940451743</c:v>
                </c:pt>
                <c:pt idx="983">
                  <c:v>45.043121149897331</c:v>
                </c:pt>
                <c:pt idx="984">
                  <c:v>45.075975359342912</c:v>
                </c:pt>
                <c:pt idx="985">
                  <c:v>45.108829568788501</c:v>
                </c:pt>
                <c:pt idx="986">
                  <c:v>45.141683778234089</c:v>
                </c:pt>
                <c:pt idx="987">
                  <c:v>45.17453798767967</c:v>
                </c:pt>
                <c:pt idx="988">
                  <c:v>45.207392197125259</c:v>
                </c:pt>
                <c:pt idx="989">
                  <c:v>45.24024640657084</c:v>
                </c:pt>
                <c:pt idx="990">
                  <c:v>45.273100616016428</c:v>
                </c:pt>
                <c:pt idx="991">
                  <c:v>45.30595482546201</c:v>
                </c:pt>
                <c:pt idx="992">
                  <c:v>45.338809034907598</c:v>
                </c:pt>
                <c:pt idx="993">
                  <c:v>45.371663244353179</c:v>
                </c:pt>
                <c:pt idx="994">
                  <c:v>45.404517453798768</c:v>
                </c:pt>
                <c:pt idx="995">
                  <c:v>45.437371663244356</c:v>
                </c:pt>
                <c:pt idx="996">
                  <c:v>45.470225872689937</c:v>
                </c:pt>
                <c:pt idx="997">
                  <c:v>45.503080082135526</c:v>
                </c:pt>
                <c:pt idx="998">
                  <c:v>45.535934291581107</c:v>
                </c:pt>
                <c:pt idx="999">
                  <c:v>45.568788501026695</c:v>
                </c:pt>
                <c:pt idx="1000">
                  <c:v>45.601642710472277</c:v>
                </c:pt>
                <c:pt idx="1001">
                  <c:v>45.634496919917865</c:v>
                </c:pt>
                <c:pt idx="1002">
                  <c:v>45.667351129363446</c:v>
                </c:pt>
                <c:pt idx="1003">
                  <c:v>45.700205338809035</c:v>
                </c:pt>
                <c:pt idx="1004">
                  <c:v>45.733059548254623</c:v>
                </c:pt>
                <c:pt idx="1005">
                  <c:v>45.765913757700204</c:v>
                </c:pt>
                <c:pt idx="1006">
                  <c:v>45.798767967145793</c:v>
                </c:pt>
                <c:pt idx="1007">
                  <c:v>45.831622176591374</c:v>
                </c:pt>
                <c:pt idx="1008">
                  <c:v>45.864476386036962</c:v>
                </c:pt>
                <c:pt idx="1009">
                  <c:v>45.897330595482543</c:v>
                </c:pt>
                <c:pt idx="1010">
                  <c:v>45.930184804928132</c:v>
                </c:pt>
                <c:pt idx="1011">
                  <c:v>45.963039014373713</c:v>
                </c:pt>
                <c:pt idx="1012">
                  <c:v>45.995893223819301</c:v>
                </c:pt>
                <c:pt idx="1013">
                  <c:v>46.02874743326489</c:v>
                </c:pt>
                <c:pt idx="1014">
                  <c:v>46.061601642710471</c:v>
                </c:pt>
                <c:pt idx="1015">
                  <c:v>46.094455852156059</c:v>
                </c:pt>
                <c:pt idx="1016">
                  <c:v>46.127310061601641</c:v>
                </c:pt>
                <c:pt idx="1017">
                  <c:v>46.160164271047229</c:v>
                </c:pt>
                <c:pt idx="1018">
                  <c:v>46.19301848049281</c:v>
                </c:pt>
                <c:pt idx="1019">
                  <c:v>46.225872689938399</c:v>
                </c:pt>
                <c:pt idx="1020">
                  <c:v>46.258726899383987</c:v>
                </c:pt>
                <c:pt idx="1021">
                  <c:v>46.291581108829568</c:v>
                </c:pt>
                <c:pt idx="1022">
                  <c:v>46.324435318275157</c:v>
                </c:pt>
                <c:pt idx="1023">
                  <c:v>46.357289527720738</c:v>
                </c:pt>
                <c:pt idx="1024">
                  <c:v>46.390143737166326</c:v>
                </c:pt>
                <c:pt idx="1025">
                  <c:v>46.422997946611908</c:v>
                </c:pt>
                <c:pt idx="1026">
                  <c:v>46.455852156057496</c:v>
                </c:pt>
                <c:pt idx="1027">
                  <c:v>46.488706365503077</c:v>
                </c:pt>
                <c:pt idx="1028">
                  <c:v>46.521560574948666</c:v>
                </c:pt>
                <c:pt idx="1029">
                  <c:v>46.554414784394254</c:v>
                </c:pt>
                <c:pt idx="1030">
                  <c:v>46.587268993839835</c:v>
                </c:pt>
                <c:pt idx="1031">
                  <c:v>46.620123203285424</c:v>
                </c:pt>
                <c:pt idx="1032">
                  <c:v>46.652977412731005</c:v>
                </c:pt>
                <c:pt idx="1033">
                  <c:v>46.685831622176593</c:v>
                </c:pt>
                <c:pt idx="1034">
                  <c:v>46.718685831622174</c:v>
                </c:pt>
                <c:pt idx="1035">
                  <c:v>46.751540041067763</c:v>
                </c:pt>
                <c:pt idx="1036">
                  <c:v>46.784394250513344</c:v>
                </c:pt>
                <c:pt idx="1037">
                  <c:v>46.817248459958932</c:v>
                </c:pt>
                <c:pt idx="1038">
                  <c:v>46.850102669404521</c:v>
                </c:pt>
                <c:pt idx="1039">
                  <c:v>46.882956878850102</c:v>
                </c:pt>
                <c:pt idx="1040">
                  <c:v>46.91581108829569</c:v>
                </c:pt>
                <c:pt idx="1041">
                  <c:v>46.948665297741272</c:v>
                </c:pt>
                <c:pt idx="1042">
                  <c:v>46.98151950718686</c:v>
                </c:pt>
                <c:pt idx="1043">
                  <c:v>47.014373716632441</c:v>
                </c:pt>
                <c:pt idx="1044">
                  <c:v>47.04722792607803</c:v>
                </c:pt>
                <c:pt idx="1045">
                  <c:v>47.080082135523611</c:v>
                </c:pt>
                <c:pt idx="1046">
                  <c:v>47.112936344969199</c:v>
                </c:pt>
                <c:pt idx="1047">
                  <c:v>47.145790554414788</c:v>
                </c:pt>
                <c:pt idx="1048">
                  <c:v>47.178644763860369</c:v>
                </c:pt>
                <c:pt idx="1049">
                  <c:v>47.211498973305957</c:v>
                </c:pt>
                <c:pt idx="1050">
                  <c:v>47.244353182751539</c:v>
                </c:pt>
                <c:pt idx="1051">
                  <c:v>47.277207392197127</c:v>
                </c:pt>
                <c:pt idx="1052">
                  <c:v>47.310061601642708</c:v>
                </c:pt>
                <c:pt idx="1053">
                  <c:v>47.342915811088297</c:v>
                </c:pt>
                <c:pt idx="1054">
                  <c:v>47.375770020533878</c:v>
                </c:pt>
                <c:pt idx="1055">
                  <c:v>47.408624229979466</c:v>
                </c:pt>
                <c:pt idx="1056">
                  <c:v>47.441478439425055</c:v>
                </c:pt>
                <c:pt idx="1057">
                  <c:v>47.474332648870636</c:v>
                </c:pt>
                <c:pt idx="1058">
                  <c:v>47.507186858316224</c:v>
                </c:pt>
                <c:pt idx="1059">
                  <c:v>47.540041067761805</c:v>
                </c:pt>
                <c:pt idx="1060">
                  <c:v>47.572895277207394</c:v>
                </c:pt>
                <c:pt idx="1061">
                  <c:v>47.605749486652975</c:v>
                </c:pt>
                <c:pt idx="1062">
                  <c:v>47.638603696098563</c:v>
                </c:pt>
                <c:pt idx="1063">
                  <c:v>47.671457905544145</c:v>
                </c:pt>
                <c:pt idx="1064">
                  <c:v>47.704312114989733</c:v>
                </c:pt>
                <c:pt idx="1065">
                  <c:v>47.737166324435321</c:v>
                </c:pt>
                <c:pt idx="1066">
                  <c:v>47.770020533880903</c:v>
                </c:pt>
                <c:pt idx="1067">
                  <c:v>47.802874743326491</c:v>
                </c:pt>
                <c:pt idx="1068">
                  <c:v>47.835728952772072</c:v>
                </c:pt>
                <c:pt idx="1069">
                  <c:v>47.868583162217661</c:v>
                </c:pt>
                <c:pt idx="1070">
                  <c:v>47.901437371663242</c:v>
                </c:pt>
                <c:pt idx="1071">
                  <c:v>47.93429158110883</c:v>
                </c:pt>
                <c:pt idx="1072">
                  <c:v>47.967145790554412</c:v>
                </c:pt>
                <c:pt idx="1073">
                  <c:v>48</c:v>
                </c:pt>
                <c:pt idx="1074">
                  <c:v>48.032854209445588</c:v>
                </c:pt>
                <c:pt idx="1075">
                  <c:v>48.06570841889117</c:v>
                </c:pt>
                <c:pt idx="1076">
                  <c:v>48.098562628336758</c:v>
                </c:pt>
                <c:pt idx="1077">
                  <c:v>48.131416837782339</c:v>
                </c:pt>
                <c:pt idx="1078">
                  <c:v>48.164271047227928</c:v>
                </c:pt>
                <c:pt idx="1079">
                  <c:v>48.197125256673509</c:v>
                </c:pt>
                <c:pt idx="1080">
                  <c:v>48.229979466119097</c:v>
                </c:pt>
                <c:pt idx="1081">
                  <c:v>48.262833675564679</c:v>
                </c:pt>
                <c:pt idx="1082">
                  <c:v>48.295687885010267</c:v>
                </c:pt>
                <c:pt idx="1083">
                  <c:v>48.328542094455855</c:v>
                </c:pt>
                <c:pt idx="1084">
                  <c:v>48.361396303901437</c:v>
                </c:pt>
                <c:pt idx="1085">
                  <c:v>48.394250513347025</c:v>
                </c:pt>
                <c:pt idx="1086">
                  <c:v>48.427104722792606</c:v>
                </c:pt>
                <c:pt idx="1087">
                  <c:v>48.459958932238195</c:v>
                </c:pt>
                <c:pt idx="1088">
                  <c:v>48.492813141683776</c:v>
                </c:pt>
                <c:pt idx="1089">
                  <c:v>48.525667351129364</c:v>
                </c:pt>
                <c:pt idx="1090">
                  <c:v>48.558521560574945</c:v>
                </c:pt>
                <c:pt idx="1091">
                  <c:v>48.591375770020534</c:v>
                </c:pt>
                <c:pt idx="1092">
                  <c:v>48.624229979466122</c:v>
                </c:pt>
                <c:pt idx="1093">
                  <c:v>48.657084188911703</c:v>
                </c:pt>
                <c:pt idx="1094">
                  <c:v>48.689938398357292</c:v>
                </c:pt>
                <c:pt idx="1095">
                  <c:v>48.722792607802873</c:v>
                </c:pt>
                <c:pt idx="1096">
                  <c:v>48.755646817248461</c:v>
                </c:pt>
                <c:pt idx="1097">
                  <c:v>48.788501026694043</c:v>
                </c:pt>
                <c:pt idx="1098">
                  <c:v>48.821355236139631</c:v>
                </c:pt>
                <c:pt idx="1099">
                  <c:v>48.854209445585212</c:v>
                </c:pt>
                <c:pt idx="1100">
                  <c:v>48.887063655030801</c:v>
                </c:pt>
                <c:pt idx="1101">
                  <c:v>48.919917864476389</c:v>
                </c:pt>
                <c:pt idx="1102">
                  <c:v>48.95277207392197</c:v>
                </c:pt>
                <c:pt idx="1103">
                  <c:v>48.985626283367559</c:v>
                </c:pt>
                <c:pt idx="1104">
                  <c:v>49.01848049281314</c:v>
                </c:pt>
                <c:pt idx="1105">
                  <c:v>49.051334702258728</c:v>
                </c:pt>
                <c:pt idx="1106">
                  <c:v>49.08418891170431</c:v>
                </c:pt>
                <c:pt idx="1107">
                  <c:v>49.117043121149898</c:v>
                </c:pt>
                <c:pt idx="1108">
                  <c:v>49.149897330595479</c:v>
                </c:pt>
                <c:pt idx="1109">
                  <c:v>49.182751540041068</c:v>
                </c:pt>
                <c:pt idx="1110">
                  <c:v>49.215605749486656</c:v>
                </c:pt>
                <c:pt idx="1111">
                  <c:v>49.248459958932237</c:v>
                </c:pt>
                <c:pt idx="1112">
                  <c:v>49.281314168377826</c:v>
                </c:pt>
                <c:pt idx="1113">
                  <c:v>49.314168377823407</c:v>
                </c:pt>
                <c:pt idx="1114">
                  <c:v>49.347022587268995</c:v>
                </c:pt>
                <c:pt idx="1115">
                  <c:v>49.379876796714576</c:v>
                </c:pt>
                <c:pt idx="1116">
                  <c:v>49.412731006160165</c:v>
                </c:pt>
                <c:pt idx="1117">
                  <c:v>49.445585215605746</c:v>
                </c:pt>
                <c:pt idx="1118">
                  <c:v>49.478439425051334</c:v>
                </c:pt>
                <c:pt idx="1119">
                  <c:v>49.511293634496923</c:v>
                </c:pt>
                <c:pt idx="1120">
                  <c:v>49.544147843942504</c:v>
                </c:pt>
                <c:pt idx="1121">
                  <c:v>49.577002053388092</c:v>
                </c:pt>
                <c:pt idx="1122">
                  <c:v>49.609856262833674</c:v>
                </c:pt>
                <c:pt idx="1123">
                  <c:v>49.642710472279262</c:v>
                </c:pt>
                <c:pt idx="1124">
                  <c:v>49.675564681724843</c:v>
                </c:pt>
                <c:pt idx="1125">
                  <c:v>49.708418891170432</c:v>
                </c:pt>
                <c:pt idx="1126">
                  <c:v>49.741273100616013</c:v>
                </c:pt>
                <c:pt idx="1127">
                  <c:v>49.774127310061601</c:v>
                </c:pt>
                <c:pt idx="1128">
                  <c:v>49.80698151950719</c:v>
                </c:pt>
                <c:pt idx="1129">
                  <c:v>49.839835728952771</c:v>
                </c:pt>
                <c:pt idx="1130">
                  <c:v>49.872689938398359</c:v>
                </c:pt>
                <c:pt idx="1131">
                  <c:v>49.905544147843941</c:v>
                </c:pt>
                <c:pt idx="1132">
                  <c:v>49.938398357289529</c:v>
                </c:pt>
                <c:pt idx="1133">
                  <c:v>49.97125256673511</c:v>
                </c:pt>
                <c:pt idx="1134">
                  <c:v>50.004106776180699</c:v>
                </c:pt>
                <c:pt idx="1135">
                  <c:v>50.036960985626287</c:v>
                </c:pt>
                <c:pt idx="1136">
                  <c:v>50.069815195071868</c:v>
                </c:pt>
                <c:pt idx="1137">
                  <c:v>50.102669404517457</c:v>
                </c:pt>
                <c:pt idx="1138">
                  <c:v>50.135523613963038</c:v>
                </c:pt>
                <c:pt idx="1139">
                  <c:v>50.168377823408626</c:v>
                </c:pt>
                <c:pt idx="1140">
                  <c:v>50.201232032854207</c:v>
                </c:pt>
                <c:pt idx="1141">
                  <c:v>50.234086242299796</c:v>
                </c:pt>
                <c:pt idx="1142">
                  <c:v>50.266940451745377</c:v>
                </c:pt>
                <c:pt idx="1143">
                  <c:v>50.299794661190965</c:v>
                </c:pt>
                <c:pt idx="1144">
                  <c:v>50.332648870636554</c:v>
                </c:pt>
                <c:pt idx="1145">
                  <c:v>50.365503080082135</c:v>
                </c:pt>
                <c:pt idx="1146">
                  <c:v>50.398357289527723</c:v>
                </c:pt>
                <c:pt idx="1147">
                  <c:v>50.431211498973305</c:v>
                </c:pt>
                <c:pt idx="1148">
                  <c:v>50.464065708418893</c:v>
                </c:pt>
                <c:pt idx="1149">
                  <c:v>50.496919917864474</c:v>
                </c:pt>
                <c:pt idx="1150">
                  <c:v>50.529774127310063</c:v>
                </c:pt>
                <c:pt idx="1151">
                  <c:v>50.562628336755644</c:v>
                </c:pt>
                <c:pt idx="1152">
                  <c:v>50.595482546201232</c:v>
                </c:pt>
                <c:pt idx="1153">
                  <c:v>50.628336755646821</c:v>
                </c:pt>
                <c:pt idx="1154">
                  <c:v>50.661190965092402</c:v>
                </c:pt>
                <c:pt idx="1155">
                  <c:v>50.69404517453799</c:v>
                </c:pt>
                <c:pt idx="1156">
                  <c:v>50.726899383983572</c:v>
                </c:pt>
                <c:pt idx="1157">
                  <c:v>50.75975359342916</c:v>
                </c:pt>
                <c:pt idx="1158">
                  <c:v>50.792607802874741</c:v>
                </c:pt>
                <c:pt idx="1159">
                  <c:v>50.82546201232033</c:v>
                </c:pt>
                <c:pt idx="1160">
                  <c:v>50.858316221765911</c:v>
                </c:pt>
                <c:pt idx="1161">
                  <c:v>50.891170431211499</c:v>
                </c:pt>
                <c:pt idx="1162">
                  <c:v>50.924024640657088</c:v>
                </c:pt>
                <c:pt idx="1163">
                  <c:v>50.956878850102669</c:v>
                </c:pt>
                <c:pt idx="1164">
                  <c:v>50.989733059548257</c:v>
                </c:pt>
                <c:pt idx="1165">
                  <c:v>51.022587268993838</c:v>
                </c:pt>
                <c:pt idx="1166">
                  <c:v>51.055441478439427</c:v>
                </c:pt>
                <c:pt idx="1167">
                  <c:v>51.088295687885008</c:v>
                </c:pt>
                <c:pt idx="1168">
                  <c:v>51.121149897330596</c:v>
                </c:pt>
                <c:pt idx="1169">
                  <c:v>51.154004106776178</c:v>
                </c:pt>
                <c:pt idx="1170">
                  <c:v>51.186858316221766</c:v>
                </c:pt>
                <c:pt idx="1171">
                  <c:v>51.219712525667354</c:v>
                </c:pt>
                <c:pt idx="1172">
                  <c:v>51.252566735112936</c:v>
                </c:pt>
                <c:pt idx="1173">
                  <c:v>51.285420944558524</c:v>
                </c:pt>
                <c:pt idx="1174">
                  <c:v>51.318275154004105</c:v>
                </c:pt>
                <c:pt idx="1175">
                  <c:v>51.351129363449694</c:v>
                </c:pt>
                <c:pt idx="1176">
                  <c:v>51.383983572895275</c:v>
                </c:pt>
                <c:pt idx="1177">
                  <c:v>51.449691991786445</c:v>
                </c:pt>
                <c:pt idx="1178">
                  <c:v>51.482546201232033</c:v>
                </c:pt>
                <c:pt idx="1179">
                  <c:v>51.515400410677621</c:v>
                </c:pt>
                <c:pt idx="1180">
                  <c:v>51.548254620123203</c:v>
                </c:pt>
                <c:pt idx="1181">
                  <c:v>51.581108829568791</c:v>
                </c:pt>
                <c:pt idx="1182">
                  <c:v>51.613963039014372</c:v>
                </c:pt>
                <c:pt idx="1183">
                  <c:v>51.646817248459961</c:v>
                </c:pt>
                <c:pt idx="1184">
                  <c:v>51.679671457905542</c:v>
                </c:pt>
                <c:pt idx="1185">
                  <c:v>51.71252566735113</c:v>
                </c:pt>
                <c:pt idx="1186">
                  <c:v>51.745379876796711</c:v>
                </c:pt>
                <c:pt idx="1187">
                  <c:v>51.7782340862423</c:v>
                </c:pt>
                <c:pt idx="1188">
                  <c:v>51.811088295687888</c:v>
                </c:pt>
                <c:pt idx="1189">
                  <c:v>51.843942505133469</c:v>
                </c:pt>
                <c:pt idx="1190">
                  <c:v>51.876796714579058</c:v>
                </c:pt>
                <c:pt idx="1191">
                  <c:v>51.909650924024639</c:v>
                </c:pt>
                <c:pt idx="1192">
                  <c:v>51.942505133470227</c:v>
                </c:pt>
                <c:pt idx="1193">
                  <c:v>51.975359342915809</c:v>
                </c:pt>
                <c:pt idx="1194">
                  <c:v>52.008213552361397</c:v>
                </c:pt>
                <c:pt idx="1195">
                  <c:v>52.041067761806978</c:v>
                </c:pt>
                <c:pt idx="1196">
                  <c:v>52.073921971252567</c:v>
                </c:pt>
                <c:pt idx="1197">
                  <c:v>52.106776180698155</c:v>
                </c:pt>
                <c:pt idx="1198">
                  <c:v>52.139630390143736</c:v>
                </c:pt>
                <c:pt idx="1199">
                  <c:v>52.172484599589325</c:v>
                </c:pt>
                <c:pt idx="1200">
                  <c:v>52.205338809034906</c:v>
                </c:pt>
                <c:pt idx="1201">
                  <c:v>52.238193018480494</c:v>
                </c:pt>
                <c:pt idx="1202">
                  <c:v>52.271047227926076</c:v>
                </c:pt>
                <c:pt idx="1203">
                  <c:v>52.303901437371664</c:v>
                </c:pt>
                <c:pt idx="1204">
                  <c:v>52.336755646817245</c:v>
                </c:pt>
                <c:pt idx="1205">
                  <c:v>52.369609856262834</c:v>
                </c:pt>
                <c:pt idx="1206">
                  <c:v>52.402464065708422</c:v>
                </c:pt>
                <c:pt idx="1207">
                  <c:v>52.435318275154003</c:v>
                </c:pt>
                <c:pt idx="1208">
                  <c:v>52.468172484599592</c:v>
                </c:pt>
                <c:pt idx="1209">
                  <c:v>52.501026694045173</c:v>
                </c:pt>
                <c:pt idx="1210">
                  <c:v>52.533880903490761</c:v>
                </c:pt>
                <c:pt idx="1211">
                  <c:v>52.566735112936342</c:v>
                </c:pt>
                <c:pt idx="1212">
                  <c:v>52.599589322381931</c:v>
                </c:pt>
                <c:pt idx="1213">
                  <c:v>52.632443531827512</c:v>
                </c:pt>
                <c:pt idx="1214">
                  <c:v>52.6652977412731</c:v>
                </c:pt>
                <c:pt idx="1215">
                  <c:v>52.698151950718689</c:v>
                </c:pt>
                <c:pt idx="1216">
                  <c:v>52.73100616016427</c:v>
                </c:pt>
                <c:pt idx="1217">
                  <c:v>52.763860369609858</c:v>
                </c:pt>
                <c:pt idx="1218">
                  <c:v>52.79671457905544</c:v>
                </c:pt>
                <c:pt idx="1219">
                  <c:v>52.829568788501028</c:v>
                </c:pt>
                <c:pt idx="1220">
                  <c:v>52.862422997946609</c:v>
                </c:pt>
                <c:pt idx="1221">
                  <c:v>52.895277207392198</c:v>
                </c:pt>
                <c:pt idx="1222">
                  <c:v>52.928131416837779</c:v>
                </c:pt>
                <c:pt idx="1223">
                  <c:v>52.960985626283367</c:v>
                </c:pt>
                <c:pt idx="1224">
                  <c:v>52.993839835728956</c:v>
                </c:pt>
                <c:pt idx="1225">
                  <c:v>53.026694045174537</c:v>
                </c:pt>
                <c:pt idx="1226">
                  <c:v>53.059548254620125</c:v>
                </c:pt>
                <c:pt idx="1227">
                  <c:v>53.092402464065707</c:v>
                </c:pt>
                <c:pt idx="1228">
                  <c:v>53.125256673511295</c:v>
                </c:pt>
                <c:pt idx="1229">
                  <c:v>53.158110882956876</c:v>
                </c:pt>
                <c:pt idx="1230">
                  <c:v>53.190965092402465</c:v>
                </c:pt>
                <c:pt idx="1231">
                  <c:v>53.223819301848046</c:v>
                </c:pt>
                <c:pt idx="1232">
                  <c:v>53.256673511293634</c:v>
                </c:pt>
                <c:pt idx="1233">
                  <c:v>53.289527720739223</c:v>
                </c:pt>
                <c:pt idx="1234">
                  <c:v>53.322381930184804</c:v>
                </c:pt>
                <c:pt idx="1235">
                  <c:v>53.355236139630392</c:v>
                </c:pt>
                <c:pt idx="1236">
                  <c:v>53.388090349075974</c:v>
                </c:pt>
                <c:pt idx="1237">
                  <c:v>53.420944558521562</c:v>
                </c:pt>
                <c:pt idx="1238">
                  <c:v>53.453798767967143</c:v>
                </c:pt>
                <c:pt idx="1239">
                  <c:v>53.486652977412732</c:v>
                </c:pt>
                <c:pt idx="1240">
                  <c:v>53.519507186858313</c:v>
                </c:pt>
                <c:pt idx="1241">
                  <c:v>53.552361396303901</c:v>
                </c:pt>
                <c:pt idx="1242">
                  <c:v>53.585215605749489</c:v>
                </c:pt>
                <c:pt idx="1243">
                  <c:v>53.618069815195071</c:v>
                </c:pt>
                <c:pt idx="1244">
                  <c:v>53.650924024640659</c:v>
                </c:pt>
                <c:pt idx="1245">
                  <c:v>53.68377823408624</c:v>
                </c:pt>
                <c:pt idx="1246">
                  <c:v>53.716632443531829</c:v>
                </c:pt>
                <c:pt idx="1247">
                  <c:v>53.74948665297741</c:v>
                </c:pt>
                <c:pt idx="1248">
                  <c:v>53.782340862422998</c:v>
                </c:pt>
                <c:pt idx="1249">
                  <c:v>53.81519507186858</c:v>
                </c:pt>
                <c:pt idx="1250">
                  <c:v>53.848049281314168</c:v>
                </c:pt>
                <c:pt idx="1251">
                  <c:v>53.880903490759756</c:v>
                </c:pt>
                <c:pt idx="1252">
                  <c:v>53.913757700205338</c:v>
                </c:pt>
                <c:pt idx="1253">
                  <c:v>53.979466119096507</c:v>
                </c:pt>
                <c:pt idx="1254">
                  <c:v>54.012320328542096</c:v>
                </c:pt>
                <c:pt idx="1255">
                  <c:v>54.045174537987677</c:v>
                </c:pt>
                <c:pt idx="1256">
                  <c:v>54.078028747433265</c:v>
                </c:pt>
                <c:pt idx="1257">
                  <c:v>54.110882956878854</c:v>
                </c:pt>
                <c:pt idx="1258">
                  <c:v>54.143737166324435</c:v>
                </c:pt>
                <c:pt idx="1259">
                  <c:v>54.209445585215605</c:v>
                </c:pt>
                <c:pt idx="1260">
                  <c:v>54.242299794661193</c:v>
                </c:pt>
                <c:pt idx="1261">
                  <c:v>54.275154004106774</c:v>
                </c:pt>
                <c:pt idx="1262">
                  <c:v>54.308008213552363</c:v>
                </c:pt>
                <c:pt idx="1263">
                  <c:v>54.340862422997944</c:v>
                </c:pt>
                <c:pt idx="1264">
                  <c:v>54.373716632443532</c:v>
                </c:pt>
                <c:pt idx="1265">
                  <c:v>54.439425051334702</c:v>
                </c:pt>
                <c:pt idx="1266">
                  <c:v>54.505133470225871</c:v>
                </c:pt>
                <c:pt idx="1267">
                  <c:v>54.53798767967146</c:v>
                </c:pt>
                <c:pt idx="1268">
                  <c:v>54.570841889117041</c:v>
                </c:pt>
                <c:pt idx="1269">
                  <c:v>54.603696098562629</c:v>
                </c:pt>
                <c:pt idx="1270">
                  <c:v>54.636550308008211</c:v>
                </c:pt>
                <c:pt idx="1271">
                  <c:v>54.702258726899387</c:v>
                </c:pt>
                <c:pt idx="1272">
                  <c:v>54.735112936344969</c:v>
                </c:pt>
                <c:pt idx="1273">
                  <c:v>54.767967145790557</c:v>
                </c:pt>
                <c:pt idx="1274">
                  <c:v>54.800821355236138</c:v>
                </c:pt>
                <c:pt idx="1275">
                  <c:v>54.833675564681727</c:v>
                </c:pt>
                <c:pt idx="1276">
                  <c:v>54.866529774127308</c:v>
                </c:pt>
                <c:pt idx="1277">
                  <c:v>54.899383983572896</c:v>
                </c:pt>
                <c:pt idx="1278">
                  <c:v>54.932238193018478</c:v>
                </c:pt>
                <c:pt idx="1279">
                  <c:v>54.965092402464066</c:v>
                </c:pt>
                <c:pt idx="1280">
                  <c:v>54.997946611909654</c:v>
                </c:pt>
                <c:pt idx="1281">
                  <c:v>55.030800821355236</c:v>
                </c:pt>
                <c:pt idx="1282">
                  <c:v>55.063655030800824</c:v>
                </c:pt>
                <c:pt idx="1283">
                  <c:v>55.195071868583163</c:v>
                </c:pt>
              </c:numCache>
            </c:numRef>
          </c:xVal>
          <c:yVal>
            <c:numRef>
              <c:f>'slide 41 calc CIF'!$M$32:$M$1315</c:f>
              <c:numCache>
                <c:formatCode>General</c:formatCode>
                <c:ptCount val="1284"/>
                <c:pt idx="0">
                  <c:v>0</c:v>
                </c:pt>
                <c:pt idx="1">
                  <c:v>0</c:v>
                </c:pt>
                <c:pt idx="2">
                  <c:v>1.1361054305839582E-2</c:v>
                </c:pt>
                <c:pt idx="3">
                  <c:v>2.2722108611679163E-2</c:v>
                </c:pt>
                <c:pt idx="4">
                  <c:v>2.2722108611679163E-2</c:v>
                </c:pt>
                <c:pt idx="5">
                  <c:v>3.4085745562280251E-2</c:v>
                </c:pt>
                <c:pt idx="6">
                  <c:v>3.4085745562280251E-2</c:v>
                </c:pt>
                <c:pt idx="7">
                  <c:v>4.5449382512881331E-2</c:v>
                </c:pt>
                <c:pt idx="8">
                  <c:v>5.6813019463482411E-2</c:v>
                </c:pt>
                <c:pt idx="9">
                  <c:v>6.8176656414083492E-2</c:v>
                </c:pt>
                <c:pt idx="10">
                  <c:v>7.9540293364684572E-2</c:v>
                </c:pt>
                <c:pt idx="11">
                  <c:v>7.9540293364684572E-2</c:v>
                </c:pt>
                <c:pt idx="12">
                  <c:v>7.9540293364684572E-2</c:v>
                </c:pt>
                <c:pt idx="13">
                  <c:v>9.0906515898209569E-2</c:v>
                </c:pt>
                <c:pt idx="14">
                  <c:v>0.12500518349878456</c:v>
                </c:pt>
                <c:pt idx="15">
                  <c:v>0.12500518349878456</c:v>
                </c:pt>
                <c:pt idx="16">
                  <c:v>0.14774280444130519</c:v>
                </c:pt>
                <c:pt idx="17">
                  <c:v>0.15911161491256554</c:v>
                </c:pt>
                <c:pt idx="18">
                  <c:v>0.17048042538382585</c:v>
                </c:pt>
                <c:pt idx="19">
                  <c:v>0.18184923585508617</c:v>
                </c:pt>
                <c:pt idx="20">
                  <c:v>0.18184923585508617</c:v>
                </c:pt>
                <c:pt idx="21">
                  <c:v>0.19321804632634648</c:v>
                </c:pt>
                <c:pt idx="22">
                  <c:v>0.20458685679760677</c:v>
                </c:pt>
                <c:pt idx="23">
                  <c:v>0.21595566726886709</c:v>
                </c:pt>
                <c:pt idx="24">
                  <c:v>0.22732447774012737</c:v>
                </c:pt>
                <c:pt idx="25">
                  <c:v>0.22732447774012737</c:v>
                </c:pt>
                <c:pt idx="26">
                  <c:v>0.23869458409768329</c:v>
                </c:pt>
                <c:pt idx="27">
                  <c:v>0.25006598678477493</c:v>
                </c:pt>
                <c:pt idx="28">
                  <c:v>0.25006598678477493</c:v>
                </c:pt>
                <c:pt idx="29">
                  <c:v>0.25006598678477493</c:v>
                </c:pt>
                <c:pt idx="30">
                  <c:v>0.26144257893116463</c:v>
                </c:pt>
                <c:pt idx="31">
                  <c:v>0.27281917107755438</c:v>
                </c:pt>
                <c:pt idx="32">
                  <c:v>0.28419576322394413</c:v>
                </c:pt>
                <c:pt idx="33">
                  <c:v>0.29557235537033388</c:v>
                </c:pt>
                <c:pt idx="34">
                  <c:v>0.30694894751672364</c:v>
                </c:pt>
                <c:pt idx="35">
                  <c:v>0.30694894751672364</c:v>
                </c:pt>
                <c:pt idx="36">
                  <c:v>0.31832813765172868</c:v>
                </c:pt>
                <c:pt idx="37">
                  <c:v>0.32970732778673373</c:v>
                </c:pt>
                <c:pt idx="38">
                  <c:v>0.34108651792173883</c:v>
                </c:pt>
                <c:pt idx="39">
                  <c:v>0.35246570805674393</c:v>
                </c:pt>
                <c:pt idx="40">
                  <c:v>0.37522408832675402</c:v>
                </c:pt>
                <c:pt idx="41">
                  <c:v>0.38660327846175907</c:v>
                </c:pt>
                <c:pt idx="42">
                  <c:v>0.38660327846175907</c:v>
                </c:pt>
                <c:pt idx="43">
                  <c:v>0.3979850701491498</c:v>
                </c:pt>
                <c:pt idx="44">
                  <c:v>0.3979850701491498</c:v>
                </c:pt>
                <c:pt idx="45">
                  <c:v>0.40937076684283763</c:v>
                </c:pt>
                <c:pt idx="46">
                  <c:v>0.42075776594978265</c:v>
                </c:pt>
                <c:pt idx="47">
                  <c:v>0.43214476505672772</c:v>
                </c:pt>
                <c:pt idx="48">
                  <c:v>0.44353176416367274</c:v>
                </c:pt>
                <c:pt idx="49">
                  <c:v>0.45491876327061781</c:v>
                </c:pt>
                <c:pt idx="50">
                  <c:v>0.47769276148450779</c:v>
                </c:pt>
                <c:pt idx="51">
                  <c:v>0.50046675969839782</c:v>
                </c:pt>
                <c:pt idx="52">
                  <c:v>0.51185375880534278</c:v>
                </c:pt>
                <c:pt idx="53">
                  <c:v>0.51185375880534278</c:v>
                </c:pt>
                <c:pt idx="54">
                  <c:v>0.51185375880534278</c:v>
                </c:pt>
                <c:pt idx="55">
                  <c:v>0.52324336661769599</c:v>
                </c:pt>
                <c:pt idx="56">
                  <c:v>0.5346329744300492</c:v>
                </c:pt>
                <c:pt idx="57">
                  <c:v>0.55741219005475573</c:v>
                </c:pt>
                <c:pt idx="58">
                  <c:v>0.55741219005475573</c:v>
                </c:pt>
                <c:pt idx="59">
                  <c:v>0.55741219005475573</c:v>
                </c:pt>
                <c:pt idx="60">
                  <c:v>0.56880179786710894</c:v>
                </c:pt>
                <c:pt idx="61">
                  <c:v>0.59158101349181547</c:v>
                </c:pt>
                <c:pt idx="62">
                  <c:v>0.59158101349181547</c:v>
                </c:pt>
                <c:pt idx="63">
                  <c:v>0.60297454109577553</c:v>
                </c:pt>
                <c:pt idx="64">
                  <c:v>0.61436806869973559</c:v>
                </c:pt>
                <c:pt idx="65">
                  <c:v>0.62576159630369566</c:v>
                </c:pt>
                <c:pt idx="66">
                  <c:v>0.63715773950168797</c:v>
                </c:pt>
                <c:pt idx="67">
                  <c:v>0.65995264269289577</c:v>
                </c:pt>
                <c:pt idx="68">
                  <c:v>0.65995264269289577</c:v>
                </c:pt>
                <c:pt idx="69">
                  <c:v>0.6713514032871899</c:v>
                </c:pt>
                <c:pt idx="70">
                  <c:v>0.70554768507007237</c:v>
                </c:pt>
                <c:pt idx="71">
                  <c:v>0.70554768507007237</c:v>
                </c:pt>
                <c:pt idx="72">
                  <c:v>0.71694775556560686</c:v>
                </c:pt>
                <c:pt idx="73">
                  <c:v>0.72834782606114135</c:v>
                </c:pt>
                <c:pt idx="74">
                  <c:v>0.73974789655667605</c:v>
                </c:pt>
                <c:pt idx="75">
                  <c:v>0.75114796705221065</c:v>
                </c:pt>
                <c:pt idx="76">
                  <c:v>0.76254803754774514</c:v>
                </c:pt>
                <c:pt idx="77">
                  <c:v>0.76254803754774514</c:v>
                </c:pt>
                <c:pt idx="78">
                  <c:v>0.76254803754774514</c:v>
                </c:pt>
                <c:pt idx="79">
                  <c:v>0.7853534232662206</c:v>
                </c:pt>
                <c:pt idx="80">
                  <c:v>0.79675611612545838</c:v>
                </c:pt>
                <c:pt idx="81">
                  <c:v>0.79675611612545838</c:v>
                </c:pt>
                <c:pt idx="82">
                  <c:v>0.81956412616910279</c:v>
                </c:pt>
                <c:pt idx="83">
                  <c:v>0.81956412616910279</c:v>
                </c:pt>
                <c:pt idx="84">
                  <c:v>0.83096944395770544</c:v>
                </c:pt>
                <c:pt idx="85">
                  <c:v>0.85378270597539185</c:v>
                </c:pt>
                <c:pt idx="86">
                  <c:v>0.85378270597539185</c:v>
                </c:pt>
                <c:pt idx="87">
                  <c:v>0.86518933698423506</c:v>
                </c:pt>
                <c:pt idx="88">
                  <c:v>0.87659596799307815</c:v>
                </c:pt>
                <c:pt idx="89">
                  <c:v>0.88800391328133255</c:v>
                </c:pt>
                <c:pt idx="90">
                  <c:v>0.88800391328133255</c:v>
                </c:pt>
                <c:pt idx="91">
                  <c:v>0.89941317330339898</c:v>
                </c:pt>
                <c:pt idx="92">
                  <c:v>0.92223169334753186</c:v>
                </c:pt>
                <c:pt idx="93">
                  <c:v>0.93364226886135693</c:v>
                </c:pt>
                <c:pt idx="94">
                  <c:v>0.945052844375182</c:v>
                </c:pt>
                <c:pt idx="95">
                  <c:v>0.945052844375182</c:v>
                </c:pt>
                <c:pt idx="96">
                  <c:v>0.96787662760018245</c:v>
                </c:pt>
                <c:pt idx="97">
                  <c:v>0.97928851921268256</c:v>
                </c:pt>
                <c:pt idx="98">
                  <c:v>0.99070041082518279</c:v>
                </c:pt>
                <c:pt idx="99">
                  <c:v>1.0135241940501833</c:v>
                </c:pt>
                <c:pt idx="100">
                  <c:v>1.0249360856626835</c:v>
                </c:pt>
                <c:pt idx="101">
                  <c:v>1.0363479772751836</c:v>
                </c:pt>
                <c:pt idx="102">
                  <c:v>1.0477598688876839</c:v>
                </c:pt>
                <c:pt idx="103">
                  <c:v>1.0477598688876839</c:v>
                </c:pt>
                <c:pt idx="104">
                  <c:v>1.0477598688876839</c:v>
                </c:pt>
                <c:pt idx="105">
                  <c:v>1.0591730787272386</c:v>
                </c:pt>
                <c:pt idx="106">
                  <c:v>1.0705862885667934</c:v>
                </c:pt>
                <c:pt idx="107">
                  <c:v>1.0819994984063483</c:v>
                </c:pt>
                <c:pt idx="108">
                  <c:v>1.0934127082459031</c:v>
                </c:pt>
                <c:pt idx="109">
                  <c:v>1.1048259180854578</c:v>
                </c:pt>
                <c:pt idx="110">
                  <c:v>1.1162391279250128</c:v>
                </c:pt>
                <c:pt idx="111">
                  <c:v>1.1276523377645675</c:v>
                </c:pt>
                <c:pt idx="112">
                  <c:v>1.1276523377645675</c:v>
                </c:pt>
                <c:pt idx="113">
                  <c:v>1.1390668672029014</c:v>
                </c:pt>
                <c:pt idx="114">
                  <c:v>1.1390668672029014</c:v>
                </c:pt>
                <c:pt idx="115">
                  <c:v>1.1618959260795692</c:v>
                </c:pt>
                <c:pt idx="116">
                  <c:v>1.1847249849562371</c:v>
                </c:pt>
                <c:pt idx="117">
                  <c:v>1.2075540438329049</c:v>
                </c:pt>
                <c:pt idx="118">
                  <c:v>1.2189685732712388</c:v>
                </c:pt>
                <c:pt idx="119">
                  <c:v>1.2189685732712388</c:v>
                </c:pt>
                <c:pt idx="120">
                  <c:v>1.230384424141552</c:v>
                </c:pt>
                <c:pt idx="121">
                  <c:v>1.2418002750118653</c:v>
                </c:pt>
                <c:pt idx="122">
                  <c:v>1.2532187705829478</c:v>
                </c:pt>
                <c:pt idx="123">
                  <c:v>1.2874742572961955</c:v>
                </c:pt>
                <c:pt idx="124">
                  <c:v>1.2874742572961955</c:v>
                </c:pt>
                <c:pt idx="125">
                  <c:v>1.2874742572961955</c:v>
                </c:pt>
                <c:pt idx="126">
                  <c:v>1.2988967245179113</c:v>
                </c:pt>
                <c:pt idx="127">
                  <c:v>1.3103218413492821</c:v>
                </c:pt>
                <c:pt idx="128">
                  <c:v>1.3331720750120235</c:v>
                </c:pt>
                <c:pt idx="129">
                  <c:v>1.3445971918433943</c:v>
                </c:pt>
                <c:pt idx="130">
                  <c:v>1.3445971918433943</c:v>
                </c:pt>
                <c:pt idx="131">
                  <c:v>1.3674580362484912</c:v>
                </c:pt>
                <c:pt idx="132">
                  <c:v>1.3788884584510397</c:v>
                </c:pt>
                <c:pt idx="133">
                  <c:v>1.3788884584510397</c:v>
                </c:pt>
                <c:pt idx="134">
                  <c:v>1.4017493028561367</c:v>
                </c:pt>
                <c:pt idx="135">
                  <c:v>1.4131797250586853</c:v>
                </c:pt>
                <c:pt idx="136">
                  <c:v>1.4246101472612338</c:v>
                </c:pt>
                <c:pt idx="137">
                  <c:v>1.4246101472612338</c:v>
                </c:pt>
                <c:pt idx="138">
                  <c:v>1.4360405694637823</c:v>
                </c:pt>
                <c:pt idx="139">
                  <c:v>1.4589014138688794</c:v>
                </c:pt>
                <c:pt idx="140">
                  <c:v>1.4703318360714279</c:v>
                </c:pt>
                <c:pt idx="141">
                  <c:v>1.4817622582739765</c:v>
                </c:pt>
                <c:pt idx="142">
                  <c:v>1.493192680476525</c:v>
                </c:pt>
                <c:pt idx="143">
                  <c:v>1.493192680476525</c:v>
                </c:pt>
                <c:pt idx="144">
                  <c:v>1.493192680476525</c:v>
                </c:pt>
                <c:pt idx="145">
                  <c:v>1.5046244324164169</c:v>
                </c:pt>
                <c:pt idx="146">
                  <c:v>1.5160561843563085</c:v>
                </c:pt>
                <c:pt idx="147">
                  <c:v>1.5160561843563085</c:v>
                </c:pt>
                <c:pt idx="148">
                  <c:v>1.5274879362962002</c:v>
                </c:pt>
                <c:pt idx="149">
                  <c:v>1.5617831921158756</c:v>
                </c:pt>
                <c:pt idx="150">
                  <c:v>1.5732149440557675</c:v>
                </c:pt>
                <c:pt idx="151">
                  <c:v>1.5846466959956593</c:v>
                </c:pt>
                <c:pt idx="152">
                  <c:v>1.5960784479355512</c:v>
                </c:pt>
                <c:pt idx="153">
                  <c:v>1.5960784479355512</c:v>
                </c:pt>
                <c:pt idx="154">
                  <c:v>1.6075101998754431</c:v>
                </c:pt>
                <c:pt idx="155">
                  <c:v>1.6075101998754431</c:v>
                </c:pt>
                <c:pt idx="156">
                  <c:v>1.6075101998754431</c:v>
                </c:pt>
                <c:pt idx="157">
                  <c:v>1.6189446168699895</c:v>
                </c:pt>
                <c:pt idx="158">
                  <c:v>1.6189446168699895</c:v>
                </c:pt>
                <c:pt idx="159">
                  <c:v>1.6303803670133048</c:v>
                </c:pt>
                <c:pt idx="160">
                  <c:v>1.6418174507717973</c:v>
                </c:pt>
                <c:pt idx="161">
                  <c:v>1.6532545345302896</c:v>
                </c:pt>
                <c:pt idx="162">
                  <c:v>1.6646916182887821</c:v>
                </c:pt>
                <c:pt idx="163">
                  <c:v>1.6761287020472744</c:v>
                </c:pt>
                <c:pt idx="164">
                  <c:v>1.6875657858057669</c:v>
                </c:pt>
                <c:pt idx="165">
                  <c:v>1.6990028695642594</c:v>
                </c:pt>
                <c:pt idx="166">
                  <c:v>1.7104399533227517</c:v>
                </c:pt>
                <c:pt idx="167">
                  <c:v>1.7104399533227517</c:v>
                </c:pt>
                <c:pt idx="168">
                  <c:v>1.7218783722532918</c:v>
                </c:pt>
                <c:pt idx="169">
                  <c:v>1.7333167911838316</c:v>
                </c:pt>
                <c:pt idx="170">
                  <c:v>1.7447552101143717</c:v>
                </c:pt>
                <c:pt idx="171">
                  <c:v>1.7447552101143717</c:v>
                </c:pt>
                <c:pt idx="172">
                  <c:v>1.7447552101143717</c:v>
                </c:pt>
                <c:pt idx="173">
                  <c:v>1.7447552101143717</c:v>
                </c:pt>
                <c:pt idx="174">
                  <c:v>1.7447552101143717</c:v>
                </c:pt>
                <c:pt idx="175">
                  <c:v>1.7447552101143717</c:v>
                </c:pt>
                <c:pt idx="176">
                  <c:v>1.7447552101143717</c:v>
                </c:pt>
                <c:pt idx="177">
                  <c:v>1.7676507666037424</c:v>
                </c:pt>
                <c:pt idx="178">
                  <c:v>1.7790985448484276</c:v>
                </c:pt>
                <c:pt idx="179">
                  <c:v>1.7905476621711622</c:v>
                </c:pt>
                <c:pt idx="180">
                  <c:v>1.813445896816632</c:v>
                </c:pt>
                <c:pt idx="181">
                  <c:v>1.8248950141393667</c:v>
                </c:pt>
                <c:pt idx="182">
                  <c:v>1.8248950141393667</c:v>
                </c:pt>
                <c:pt idx="183">
                  <c:v>1.8363454714805147</c:v>
                </c:pt>
                <c:pt idx="184">
                  <c:v>1.8477959288216625</c:v>
                </c:pt>
                <c:pt idx="185">
                  <c:v>1.8477959288216625</c:v>
                </c:pt>
                <c:pt idx="186">
                  <c:v>1.8592463861628106</c:v>
                </c:pt>
                <c:pt idx="187">
                  <c:v>1.8592463861628106</c:v>
                </c:pt>
                <c:pt idx="188">
                  <c:v>1.8592463861628106</c:v>
                </c:pt>
                <c:pt idx="189">
                  <c:v>1.8706981850923992</c:v>
                </c:pt>
                <c:pt idx="190">
                  <c:v>1.8706981850923992</c:v>
                </c:pt>
                <c:pt idx="191">
                  <c:v>1.8821499840219877</c:v>
                </c:pt>
                <c:pt idx="192">
                  <c:v>1.8936017829515766</c:v>
                </c:pt>
                <c:pt idx="193">
                  <c:v>1.9050535818811651</c:v>
                </c:pt>
                <c:pt idx="194">
                  <c:v>1.9050535818811651</c:v>
                </c:pt>
                <c:pt idx="195">
                  <c:v>1.9165053808107537</c:v>
                </c:pt>
                <c:pt idx="196">
                  <c:v>1.9279571797403423</c:v>
                </c:pt>
                <c:pt idx="197">
                  <c:v>1.9394089786699309</c:v>
                </c:pt>
                <c:pt idx="198">
                  <c:v>1.962315263483339</c:v>
                </c:pt>
                <c:pt idx="199">
                  <c:v>1.962315263483339</c:v>
                </c:pt>
                <c:pt idx="200">
                  <c:v>1.9737697499978242</c:v>
                </c:pt>
                <c:pt idx="201">
                  <c:v>1.9852242365123094</c:v>
                </c:pt>
                <c:pt idx="202">
                  <c:v>1.9966787230267946</c:v>
                </c:pt>
                <c:pt idx="203">
                  <c:v>1.9966787230267946</c:v>
                </c:pt>
                <c:pt idx="204">
                  <c:v>2.0195903858494755</c:v>
                </c:pt>
                <c:pt idx="205">
                  <c:v>2.0310462172608164</c:v>
                </c:pt>
                <c:pt idx="206">
                  <c:v>2.0425033943589197</c:v>
                </c:pt>
                <c:pt idx="207">
                  <c:v>2.053960571457023</c:v>
                </c:pt>
                <c:pt idx="208">
                  <c:v>2.0768749256532293</c:v>
                </c:pt>
                <c:pt idx="209">
                  <c:v>2.0997892798494355</c:v>
                </c:pt>
                <c:pt idx="210">
                  <c:v>2.1227036340456418</c:v>
                </c:pt>
                <c:pt idx="211">
                  <c:v>2.1341608111437451</c:v>
                </c:pt>
                <c:pt idx="212">
                  <c:v>2.1570751653399514</c:v>
                </c:pt>
                <c:pt idx="213">
                  <c:v>2.1799922150254178</c:v>
                </c:pt>
                <c:pt idx="214">
                  <c:v>2.1914534369435521</c:v>
                </c:pt>
                <c:pt idx="215">
                  <c:v>2.1914534369435521</c:v>
                </c:pt>
                <c:pt idx="216">
                  <c:v>2.2029173575247234</c:v>
                </c:pt>
                <c:pt idx="217">
                  <c:v>2.2143839783580632</c:v>
                </c:pt>
                <c:pt idx="218">
                  <c:v>2.2258519499536642</c:v>
                </c:pt>
                <c:pt idx="219">
                  <c:v>2.2373199215492652</c:v>
                </c:pt>
                <c:pt idx="220">
                  <c:v>2.2373199215492652</c:v>
                </c:pt>
                <c:pt idx="221">
                  <c:v>2.2373199215492652</c:v>
                </c:pt>
                <c:pt idx="222">
                  <c:v>2.2602639750456972</c:v>
                </c:pt>
                <c:pt idx="223">
                  <c:v>2.2717360017939132</c:v>
                </c:pt>
                <c:pt idx="224">
                  <c:v>2.2832080285421292</c:v>
                </c:pt>
                <c:pt idx="225">
                  <c:v>2.2946800552903452</c:v>
                </c:pt>
                <c:pt idx="226">
                  <c:v>2.2946800552903452</c:v>
                </c:pt>
                <c:pt idx="227">
                  <c:v>2.3061520820385613</c:v>
                </c:pt>
                <c:pt idx="228">
                  <c:v>2.3176241087867773</c:v>
                </c:pt>
                <c:pt idx="229">
                  <c:v>2.3290974893262075</c:v>
                </c:pt>
                <c:pt idx="230">
                  <c:v>2.3405708698656378</c:v>
                </c:pt>
                <c:pt idx="231">
                  <c:v>2.352044250405068</c:v>
                </c:pt>
                <c:pt idx="232">
                  <c:v>2.3635176309444983</c:v>
                </c:pt>
                <c:pt idx="233">
                  <c:v>2.3635176309444983</c:v>
                </c:pt>
                <c:pt idx="234">
                  <c:v>2.3749923663942423</c:v>
                </c:pt>
                <c:pt idx="235">
                  <c:v>2.3864671018439862</c:v>
                </c:pt>
                <c:pt idx="236">
                  <c:v>2.3979418372937302</c:v>
                </c:pt>
                <c:pt idx="237">
                  <c:v>2.3979418372937302</c:v>
                </c:pt>
                <c:pt idx="238">
                  <c:v>2.4208913081932186</c:v>
                </c:pt>
                <c:pt idx="239">
                  <c:v>2.4208913081932186</c:v>
                </c:pt>
                <c:pt idx="240">
                  <c:v>2.4323660436429626</c:v>
                </c:pt>
                <c:pt idx="241">
                  <c:v>2.455315514542451</c:v>
                </c:pt>
                <c:pt idx="242">
                  <c:v>2.466790249992195</c:v>
                </c:pt>
                <c:pt idx="243">
                  <c:v>2.478264985441939</c:v>
                </c:pt>
                <c:pt idx="244">
                  <c:v>2.478264985441939</c:v>
                </c:pt>
                <c:pt idx="245">
                  <c:v>2.478264985441939</c:v>
                </c:pt>
                <c:pt idx="246">
                  <c:v>2.5012171719337712</c:v>
                </c:pt>
                <c:pt idx="247">
                  <c:v>2.524169358425604</c:v>
                </c:pt>
                <c:pt idx="248">
                  <c:v>2.5356454516715199</c:v>
                </c:pt>
                <c:pt idx="249">
                  <c:v>2.5356454516715199</c:v>
                </c:pt>
                <c:pt idx="250">
                  <c:v>2.5471229038390759</c:v>
                </c:pt>
                <c:pt idx="251">
                  <c:v>2.5586003560066315</c:v>
                </c:pt>
                <c:pt idx="252">
                  <c:v>2.5700778081741875</c:v>
                </c:pt>
                <c:pt idx="253">
                  <c:v>2.5700778081741875</c:v>
                </c:pt>
                <c:pt idx="254">
                  <c:v>2.5815566200683358</c:v>
                </c:pt>
                <c:pt idx="255">
                  <c:v>2.6045142438566322</c:v>
                </c:pt>
                <c:pt idx="256">
                  <c:v>2.6274718676449287</c:v>
                </c:pt>
                <c:pt idx="257">
                  <c:v>2.6389506795390769</c:v>
                </c:pt>
                <c:pt idx="258">
                  <c:v>2.6504294914332251</c:v>
                </c:pt>
                <c:pt idx="259">
                  <c:v>2.6504294914332251</c:v>
                </c:pt>
                <c:pt idx="260">
                  <c:v>2.6504294914332251</c:v>
                </c:pt>
                <c:pt idx="261">
                  <c:v>2.6504294914332251</c:v>
                </c:pt>
                <c:pt idx="262">
                  <c:v>2.6504294914332251</c:v>
                </c:pt>
                <c:pt idx="263">
                  <c:v>2.6619192017958229</c:v>
                </c:pt>
                <c:pt idx="264">
                  <c:v>2.696396517409577</c:v>
                </c:pt>
                <c:pt idx="265">
                  <c:v>2.7078916863914335</c:v>
                </c:pt>
                <c:pt idx="266">
                  <c:v>2.7193868553732901</c:v>
                </c:pt>
                <c:pt idx="267">
                  <c:v>2.7538723623188597</c:v>
                </c:pt>
                <c:pt idx="268">
                  <c:v>2.7653675313007167</c:v>
                </c:pt>
                <c:pt idx="269">
                  <c:v>2.7883578692644297</c:v>
                </c:pt>
                <c:pt idx="270">
                  <c:v>2.8113482072281433</c:v>
                </c:pt>
                <c:pt idx="271">
                  <c:v>2.8228433762099998</c:v>
                </c:pt>
                <c:pt idx="272">
                  <c:v>2.8343385451918564</c:v>
                </c:pt>
                <c:pt idx="273">
                  <c:v>2.8458337141737129</c:v>
                </c:pt>
                <c:pt idx="274">
                  <c:v>2.8573288831555694</c:v>
                </c:pt>
                <c:pt idx="275">
                  <c:v>2.8573288831555694</c:v>
                </c:pt>
                <c:pt idx="276">
                  <c:v>2.8573288831555694</c:v>
                </c:pt>
                <c:pt idx="277">
                  <c:v>2.8573288831555694</c:v>
                </c:pt>
                <c:pt idx="278">
                  <c:v>2.8573288831555694</c:v>
                </c:pt>
                <c:pt idx="279">
                  <c:v>2.8573288831555694</c:v>
                </c:pt>
                <c:pt idx="280">
                  <c:v>2.8688267895712785</c:v>
                </c:pt>
                <c:pt idx="281">
                  <c:v>2.8688267895712785</c:v>
                </c:pt>
                <c:pt idx="282">
                  <c:v>2.8918253419562863</c:v>
                </c:pt>
                <c:pt idx="283">
                  <c:v>2.9033246181487899</c:v>
                </c:pt>
                <c:pt idx="284">
                  <c:v>2.9148238943412936</c:v>
                </c:pt>
                <c:pt idx="285">
                  <c:v>2.9263231705337978</c:v>
                </c:pt>
                <c:pt idx="286">
                  <c:v>2.9493217229188051</c:v>
                </c:pt>
                <c:pt idx="287">
                  <c:v>2.9493217229188051</c:v>
                </c:pt>
                <c:pt idx="288">
                  <c:v>2.9608209991113092</c:v>
                </c:pt>
                <c:pt idx="289">
                  <c:v>2.9608209991113092</c:v>
                </c:pt>
                <c:pt idx="290">
                  <c:v>2.9838222949714908</c:v>
                </c:pt>
                <c:pt idx="291">
                  <c:v>2.9953229429015815</c:v>
                </c:pt>
                <c:pt idx="292">
                  <c:v>3.0068249635516451</c:v>
                </c:pt>
                <c:pt idx="293">
                  <c:v>3.0183269842017082</c:v>
                </c:pt>
                <c:pt idx="294">
                  <c:v>3.0298290048517718</c:v>
                </c:pt>
                <c:pt idx="295">
                  <c:v>3.0413310255018349</c:v>
                </c:pt>
                <c:pt idx="296">
                  <c:v>3.052833046151898</c:v>
                </c:pt>
                <c:pt idx="297">
                  <c:v>3.0643350668019615</c:v>
                </c:pt>
                <c:pt idx="298">
                  <c:v>3.0643350668019615</c:v>
                </c:pt>
                <c:pt idx="299">
                  <c:v>3.0758370874520247</c:v>
                </c:pt>
                <c:pt idx="300">
                  <c:v>3.0873391081020882</c:v>
                </c:pt>
                <c:pt idx="301">
                  <c:v>3.1103431494022149</c:v>
                </c:pt>
                <c:pt idx="302">
                  <c:v>3.1218451700522785</c:v>
                </c:pt>
                <c:pt idx="303">
                  <c:v>3.1218451700522785</c:v>
                </c:pt>
                <c:pt idx="304">
                  <c:v>3.1333471907023416</c:v>
                </c:pt>
                <c:pt idx="305">
                  <c:v>3.1333471907023416</c:v>
                </c:pt>
                <c:pt idx="306">
                  <c:v>3.1448492113524051</c:v>
                </c:pt>
                <c:pt idx="307">
                  <c:v>3.1793552733025954</c:v>
                </c:pt>
                <c:pt idx="308">
                  <c:v>3.2023593146027221</c:v>
                </c:pt>
                <c:pt idx="309">
                  <c:v>3.2138613352527856</c:v>
                </c:pt>
                <c:pt idx="310">
                  <c:v>3.2253633559028492</c:v>
                </c:pt>
                <c:pt idx="311">
                  <c:v>3.2368653765529132</c:v>
                </c:pt>
                <c:pt idx="312">
                  <c:v>3.2598694178530394</c:v>
                </c:pt>
                <c:pt idx="313">
                  <c:v>3.2598694178530394</c:v>
                </c:pt>
                <c:pt idx="314">
                  <c:v>3.2598694178530394</c:v>
                </c:pt>
                <c:pt idx="315">
                  <c:v>3.2713741944682759</c:v>
                </c:pt>
                <c:pt idx="316">
                  <c:v>3.2828803497266059</c:v>
                </c:pt>
                <c:pt idx="317">
                  <c:v>3.305895419182304</c:v>
                </c:pt>
                <c:pt idx="318">
                  <c:v>3.305895419182304</c:v>
                </c:pt>
                <c:pt idx="319">
                  <c:v>3.305895419182304</c:v>
                </c:pt>
                <c:pt idx="320">
                  <c:v>3.305895419182304</c:v>
                </c:pt>
                <c:pt idx="321">
                  <c:v>3.3174084764223197</c:v>
                </c:pt>
                <c:pt idx="322">
                  <c:v>3.3174084764223197</c:v>
                </c:pt>
                <c:pt idx="323">
                  <c:v>3.3174084764223197</c:v>
                </c:pt>
                <c:pt idx="324">
                  <c:v>3.3289229152844699</c:v>
                </c:pt>
                <c:pt idx="325">
                  <c:v>3.3519545575799246</c:v>
                </c:pt>
                <c:pt idx="326">
                  <c:v>3.3519545575799246</c:v>
                </c:pt>
                <c:pt idx="327">
                  <c:v>3.363473144959011</c:v>
                </c:pt>
                <c:pt idx="328">
                  <c:v>3.3749917323380973</c:v>
                </c:pt>
                <c:pt idx="329">
                  <c:v>3.3749917323380973</c:v>
                </c:pt>
                <c:pt idx="330">
                  <c:v>3.3749917323380973</c:v>
                </c:pt>
                <c:pt idx="331">
                  <c:v>3.3865144725548397</c:v>
                </c:pt>
                <c:pt idx="332">
                  <c:v>3.4095627232107599</c:v>
                </c:pt>
                <c:pt idx="333">
                  <c:v>3.4326109738666801</c:v>
                </c:pt>
                <c:pt idx="334">
                  <c:v>3.4441350991946402</c:v>
                </c:pt>
                <c:pt idx="335">
                  <c:v>3.4671861224056735</c:v>
                </c:pt>
                <c:pt idx="336">
                  <c:v>3.4787130209560284</c:v>
                </c:pt>
                <c:pt idx="337">
                  <c:v>3.4902399195063833</c:v>
                </c:pt>
                <c:pt idx="338">
                  <c:v>3.5017668180567383</c:v>
                </c:pt>
                <c:pt idx="339">
                  <c:v>3.5248206151574477</c:v>
                </c:pt>
                <c:pt idx="340">
                  <c:v>3.53634890182179</c:v>
                </c:pt>
                <c:pt idx="341">
                  <c:v>3.5478771884861313</c:v>
                </c:pt>
                <c:pt idx="342">
                  <c:v>3.5594054751504736</c:v>
                </c:pt>
                <c:pt idx="343">
                  <c:v>3.5824620484791576</c:v>
                </c:pt>
                <c:pt idx="344">
                  <c:v>3.5939903351434994</c:v>
                </c:pt>
                <c:pt idx="345">
                  <c:v>3.6055186218078412</c:v>
                </c:pt>
                <c:pt idx="346">
                  <c:v>3.617046908472183</c:v>
                </c:pt>
                <c:pt idx="347">
                  <c:v>3.617046908472183</c:v>
                </c:pt>
                <c:pt idx="348">
                  <c:v>3.617046908472183</c:v>
                </c:pt>
                <c:pt idx="349">
                  <c:v>3.6285751951365248</c:v>
                </c:pt>
                <c:pt idx="350">
                  <c:v>3.6401034818008666</c:v>
                </c:pt>
                <c:pt idx="351">
                  <c:v>3.6401034818008666</c:v>
                </c:pt>
                <c:pt idx="352">
                  <c:v>3.6401034818008666</c:v>
                </c:pt>
                <c:pt idx="353">
                  <c:v>3.6631628373877052</c:v>
                </c:pt>
                <c:pt idx="354">
                  <c:v>3.6862221929745442</c:v>
                </c:pt>
                <c:pt idx="355">
                  <c:v>3.6977518707679637</c:v>
                </c:pt>
                <c:pt idx="356">
                  <c:v>3.7092815485613837</c:v>
                </c:pt>
                <c:pt idx="357">
                  <c:v>3.7323409041482223</c:v>
                </c:pt>
                <c:pt idx="358">
                  <c:v>3.7438705819416418</c:v>
                </c:pt>
                <c:pt idx="359">
                  <c:v>3.7438705819416418</c:v>
                </c:pt>
                <c:pt idx="360">
                  <c:v>3.7438705819416418</c:v>
                </c:pt>
                <c:pt idx="361">
                  <c:v>3.7438705819416418</c:v>
                </c:pt>
                <c:pt idx="362">
                  <c:v>3.766935513481954</c:v>
                </c:pt>
                <c:pt idx="363">
                  <c:v>3.766935513481954</c:v>
                </c:pt>
                <c:pt idx="364">
                  <c:v>3.7900060250226382</c:v>
                </c:pt>
                <c:pt idx="365">
                  <c:v>3.7900060250226382</c:v>
                </c:pt>
                <c:pt idx="366">
                  <c:v>3.8130765365633223</c:v>
                </c:pt>
                <c:pt idx="367">
                  <c:v>3.8130765365633223</c:v>
                </c:pt>
                <c:pt idx="368">
                  <c:v>3.8246131886846833</c:v>
                </c:pt>
                <c:pt idx="369">
                  <c:v>3.836151237664275</c:v>
                </c:pt>
                <c:pt idx="370">
                  <c:v>3.836151237664275</c:v>
                </c:pt>
                <c:pt idx="371">
                  <c:v>3.836151237664275</c:v>
                </c:pt>
                <c:pt idx="372">
                  <c:v>3.836151237664275</c:v>
                </c:pt>
                <c:pt idx="373">
                  <c:v>3.836151237664275</c:v>
                </c:pt>
                <c:pt idx="374">
                  <c:v>3.8476976765967015</c:v>
                </c:pt>
                <c:pt idx="375">
                  <c:v>3.8592441155291279</c:v>
                </c:pt>
                <c:pt idx="376">
                  <c:v>3.8592441155291279</c:v>
                </c:pt>
                <c:pt idx="377">
                  <c:v>3.8707919545390288</c:v>
                </c:pt>
                <c:pt idx="378">
                  <c:v>3.8823397935489301</c:v>
                </c:pt>
                <c:pt idx="379">
                  <c:v>3.893887632558831</c:v>
                </c:pt>
                <c:pt idx="380">
                  <c:v>3.9169833105786331</c:v>
                </c:pt>
                <c:pt idx="381">
                  <c:v>3.9400789885984353</c:v>
                </c:pt>
                <c:pt idx="382">
                  <c:v>3.9516282292152072</c:v>
                </c:pt>
                <c:pt idx="383">
                  <c:v>3.9516282292152072</c:v>
                </c:pt>
                <c:pt idx="384">
                  <c:v>3.9631788721195722</c:v>
                </c:pt>
                <c:pt idx="385">
                  <c:v>3.9862801579283023</c:v>
                </c:pt>
                <c:pt idx="386">
                  <c:v>3.9978308008326668</c:v>
                </c:pt>
                <c:pt idx="387">
                  <c:v>4.0209320866413965</c:v>
                </c:pt>
                <c:pt idx="388">
                  <c:v>4.0324827295457615</c:v>
                </c:pt>
                <c:pt idx="389">
                  <c:v>4.0440333724501265</c:v>
                </c:pt>
                <c:pt idx="390">
                  <c:v>4.0555840153544915</c:v>
                </c:pt>
                <c:pt idx="391">
                  <c:v>4.0555840153544915</c:v>
                </c:pt>
                <c:pt idx="392">
                  <c:v>4.0555840153544915</c:v>
                </c:pt>
                <c:pt idx="393">
                  <c:v>4.0555840153544915</c:v>
                </c:pt>
                <c:pt idx="394">
                  <c:v>4.0555840153544915</c:v>
                </c:pt>
                <c:pt idx="395">
                  <c:v>4.0555840153544915</c:v>
                </c:pt>
                <c:pt idx="396">
                  <c:v>4.0787021641003411</c:v>
                </c:pt>
                <c:pt idx="397">
                  <c:v>4.0787021641003411</c:v>
                </c:pt>
                <c:pt idx="398">
                  <c:v>4.0902640529544865</c:v>
                </c:pt>
                <c:pt idx="399">
                  <c:v>4.1018259418086318</c:v>
                </c:pt>
                <c:pt idx="400">
                  <c:v>4.1018259418086318</c:v>
                </c:pt>
                <c:pt idx="401">
                  <c:v>4.1018259418086318</c:v>
                </c:pt>
                <c:pt idx="402">
                  <c:v>4.1018259418086318</c:v>
                </c:pt>
                <c:pt idx="403">
                  <c:v>4.1018259418086318</c:v>
                </c:pt>
                <c:pt idx="404">
                  <c:v>4.1018259418086318</c:v>
                </c:pt>
                <c:pt idx="405">
                  <c:v>4.1018259418086318</c:v>
                </c:pt>
                <c:pt idx="406">
                  <c:v>4.1018259418086318</c:v>
                </c:pt>
                <c:pt idx="407">
                  <c:v>4.1134188960055225</c:v>
                </c:pt>
                <c:pt idx="408">
                  <c:v>4.1134188960055225</c:v>
                </c:pt>
                <c:pt idx="409">
                  <c:v>4.125014683280174</c:v>
                </c:pt>
                <c:pt idx="410">
                  <c:v>4.1366147232885444</c:v>
                </c:pt>
                <c:pt idx="411">
                  <c:v>4.1482204391574697</c:v>
                </c:pt>
                <c:pt idx="412">
                  <c:v>4.1482204391574697</c:v>
                </c:pt>
                <c:pt idx="413">
                  <c:v>4.1482204391574697</c:v>
                </c:pt>
                <c:pt idx="414">
                  <c:v>4.1482204391574697</c:v>
                </c:pt>
                <c:pt idx="415">
                  <c:v>4.1482204391574697</c:v>
                </c:pt>
                <c:pt idx="416">
                  <c:v>4.1598603313676037</c:v>
                </c:pt>
                <c:pt idx="417">
                  <c:v>4.1715059399152263</c:v>
                </c:pt>
                <c:pt idx="418">
                  <c:v>4.1715059399152263</c:v>
                </c:pt>
                <c:pt idx="419">
                  <c:v>4.1831802181047681</c:v>
                </c:pt>
                <c:pt idx="420">
                  <c:v>4.1948616866602801</c:v>
                </c:pt>
                <c:pt idx="421">
                  <c:v>4.1948616866602801</c:v>
                </c:pt>
                <c:pt idx="422">
                  <c:v>4.1948616866602801</c:v>
                </c:pt>
                <c:pt idx="423">
                  <c:v>4.1948616866602801</c:v>
                </c:pt>
                <c:pt idx="424">
                  <c:v>4.1948616866602801</c:v>
                </c:pt>
                <c:pt idx="425">
                  <c:v>4.1948616866602801</c:v>
                </c:pt>
                <c:pt idx="426">
                  <c:v>4.2183403470597236</c:v>
                </c:pt>
                <c:pt idx="427">
                  <c:v>4.2183403470597236</c:v>
                </c:pt>
                <c:pt idx="428">
                  <c:v>4.2418597943118277</c:v>
                </c:pt>
                <c:pt idx="429">
                  <c:v>4.2418597943118277</c:v>
                </c:pt>
                <c:pt idx="430">
                  <c:v>4.2418597943118277</c:v>
                </c:pt>
                <c:pt idx="431">
                  <c:v>4.2418597943118277</c:v>
                </c:pt>
                <c:pt idx="432">
                  <c:v>4.2536619982549135</c:v>
                </c:pt>
                <c:pt idx="433">
                  <c:v>4.2536619982549135</c:v>
                </c:pt>
                <c:pt idx="434">
                  <c:v>4.2536619982549135</c:v>
                </c:pt>
                <c:pt idx="435">
                  <c:v>4.2536619982549135</c:v>
                </c:pt>
                <c:pt idx="436">
                  <c:v>4.2655203398560095</c:v>
                </c:pt>
                <c:pt idx="437">
                  <c:v>4.2892578245595701</c:v>
                </c:pt>
                <c:pt idx="438">
                  <c:v>4.3011384788344227</c:v>
                </c:pt>
                <c:pt idx="439">
                  <c:v>4.3011384788344227</c:v>
                </c:pt>
                <c:pt idx="440">
                  <c:v>4.3130610190724701</c:v>
                </c:pt>
                <c:pt idx="441">
                  <c:v>4.3250076300542162</c:v>
                </c:pt>
                <c:pt idx="442">
                  <c:v>4.3250076300542162</c:v>
                </c:pt>
                <c:pt idx="443">
                  <c:v>4.3369678253061883</c:v>
                </c:pt>
                <c:pt idx="444">
                  <c:v>4.3369678253061883</c:v>
                </c:pt>
                <c:pt idx="445">
                  <c:v>4.3369678253061883</c:v>
                </c:pt>
                <c:pt idx="446">
                  <c:v>4.3489537674644891</c:v>
                </c:pt>
                <c:pt idx="447">
                  <c:v>4.3489537674644891</c:v>
                </c:pt>
                <c:pt idx="448">
                  <c:v>4.3489537674644891</c:v>
                </c:pt>
                <c:pt idx="449">
                  <c:v>4.3730262586973385</c:v>
                </c:pt>
                <c:pt idx="450">
                  <c:v>4.3730262586973385</c:v>
                </c:pt>
                <c:pt idx="451">
                  <c:v>4.3730262586973385</c:v>
                </c:pt>
                <c:pt idx="452">
                  <c:v>4.3730262586973385</c:v>
                </c:pt>
                <c:pt idx="453">
                  <c:v>4.3730262586973385</c:v>
                </c:pt>
                <c:pt idx="454">
                  <c:v>4.3730262586973385</c:v>
                </c:pt>
                <c:pt idx="455">
                  <c:v>4.3851225190405962</c:v>
                </c:pt>
                <c:pt idx="456">
                  <c:v>4.3972249698958006</c:v>
                </c:pt>
                <c:pt idx="457">
                  <c:v>4.4093336183957907</c:v>
                </c:pt>
                <c:pt idx="458">
                  <c:v>4.4093336183957907</c:v>
                </c:pt>
                <c:pt idx="459">
                  <c:v>4.4214515764666418</c:v>
                </c:pt>
                <c:pt idx="460">
                  <c:v>4.4214515764666418</c:v>
                </c:pt>
                <c:pt idx="461">
                  <c:v>4.4335959963598697</c:v>
                </c:pt>
                <c:pt idx="462">
                  <c:v>4.4335959963598697</c:v>
                </c:pt>
                <c:pt idx="463">
                  <c:v>4.4335959963598697</c:v>
                </c:pt>
                <c:pt idx="464">
                  <c:v>4.4822299073303578</c:v>
                </c:pt>
                <c:pt idx="465">
                  <c:v>4.4822299073303578</c:v>
                </c:pt>
                <c:pt idx="466">
                  <c:v>4.4822299073303578</c:v>
                </c:pt>
                <c:pt idx="467">
                  <c:v>4.4822299073303578</c:v>
                </c:pt>
                <c:pt idx="468">
                  <c:v>4.4822299073303578</c:v>
                </c:pt>
                <c:pt idx="469">
                  <c:v>4.4822299073303578</c:v>
                </c:pt>
                <c:pt idx="470">
                  <c:v>4.4822299073303578</c:v>
                </c:pt>
                <c:pt idx="471">
                  <c:v>4.4944386644595058</c:v>
                </c:pt>
                <c:pt idx="472">
                  <c:v>4.5188751290587064</c:v>
                </c:pt>
                <c:pt idx="473">
                  <c:v>4.5188751290587064</c:v>
                </c:pt>
                <c:pt idx="474">
                  <c:v>4.5188751290587064</c:v>
                </c:pt>
                <c:pt idx="475">
                  <c:v>4.5188751290587064</c:v>
                </c:pt>
                <c:pt idx="476">
                  <c:v>4.5188751290587064</c:v>
                </c:pt>
                <c:pt idx="477">
                  <c:v>4.5188751290587064</c:v>
                </c:pt>
                <c:pt idx="478">
                  <c:v>4.5188751290587064</c:v>
                </c:pt>
                <c:pt idx="479">
                  <c:v>4.5188751290587064</c:v>
                </c:pt>
                <c:pt idx="480">
                  <c:v>4.5188751290587064</c:v>
                </c:pt>
                <c:pt idx="481">
                  <c:v>4.5188751290587064</c:v>
                </c:pt>
                <c:pt idx="482">
                  <c:v>4.5312212006441088</c:v>
                </c:pt>
                <c:pt idx="483">
                  <c:v>4.5559327431679346</c:v>
                </c:pt>
                <c:pt idx="484">
                  <c:v>4.5559327431679346</c:v>
                </c:pt>
                <c:pt idx="485">
                  <c:v>4.5559327431679346</c:v>
                </c:pt>
                <c:pt idx="486">
                  <c:v>4.5559327431679346</c:v>
                </c:pt>
                <c:pt idx="487">
                  <c:v>4.5683030980787445</c:v>
                </c:pt>
                <c:pt idx="488">
                  <c:v>4.5683030980787445</c:v>
                </c:pt>
                <c:pt idx="489">
                  <c:v>4.5683030980787445</c:v>
                </c:pt>
                <c:pt idx="490">
                  <c:v>4.5683030980787445</c:v>
                </c:pt>
                <c:pt idx="491">
                  <c:v>4.5807043585442297</c:v>
                </c:pt>
                <c:pt idx="492">
                  <c:v>4.5807043585442297</c:v>
                </c:pt>
                <c:pt idx="493">
                  <c:v>4.5807043585442297</c:v>
                </c:pt>
                <c:pt idx="494">
                  <c:v>4.5807043585442297</c:v>
                </c:pt>
                <c:pt idx="495">
                  <c:v>4.6180013333284942</c:v>
                </c:pt>
                <c:pt idx="496">
                  <c:v>4.6304533660371812</c:v>
                </c:pt>
                <c:pt idx="497">
                  <c:v>4.6429169253564169</c:v>
                </c:pt>
                <c:pt idx="498">
                  <c:v>4.6429169253564169</c:v>
                </c:pt>
                <c:pt idx="499">
                  <c:v>4.6554036050983987</c:v>
                </c:pt>
                <c:pt idx="500">
                  <c:v>4.6554036050983987</c:v>
                </c:pt>
                <c:pt idx="501">
                  <c:v>4.6554036050983987</c:v>
                </c:pt>
                <c:pt idx="502">
                  <c:v>4.6679118336040402</c:v>
                </c:pt>
                <c:pt idx="503">
                  <c:v>4.6679118336040402</c:v>
                </c:pt>
                <c:pt idx="504">
                  <c:v>4.6679118336040402</c:v>
                </c:pt>
                <c:pt idx="505">
                  <c:v>4.6804617228760872</c:v>
                </c:pt>
                <c:pt idx="506">
                  <c:v>4.6804617228760872</c:v>
                </c:pt>
                <c:pt idx="507">
                  <c:v>4.6804617228760872</c:v>
                </c:pt>
                <c:pt idx="508">
                  <c:v>4.6804617228760872</c:v>
                </c:pt>
                <c:pt idx="509">
                  <c:v>4.6804617228760872</c:v>
                </c:pt>
                <c:pt idx="510">
                  <c:v>4.6804617228760872</c:v>
                </c:pt>
                <c:pt idx="511">
                  <c:v>4.6804617228760872</c:v>
                </c:pt>
                <c:pt idx="512">
                  <c:v>4.6804617228760872</c:v>
                </c:pt>
                <c:pt idx="513">
                  <c:v>4.6804617228760872</c:v>
                </c:pt>
                <c:pt idx="514">
                  <c:v>4.693146829810324</c:v>
                </c:pt>
                <c:pt idx="515">
                  <c:v>4.7058473333679478</c:v>
                </c:pt>
                <c:pt idx="516">
                  <c:v>4.7058473333679478</c:v>
                </c:pt>
                <c:pt idx="517">
                  <c:v>4.7058473333679478</c:v>
                </c:pt>
                <c:pt idx="518">
                  <c:v>4.718595983973989</c:v>
                </c:pt>
                <c:pt idx="519">
                  <c:v>4.7313584598755227</c:v>
                </c:pt>
                <c:pt idx="520">
                  <c:v>4.7313584598755227</c:v>
                </c:pt>
                <c:pt idx="521">
                  <c:v>4.7313584598755227</c:v>
                </c:pt>
                <c:pt idx="522">
                  <c:v>4.7313584598755227</c:v>
                </c:pt>
                <c:pt idx="523">
                  <c:v>4.7441713185433425</c:v>
                </c:pt>
                <c:pt idx="524">
                  <c:v>4.7441713185433425</c:v>
                </c:pt>
                <c:pt idx="525">
                  <c:v>4.7441713185433425</c:v>
                </c:pt>
                <c:pt idx="526">
                  <c:v>4.7441713185433425</c:v>
                </c:pt>
                <c:pt idx="527">
                  <c:v>4.7441713185433425</c:v>
                </c:pt>
                <c:pt idx="528">
                  <c:v>4.7441713185433425</c:v>
                </c:pt>
                <c:pt idx="529">
                  <c:v>4.7441713185433425</c:v>
                </c:pt>
                <c:pt idx="530">
                  <c:v>4.7441713185433425</c:v>
                </c:pt>
                <c:pt idx="531">
                  <c:v>4.7571520935956446</c:v>
                </c:pt>
                <c:pt idx="532">
                  <c:v>4.7701561960015102</c:v>
                </c:pt>
                <c:pt idx="533">
                  <c:v>4.7701561960015102</c:v>
                </c:pt>
                <c:pt idx="534">
                  <c:v>4.7701561960015102</c:v>
                </c:pt>
                <c:pt idx="535">
                  <c:v>4.7701561960015102</c:v>
                </c:pt>
                <c:pt idx="536">
                  <c:v>4.7831873227265902</c:v>
                </c:pt>
                <c:pt idx="537">
                  <c:v>4.7831873227265902</c:v>
                </c:pt>
                <c:pt idx="538">
                  <c:v>4.7831873227265902</c:v>
                </c:pt>
                <c:pt idx="539">
                  <c:v>4.7831873227265902</c:v>
                </c:pt>
                <c:pt idx="540">
                  <c:v>4.8094387230266316</c:v>
                </c:pt>
                <c:pt idx="541">
                  <c:v>4.822571756994309</c:v>
                </c:pt>
                <c:pt idx="542">
                  <c:v>4.8357158086079313</c:v>
                </c:pt>
                <c:pt idx="543">
                  <c:v>4.8620370388204819</c:v>
                </c:pt>
                <c:pt idx="544">
                  <c:v>4.8620370388204819</c:v>
                </c:pt>
                <c:pt idx="545">
                  <c:v>4.8752253713787441</c:v>
                </c:pt>
                <c:pt idx="546">
                  <c:v>4.8884303933342252</c:v>
                </c:pt>
                <c:pt idx="547">
                  <c:v>4.9016447067490061</c:v>
                </c:pt>
                <c:pt idx="548">
                  <c:v>4.9016447067490061</c:v>
                </c:pt>
                <c:pt idx="549">
                  <c:v>4.9016447067490061</c:v>
                </c:pt>
                <c:pt idx="550">
                  <c:v>4.9016447067490061</c:v>
                </c:pt>
                <c:pt idx="551">
                  <c:v>4.9016447067490061</c:v>
                </c:pt>
                <c:pt idx="552">
                  <c:v>4.9149056808749965</c:v>
                </c:pt>
                <c:pt idx="553">
                  <c:v>4.9149056808749965</c:v>
                </c:pt>
                <c:pt idx="554">
                  <c:v>4.9149056808749965</c:v>
                </c:pt>
                <c:pt idx="555">
                  <c:v>4.9282268722809688</c:v>
                </c:pt>
                <c:pt idx="556">
                  <c:v>4.9282268722809688</c:v>
                </c:pt>
                <c:pt idx="557">
                  <c:v>4.9282268722809688</c:v>
                </c:pt>
                <c:pt idx="558">
                  <c:v>4.9415859833892073</c:v>
                </c:pt>
                <c:pt idx="559">
                  <c:v>4.9415859833892073</c:v>
                </c:pt>
                <c:pt idx="560">
                  <c:v>4.9415859833892073</c:v>
                </c:pt>
                <c:pt idx="561">
                  <c:v>4.9415859833892073</c:v>
                </c:pt>
                <c:pt idx="562">
                  <c:v>4.9415859833892073</c:v>
                </c:pt>
                <c:pt idx="563">
                  <c:v>4.9550485792198442</c:v>
                </c:pt>
                <c:pt idx="564">
                  <c:v>4.9550485792198442</c:v>
                </c:pt>
                <c:pt idx="565">
                  <c:v>4.9550485792198442</c:v>
                </c:pt>
                <c:pt idx="566">
                  <c:v>4.9550485792198442</c:v>
                </c:pt>
                <c:pt idx="567">
                  <c:v>4.9686536673653485</c:v>
                </c:pt>
                <c:pt idx="568">
                  <c:v>4.9686536673653485</c:v>
                </c:pt>
                <c:pt idx="569">
                  <c:v>4.9686536673653485</c:v>
                </c:pt>
                <c:pt idx="570">
                  <c:v>4.9823201931901453</c:v>
                </c:pt>
                <c:pt idx="571">
                  <c:v>4.9823201931901453</c:v>
                </c:pt>
                <c:pt idx="572">
                  <c:v>4.9823201931901453</c:v>
                </c:pt>
                <c:pt idx="573">
                  <c:v>4.9823201931901453</c:v>
                </c:pt>
                <c:pt idx="574">
                  <c:v>4.9823201931901453</c:v>
                </c:pt>
                <c:pt idx="575">
                  <c:v>4.9823201931901453</c:v>
                </c:pt>
                <c:pt idx="576">
                  <c:v>4.9823201931901453</c:v>
                </c:pt>
                <c:pt idx="577">
                  <c:v>4.9823201931901453</c:v>
                </c:pt>
                <c:pt idx="578">
                  <c:v>4.9823201931901453</c:v>
                </c:pt>
                <c:pt idx="579">
                  <c:v>4.9823201931901453</c:v>
                </c:pt>
                <c:pt idx="580">
                  <c:v>4.9961805990916641</c:v>
                </c:pt>
                <c:pt idx="581">
                  <c:v>5.0100697439864614</c:v>
                </c:pt>
                <c:pt idx="582">
                  <c:v>5.0100697439864614</c:v>
                </c:pt>
                <c:pt idx="583">
                  <c:v>5.0100697439864614</c:v>
                </c:pt>
                <c:pt idx="584">
                  <c:v>5.0100697439864614</c:v>
                </c:pt>
                <c:pt idx="585">
                  <c:v>5.0239794928641928</c:v>
                </c:pt>
                <c:pt idx="586">
                  <c:v>5.0518279133115129</c:v>
                </c:pt>
                <c:pt idx="587">
                  <c:v>5.0518279133115129</c:v>
                </c:pt>
                <c:pt idx="588">
                  <c:v>5.0518279133115129</c:v>
                </c:pt>
                <c:pt idx="589">
                  <c:v>5.0658082025441287</c:v>
                </c:pt>
                <c:pt idx="590">
                  <c:v>5.0658082025441287</c:v>
                </c:pt>
                <c:pt idx="591">
                  <c:v>5.0658082025441287</c:v>
                </c:pt>
                <c:pt idx="592">
                  <c:v>5.0658082025441287</c:v>
                </c:pt>
                <c:pt idx="593">
                  <c:v>5.0798429305246922</c:v>
                </c:pt>
                <c:pt idx="594">
                  <c:v>5.0798429305246922</c:v>
                </c:pt>
                <c:pt idx="595">
                  <c:v>5.0798429305246922</c:v>
                </c:pt>
                <c:pt idx="596">
                  <c:v>5.0798429305246922</c:v>
                </c:pt>
                <c:pt idx="597">
                  <c:v>5.0939537536001014</c:v>
                </c:pt>
                <c:pt idx="598">
                  <c:v>5.1080709568517317</c:v>
                </c:pt>
                <c:pt idx="599">
                  <c:v>5.1221988081673624</c:v>
                </c:pt>
                <c:pt idx="600">
                  <c:v>5.1221988081673624</c:v>
                </c:pt>
                <c:pt idx="601">
                  <c:v>5.1221988081673624</c:v>
                </c:pt>
                <c:pt idx="602">
                  <c:v>5.1505700847981757</c:v>
                </c:pt>
                <c:pt idx="603">
                  <c:v>5.1505700847981757</c:v>
                </c:pt>
                <c:pt idx="604">
                  <c:v>5.1505700847981757</c:v>
                </c:pt>
                <c:pt idx="605">
                  <c:v>5.1505700847981757</c:v>
                </c:pt>
                <c:pt idx="606">
                  <c:v>5.1505700847981757</c:v>
                </c:pt>
                <c:pt idx="607">
                  <c:v>5.1505700847981757</c:v>
                </c:pt>
                <c:pt idx="608">
                  <c:v>5.1505700847981757</c:v>
                </c:pt>
                <c:pt idx="609">
                  <c:v>5.1505700847981757</c:v>
                </c:pt>
                <c:pt idx="610">
                  <c:v>5.1505700847981757</c:v>
                </c:pt>
                <c:pt idx="611">
                  <c:v>5.1505700847981757</c:v>
                </c:pt>
                <c:pt idx="612">
                  <c:v>5.1505700847981757</c:v>
                </c:pt>
                <c:pt idx="613">
                  <c:v>5.1505700847981757</c:v>
                </c:pt>
                <c:pt idx="614">
                  <c:v>5.1505700847981757</c:v>
                </c:pt>
                <c:pt idx="615">
                  <c:v>5.1505700847981757</c:v>
                </c:pt>
                <c:pt idx="616">
                  <c:v>5.1505700847981757</c:v>
                </c:pt>
                <c:pt idx="617">
                  <c:v>5.1505700847981757</c:v>
                </c:pt>
                <c:pt idx="618">
                  <c:v>5.1505700847981757</c:v>
                </c:pt>
                <c:pt idx="619">
                  <c:v>5.1650723197311832</c:v>
                </c:pt>
                <c:pt idx="620">
                  <c:v>5.1650723197311832</c:v>
                </c:pt>
                <c:pt idx="621">
                  <c:v>5.1796061008557803</c:v>
                </c:pt>
                <c:pt idx="622">
                  <c:v>5.1796061008557803</c:v>
                </c:pt>
                <c:pt idx="623">
                  <c:v>5.194203397802367</c:v>
                </c:pt>
                <c:pt idx="624">
                  <c:v>5.194203397802367</c:v>
                </c:pt>
                <c:pt idx="625">
                  <c:v>5.194203397802367</c:v>
                </c:pt>
                <c:pt idx="626">
                  <c:v>5.194203397802367</c:v>
                </c:pt>
                <c:pt idx="627">
                  <c:v>5.194203397802367</c:v>
                </c:pt>
                <c:pt idx="628">
                  <c:v>5.194203397802367</c:v>
                </c:pt>
                <c:pt idx="629">
                  <c:v>5.194203397802367</c:v>
                </c:pt>
                <c:pt idx="630">
                  <c:v>5.194203397802367</c:v>
                </c:pt>
                <c:pt idx="631">
                  <c:v>5.194203397802367</c:v>
                </c:pt>
                <c:pt idx="632">
                  <c:v>5.194203397802367</c:v>
                </c:pt>
                <c:pt idx="633">
                  <c:v>5.194203397802367</c:v>
                </c:pt>
                <c:pt idx="634">
                  <c:v>5.194203397802367</c:v>
                </c:pt>
                <c:pt idx="635">
                  <c:v>5.2237486062139329</c:v>
                </c:pt>
                <c:pt idx="636">
                  <c:v>5.2237486062139329</c:v>
                </c:pt>
                <c:pt idx="637">
                  <c:v>5.2237486062139329</c:v>
                </c:pt>
                <c:pt idx="638">
                  <c:v>5.2237486062139329</c:v>
                </c:pt>
                <c:pt idx="639">
                  <c:v>5.2385821767227867</c:v>
                </c:pt>
                <c:pt idx="640">
                  <c:v>5.2385821767227867</c:v>
                </c:pt>
                <c:pt idx="641">
                  <c:v>5.2385821767227867</c:v>
                </c:pt>
                <c:pt idx="642">
                  <c:v>5.2534464292390588</c:v>
                </c:pt>
                <c:pt idx="643">
                  <c:v>5.2832223179264188</c:v>
                </c:pt>
                <c:pt idx="644">
                  <c:v>5.2832223179264188</c:v>
                </c:pt>
                <c:pt idx="645">
                  <c:v>5.2832223179264188</c:v>
                </c:pt>
                <c:pt idx="646">
                  <c:v>5.2832223179264188</c:v>
                </c:pt>
                <c:pt idx="647">
                  <c:v>5.2832223179264188</c:v>
                </c:pt>
                <c:pt idx="648">
                  <c:v>5.2832223179264188</c:v>
                </c:pt>
                <c:pt idx="649">
                  <c:v>5.2982010132943307</c:v>
                </c:pt>
                <c:pt idx="650">
                  <c:v>5.3132158425365619</c:v>
                </c:pt>
                <c:pt idx="651">
                  <c:v>5.3132158425365619</c:v>
                </c:pt>
                <c:pt idx="652">
                  <c:v>5.3132158425365619</c:v>
                </c:pt>
                <c:pt idx="653">
                  <c:v>5.358478745429216</c:v>
                </c:pt>
                <c:pt idx="654">
                  <c:v>5.3735908210588557</c:v>
                </c:pt>
                <c:pt idx="655">
                  <c:v>5.4038591094853139</c:v>
                </c:pt>
                <c:pt idx="656">
                  <c:v>5.4038591094853139</c:v>
                </c:pt>
                <c:pt idx="657">
                  <c:v>5.4038591094853139</c:v>
                </c:pt>
                <c:pt idx="658">
                  <c:v>5.4038591094853139</c:v>
                </c:pt>
                <c:pt idx="659">
                  <c:v>5.43439008323789</c:v>
                </c:pt>
                <c:pt idx="660">
                  <c:v>5.4496705878090888</c:v>
                </c:pt>
                <c:pt idx="661">
                  <c:v>5.4496705878090888</c:v>
                </c:pt>
                <c:pt idx="662">
                  <c:v>5.4496705878090888</c:v>
                </c:pt>
                <c:pt idx="663">
                  <c:v>5.465036768032566</c:v>
                </c:pt>
                <c:pt idx="664">
                  <c:v>5.465036768032566</c:v>
                </c:pt>
                <c:pt idx="665">
                  <c:v>5.4804385122373844</c:v>
                </c:pt>
                <c:pt idx="666">
                  <c:v>5.4804385122373844</c:v>
                </c:pt>
                <c:pt idx="667">
                  <c:v>5.4804385122373844</c:v>
                </c:pt>
                <c:pt idx="668">
                  <c:v>5.4804385122373844</c:v>
                </c:pt>
                <c:pt idx="669">
                  <c:v>5.4958759913475497</c:v>
                </c:pt>
                <c:pt idx="670">
                  <c:v>5.5113262752678605</c:v>
                </c:pt>
                <c:pt idx="671">
                  <c:v>5.5113262752678605</c:v>
                </c:pt>
                <c:pt idx="672">
                  <c:v>5.526789387388038</c:v>
                </c:pt>
                <c:pt idx="673">
                  <c:v>5.526789387388038</c:v>
                </c:pt>
                <c:pt idx="674">
                  <c:v>5.526789387388038</c:v>
                </c:pt>
                <c:pt idx="675">
                  <c:v>5.526789387388038</c:v>
                </c:pt>
                <c:pt idx="676">
                  <c:v>5.526789387388038</c:v>
                </c:pt>
                <c:pt idx="677">
                  <c:v>5.5423118014225832</c:v>
                </c:pt>
                <c:pt idx="678">
                  <c:v>5.5578575496355667</c:v>
                </c:pt>
                <c:pt idx="679">
                  <c:v>5.5578575496355667</c:v>
                </c:pt>
                <c:pt idx="680">
                  <c:v>5.5890010733313229</c:v>
                </c:pt>
                <c:pt idx="681">
                  <c:v>5.6045832685204724</c:v>
                </c:pt>
                <c:pt idx="682">
                  <c:v>5.6045832685204724</c:v>
                </c:pt>
                <c:pt idx="683">
                  <c:v>5.6201916127198404</c:v>
                </c:pt>
                <c:pt idx="684">
                  <c:v>5.6201916127198404</c:v>
                </c:pt>
                <c:pt idx="685">
                  <c:v>5.6201916127198404</c:v>
                </c:pt>
                <c:pt idx="686">
                  <c:v>5.6201916127198404</c:v>
                </c:pt>
                <c:pt idx="687">
                  <c:v>5.6201916127198404</c:v>
                </c:pt>
                <c:pt idx="688">
                  <c:v>5.6201916127198404</c:v>
                </c:pt>
                <c:pt idx="689">
                  <c:v>5.6201916127198404</c:v>
                </c:pt>
                <c:pt idx="690">
                  <c:v>5.6201916127198404</c:v>
                </c:pt>
                <c:pt idx="691">
                  <c:v>5.6201916127198404</c:v>
                </c:pt>
                <c:pt idx="692">
                  <c:v>5.6201916127198404</c:v>
                </c:pt>
                <c:pt idx="693">
                  <c:v>5.6359614287546025</c:v>
                </c:pt>
                <c:pt idx="694">
                  <c:v>5.651739274227265</c:v>
                </c:pt>
                <c:pt idx="695">
                  <c:v>5.651739274227265</c:v>
                </c:pt>
                <c:pt idx="696">
                  <c:v>5.6833486221883094</c:v>
                </c:pt>
                <c:pt idx="697">
                  <c:v>5.7150064342262956</c:v>
                </c:pt>
                <c:pt idx="698">
                  <c:v>5.7150064342262956</c:v>
                </c:pt>
                <c:pt idx="699">
                  <c:v>5.7150064342262956</c:v>
                </c:pt>
                <c:pt idx="700">
                  <c:v>5.7308759063806525</c:v>
                </c:pt>
                <c:pt idx="701">
                  <c:v>5.7467535181172398</c:v>
                </c:pt>
                <c:pt idx="702">
                  <c:v>5.7626419974867744</c:v>
                </c:pt>
                <c:pt idx="703">
                  <c:v>5.7626419974867744</c:v>
                </c:pt>
                <c:pt idx="704">
                  <c:v>5.7945226241887635</c:v>
                </c:pt>
                <c:pt idx="705">
                  <c:v>5.7945226241887635</c:v>
                </c:pt>
                <c:pt idx="706">
                  <c:v>5.8104876214386154</c:v>
                </c:pt>
                <c:pt idx="707">
                  <c:v>5.8264553665365311</c:v>
                </c:pt>
                <c:pt idx="708">
                  <c:v>5.8264553665365311</c:v>
                </c:pt>
                <c:pt idx="709">
                  <c:v>5.8264553665365311</c:v>
                </c:pt>
                <c:pt idx="710">
                  <c:v>5.8264553665365311</c:v>
                </c:pt>
                <c:pt idx="711">
                  <c:v>5.8264553665365311</c:v>
                </c:pt>
                <c:pt idx="712">
                  <c:v>5.8264553665365311</c:v>
                </c:pt>
                <c:pt idx="713">
                  <c:v>5.8264553665365311</c:v>
                </c:pt>
                <c:pt idx="714">
                  <c:v>5.8264553665365311</c:v>
                </c:pt>
                <c:pt idx="715">
                  <c:v>5.8425254689748174</c:v>
                </c:pt>
                <c:pt idx="716">
                  <c:v>5.8425254689748174</c:v>
                </c:pt>
                <c:pt idx="717">
                  <c:v>5.8425254689748174</c:v>
                </c:pt>
                <c:pt idx="718">
                  <c:v>5.8586234675082949</c:v>
                </c:pt>
                <c:pt idx="719">
                  <c:v>5.8586234675082949</c:v>
                </c:pt>
                <c:pt idx="720">
                  <c:v>5.8586234675082949</c:v>
                </c:pt>
                <c:pt idx="721">
                  <c:v>5.8586234675082949</c:v>
                </c:pt>
                <c:pt idx="722">
                  <c:v>5.8909091626342907</c:v>
                </c:pt>
                <c:pt idx="723">
                  <c:v>5.9070660817171303</c:v>
                </c:pt>
                <c:pt idx="724">
                  <c:v>5.9070660817171303</c:v>
                </c:pt>
                <c:pt idx="725">
                  <c:v>5.9070660817171303</c:v>
                </c:pt>
                <c:pt idx="726">
                  <c:v>5.9070660817171303</c:v>
                </c:pt>
                <c:pt idx="727">
                  <c:v>5.9070660817171303</c:v>
                </c:pt>
                <c:pt idx="728">
                  <c:v>5.9070660817171303</c:v>
                </c:pt>
                <c:pt idx="729">
                  <c:v>5.9070660817171303</c:v>
                </c:pt>
                <c:pt idx="730">
                  <c:v>5.9232795563168272</c:v>
                </c:pt>
                <c:pt idx="731">
                  <c:v>5.9232795563168272</c:v>
                </c:pt>
                <c:pt idx="732">
                  <c:v>5.9232795563168272</c:v>
                </c:pt>
                <c:pt idx="733">
                  <c:v>5.9395072358180485</c:v>
                </c:pt>
                <c:pt idx="734">
                  <c:v>5.9395072358180485</c:v>
                </c:pt>
                <c:pt idx="735">
                  <c:v>5.9395072358180485</c:v>
                </c:pt>
                <c:pt idx="736">
                  <c:v>5.9395072358180485</c:v>
                </c:pt>
                <c:pt idx="737">
                  <c:v>5.9395072358180485</c:v>
                </c:pt>
                <c:pt idx="738">
                  <c:v>5.9395072358180485</c:v>
                </c:pt>
                <c:pt idx="739">
                  <c:v>5.9395072358180485</c:v>
                </c:pt>
                <c:pt idx="740">
                  <c:v>5.9395072358180485</c:v>
                </c:pt>
                <c:pt idx="741">
                  <c:v>5.9395072358180485</c:v>
                </c:pt>
                <c:pt idx="742">
                  <c:v>5.9558063299157675</c:v>
                </c:pt>
                <c:pt idx="743">
                  <c:v>5.972125539256556</c:v>
                </c:pt>
                <c:pt idx="744">
                  <c:v>5.972125539256556</c:v>
                </c:pt>
                <c:pt idx="745">
                  <c:v>5.972125539256556</c:v>
                </c:pt>
                <c:pt idx="746">
                  <c:v>5.972125539256556</c:v>
                </c:pt>
                <c:pt idx="747">
                  <c:v>5.972125539256556</c:v>
                </c:pt>
                <c:pt idx="748">
                  <c:v>5.9884909214266013</c:v>
                </c:pt>
                <c:pt idx="749">
                  <c:v>5.9884909214266013</c:v>
                </c:pt>
                <c:pt idx="750">
                  <c:v>5.9884909214266013</c:v>
                </c:pt>
                <c:pt idx="751">
                  <c:v>6.0048823954371304</c:v>
                </c:pt>
                <c:pt idx="752">
                  <c:v>6.0048823954371304</c:v>
                </c:pt>
                <c:pt idx="753">
                  <c:v>6.0048823954371304</c:v>
                </c:pt>
                <c:pt idx="754">
                  <c:v>6.0048823954371304</c:v>
                </c:pt>
                <c:pt idx="755">
                  <c:v>6.0048823954371304</c:v>
                </c:pt>
                <c:pt idx="756">
                  <c:v>6.0048823954371304</c:v>
                </c:pt>
                <c:pt idx="757">
                  <c:v>6.0048823954371304</c:v>
                </c:pt>
                <c:pt idx="758">
                  <c:v>6.0048823954371304</c:v>
                </c:pt>
                <c:pt idx="759">
                  <c:v>6.021343874866993</c:v>
                </c:pt>
                <c:pt idx="760">
                  <c:v>6.021343874866993</c:v>
                </c:pt>
                <c:pt idx="761">
                  <c:v>6.021343874866993</c:v>
                </c:pt>
                <c:pt idx="762">
                  <c:v>6.021343874866993</c:v>
                </c:pt>
                <c:pt idx="763">
                  <c:v>6.021343874866993</c:v>
                </c:pt>
                <c:pt idx="764">
                  <c:v>6.021343874866993</c:v>
                </c:pt>
                <c:pt idx="765">
                  <c:v>6.021343874866993</c:v>
                </c:pt>
                <c:pt idx="766">
                  <c:v>6.0378789350202151</c:v>
                </c:pt>
                <c:pt idx="767">
                  <c:v>6.0378789350202151</c:v>
                </c:pt>
                <c:pt idx="768">
                  <c:v>6.0378789350202151</c:v>
                </c:pt>
                <c:pt idx="769">
                  <c:v>6.0378789350202151</c:v>
                </c:pt>
                <c:pt idx="770">
                  <c:v>6.0544703680682721</c:v>
                </c:pt>
                <c:pt idx="771">
                  <c:v>6.0544703680682721</c:v>
                </c:pt>
                <c:pt idx="772">
                  <c:v>6.0710796862399867</c:v>
                </c:pt>
                <c:pt idx="773">
                  <c:v>6.0710796862399867</c:v>
                </c:pt>
                <c:pt idx="774">
                  <c:v>6.0710796862399867</c:v>
                </c:pt>
                <c:pt idx="775">
                  <c:v>6.087766968353292</c:v>
                </c:pt>
                <c:pt idx="776">
                  <c:v>6.087766968353292</c:v>
                </c:pt>
                <c:pt idx="777">
                  <c:v>6.087766968353292</c:v>
                </c:pt>
                <c:pt idx="778">
                  <c:v>6.087766968353292</c:v>
                </c:pt>
                <c:pt idx="779">
                  <c:v>6.087766968353292</c:v>
                </c:pt>
                <c:pt idx="780">
                  <c:v>6.087766968353292</c:v>
                </c:pt>
                <c:pt idx="781">
                  <c:v>6.087766968353292</c:v>
                </c:pt>
                <c:pt idx="782">
                  <c:v>6.1046339456016003</c:v>
                </c:pt>
                <c:pt idx="783">
                  <c:v>6.1046339456016003</c:v>
                </c:pt>
                <c:pt idx="784">
                  <c:v>6.1215938026805725</c:v>
                </c:pt>
                <c:pt idx="785">
                  <c:v>6.1385848531696574</c:v>
                </c:pt>
                <c:pt idx="786">
                  <c:v>6.1555946783001669</c:v>
                </c:pt>
                <c:pt idx="787">
                  <c:v>6.1726139080520168</c:v>
                </c:pt>
                <c:pt idx="788">
                  <c:v>6.1726139080520168</c:v>
                </c:pt>
                <c:pt idx="789">
                  <c:v>6.1896929538166825</c:v>
                </c:pt>
                <c:pt idx="790">
                  <c:v>6.1896929538166825</c:v>
                </c:pt>
                <c:pt idx="791">
                  <c:v>6.1896929538166825</c:v>
                </c:pt>
                <c:pt idx="792">
                  <c:v>6.1896929538166825</c:v>
                </c:pt>
                <c:pt idx="793">
                  <c:v>6.1896929538166825</c:v>
                </c:pt>
                <c:pt idx="794">
                  <c:v>6.1896929538166825</c:v>
                </c:pt>
                <c:pt idx="795">
                  <c:v>6.2242733030798485</c:v>
                </c:pt>
                <c:pt idx="796">
                  <c:v>6.2242733030798485</c:v>
                </c:pt>
                <c:pt idx="797">
                  <c:v>6.2242733030798485</c:v>
                </c:pt>
                <c:pt idx="798">
                  <c:v>6.2242733030798485</c:v>
                </c:pt>
                <c:pt idx="799">
                  <c:v>6.2242733030798485</c:v>
                </c:pt>
                <c:pt idx="800">
                  <c:v>6.2242733030798485</c:v>
                </c:pt>
                <c:pt idx="801">
                  <c:v>6.2242733030798485</c:v>
                </c:pt>
                <c:pt idx="802">
                  <c:v>6.2242733030798485</c:v>
                </c:pt>
                <c:pt idx="803">
                  <c:v>6.2242733030798485</c:v>
                </c:pt>
                <c:pt idx="804">
                  <c:v>6.2242733030798485</c:v>
                </c:pt>
                <c:pt idx="805">
                  <c:v>6.2242733030798485</c:v>
                </c:pt>
                <c:pt idx="806">
                  <c:v>6.2598605232914784</c:v>
                </c:pt>
                <c:pt idx="807">
                  <c:v>6.2598605232914784</c:v>
                </c:pt>
                <c:pt idx="808">
                  <c:v>6.2598605232914784</c:v>
                </c:pt>
                <c:pt idx="809">
                  <c:v>6.2777507627772318</c:v>
                </c:pt>
                <c:pt idx="810">
                  <c:v>6.2777507627772318</c:v>
                </c:pt>
                <c:pt idx="811">
                  <c:v>6.2957668367324322</c:v>
                </c:pt>
                <c:pt idx="812">
                  <c:v>6.2957668367324322</c:v>
                </c:pt>
                <c:pt idx="813">
                  <c:v>6.2957668367324322</c:v>
                </c:pt>
                <c:pt idx="814">
                  <c:v>6.2957668367324322</c:v>
                </c:pt>
                <c:pt idx="815">
                  <c:v>6.2957668367324322</c:v>
                </c:pt>
                <c:pt idx="816">
                  <c:v>6.3139284305915258</c:v>
                </c:pt>
                <c:pt idx="817">
                  <c:v>6.3139284305915258</c:v>
                </c:pt>
                <c:pt idx="818">
                  <c:v>6.350424209183843</c:v>
                </c:pt>
                <c:pt idx="819">
                  <c:v>6.350424209183843</c:v>
                </c:pt>
                <c:pt idx="820">
                  <c:v>6.350424209183843</c:v>
                </c:pt>
                <c:pt idx="821">
                  <c:v>6.350424209183843</c:v>
                </c:pt>
                <c:pt idx="822">
                  <c:v>6.350424209183843</c:v>
                </c:pt>
                <c:pt idx="823">
                  <c:v>6.350424209183843</c:v>
                </c:pt>
                <c:pt idx="824">
                  <c:v>6.350424209183843</c:v>
                </c:pt>
                <c:pt idx="825">
                  <c:v>6.350424209183843</c:v>
                </c:pt>
                <c:pt idx="826">
                  <c:v>6.3690070234348122</c:v>
                </c:pt>
                <c:pt idx="827">
                  <c:v>6.3876123577596058</c:v>
                </c:pt>
                <c:pt idx="828">
                  <c:v>6.3876123577596058</c:v>
                </c:pt>
                <c:pt idx="829">
                  <c:v>6.3876123577596058</c:v>
                </c:pt>
                <c:pt idx="830">
                  <c:v>6.3876123577596058</c:v>
                </c:pt>
                <c:pt idx="831">
                  <c:v>6.3876123577596058</c:v>
                </c:pt>
                <c:pt idx="832">
                  <c:v>6.3876123577596058</c:v>
                </c:pt>
                <c:pt idx="833">
                  <c:v>6.3876123577596058</c:v>
                </c:pt>
                <c:pt idx="834">
                  <c:v>6.3876123577596058</c:v>
                </c:pt>
                <c:pt idx="835">
                  <c:v>6.3876123577596058</c:v>
                </c:pt>
                <c:pt idx="836">
                  <c:v>6.4067155585265656</c:v>
                </c:pt>
                <c:pt idx="837">
                  <c:v>6.4067155585265656</c:v>
                </c:pt>
                <c:pt idx="838">
                  <c:v>6.4067155585265656</c:v>
                </c:pt>
                <c:pt idx="839">
                  <c:v>6.4067155585265656</c:v>
                </c:pt>
                <c:pt idx="840">
                  <c:v>6.4067155585265656</c:v>
                </c:pt>
                <c:pt idx="841">
                  <c:v>6.4260149976242547</c:v>
                </c:pt>
                <c:pt idx="842">
                  <c:v>6.4453387484235165</c:v>
                </c:pt>
                <c:pt idx="843">
                  <c:v>6.4453387484235165</c:v>
                </c:pt>
                <c:pt idx="844">
                  <c:v>6.4646828100813014</c:v>
                </c:pt>
                <c:pt idx="845">
                  <c:v>6.4646828100813014</c:v>
                </c:pt>
                <c:pt idx="846">
                  <c:v>6.4646828100813014</c:v>
                </c:pt>
                <c:pt idx="847">
                  <c:v>6.4646828100813014</c:v>
                </c:pt>
                <c:pt idx="848">
                  <c:v>6.4646828100813014</c:v>
                </c:pt>
                <c:pt idx="849">
                  <c:v>6.4646828100813014</c:v>
                </c:pt>
                <c:pt idx="850">
                  <c:v>6.4646828100813014</c:v>
                </c:pt>
                <c:pt idx="851">
                  <c:v>6.4646828100813014</c:v>
                </c:pt>
                <c:pt idx="852">
                  <c:v>6.4646828100813014</c:v>
                </c:pt>
                <c:pt idx="853">
                  <c:v>6.4646828100813014</c:v>
                </c:pt>
                <c:pt idx="854">
                  <c:v>6.4646828100813014</c:v>
                </c:pt>
                <c:pt idx="855">
                  <c:v>6.4646828100813014</c:v>
                </c:pt>
                <c:pt idx="856">
                  <c:v>6.4845318623454702</c:v>
                </c:pt>
                <c:pt idx="857">
                  <c:v>6.4845318623454702</c:v>
                </c:pt>
                <c:pt idx="858">
                  <c:v>6.4845318623454702</c:v>
                </c:pt>
                <c:pt idx="859">
                  <c:v>6.4845318623454702</c:v>
                </c:pt>
                <c:pt idx="860">
                  <c:v>6.4845318623454702</c:v>
                </c:pt>
                <c:pt idx="861">
                  <c:v>6.4845318623454702</c:v>
                </c:pt>
                <c:pt idx="862">
                  <c:v>6.4845318623454702</c:v>
                </c:pt>
                <c:pt idx="863">
                  <c:v>6.4845318623454702</c:v>
                </c:pt>
                <c:pt idx="864">
                  <c:v>6.4845318623454702</c:v>
                </c:pt>
                <c:pt idx="865">
                  <c:v>6.4845318623454702</c:v>
                </c:pt>
                <c:pt idx="866">
                  <c:v>6.5049177246407091</c:v>
                </c:pt>
                <c:pt idx="867">
                  <c:v>6.5049177246407091</c:v>
                </c:pt>
                <c:pt idx="868">
                  <c:v>6.5254768120627862</c:v>
                </c:pt>
                <c:pt idx="869">
                  <c:v>6.5254768120627862</c:v>
                </c:pt>
                <c:pt idx="870">
                  <c:v>6.5254768120627862</c:v>
                </c:pt>
                <c:pt idx="871">
                  <c:v>6.5254768120627862</c:v>
                </c:pt>
                <c:pt idx="872">
                  <c:v>6.5254768120627862</c:v>
                </c:pt>
                <c:pt idx="873">
                  <c:v>6.5254768120627862</c:v>
                </c:pt>
                <c:pt idx="874">
                  <c:v>6.5254768120627862</c:v>
                </c:pt>
                <c:pt idx="875">
                  <c:v>6.5254768120627862</c:v>
                </c:pt>
                <c:pt idx="876">
                  <c:v>6.5466078106334562</c:v>
                </c:pt>
                <c:pt idx="877">
                  <c:v>6.5466078106334562</c:v>
                </c:pt>
                <c:pt idx="878">
                  <c:v>6.5466078106334562</c:v>
                </c:pt>
                <c:pt idx="879">
                  <c:v>6.5466078106334562</c:v>
                </c:pt>
                <c:pt idx="880">
                  <c:v>6.5466078106334562</c:v>
                </c:pt>
                <c:pt idx="881">
                  <c:v>6.5466078106334562</c:v>
                </c:pt>
                <c:pt idx="882">
                  <c:v>6.5466078106334562</c:v>
                </c:pt>
                <c:pt idx="883">
                  <c:v>6.5466078106334562</c:v>
                </c:pt>
                <c:pt idx="884">
                  <c:v>6.5466078106334562</c:v>
                </c:pt>
                <c:pt idx="885">
                  <c:v>6.5466078106334562</c:v>
                </c:pt>
                <c:pt idx="886">
                  <c:v>6.5466078106334562</c:v>
                </c:pt>
                <c:pt idx="887">
                  <c:v>6.5466078106334562</c:v>
                </c:pt>
                <c:pt idx="888">
                  <c:v>6.5466078106334562</c:v>
                </c:pt>
                <c:pt idx="889">
                  <c:v>6.5466078106334562</c:v>
                </c:pt>
                <c:pt idx="890">
                  <c:v>6.5466078106334562</c:v>
                </c:pt>
                <c:pt idx="891">
                  <c:v>6.5466078106334562</c:v>
                </c:pt>
                <c:pt idx="892">
                  <c:v>6.5466078106334562</c:v>
                </c:pt>
                <c:pt idx="893">
                  <c:v>6.5466078106334562</c:v>
                </c:pt>
                <c:pt idx="894">
                  <c:v>6.5690554644758592</c:v>
                </c:pt>
                <c:pt idx="895">
                  <c:v>6.5916300347485413</c:v>
                </c:pt>
                <c:pt idx="896">
                  <c:v>6.5916300347485413</c:v>
                </c:pt>
                <c:pt idx="897">
                  <c:v>6.5916300347485413</c:v>
                </c:pt>
                <c:pt idx="898">
                  <c:v>6.5916300347485413</c:v>
                </c:pt>
                <c:pt idx="899">
                  <c:v>6.5916300347485413</c:v>
                </c:pt>
                <c:pt idx="900">
                  <c:v>6.5916300347485413</c:v>
                </c:pt>
                <c:pt idx="901">
                  <c:v>6.614611521646971</c:v>
                </c:pt>
                <c:pt idx="902">
                  <c:v>6.614611521646971</c:v>
                </c:pt>
                <c:pt idx="903">
                  <c:v>6.614611521646971</c:v>
                </c:pt>
                <c:pt idx="904">
                  <c:v>6.614611521646971</c:v>
                </c:pt>
                <c:pt idx="905">
                  <c:v>6.614611521646971</c:v>
                </c:pt>
                <c:pt idx="906">
                  <c:v>6.614611521646971</c:v>
                </c:pt>
                <c:pt idx="907">
                  <c:v>6.614611521646971</c:v>
                </c:pt>
                <c:pt idx="908">
                  <c:v>6.614611521646971</c:v>
                </c:pt>
                <c:pt idx="909">
                  <c:v>6.614611521646971</c:v>
                </c:pt>
                <c:pt idx="910">
                  <c:v>6.614611521646971</c:v>
                </c:pt>
                <c:pt idx="911">
                  <c:v>6.614611521646971</c:v>
                </c:pt>
                <c:pt idx="912">
                  <c:v>6.614611521646971</c:v>
                </c:pt>
                <c:pt idx="913">
                  <c:v>6.614611521646971</c:v>
                </c:pt>
                <c:pt idx="914">
                  <c:v>6.614611521646971</c:v>
                </c:pt>
                <c:pt idx="915">
                  <c:v>6.614611521646971</c:v>
                </c:pt>
                <c:pt idx="916">
                  <c:v>6.614611521646971</c:v>
                </c:pt>
                <c:pt idx="917">
                  <c:v>6.614611521646971</c:v>
                </c:pt>
                <c:pt idx="918">
                  <c:v>6.614611521646971</c:v>
                </c:pt>
                <c:pt idx="919">
                  <c:v>6.614611521646971</c:v>
                </c:pt>
                <c:pt idx="920">
                  <c:v>6.614611521646971</c:v>
                </c:pt>
                <c:pt idx="921">
                  <c:v>6.63922749445166</c:v>
                </c:pt>
                <c:pt idx="922">
                  <c:v>6.63922749445166</c:v>
                </c:pt>
                <c:pt idx="923">
                  <c:v>6.63922749445166</c:v>
                </c:pt>
                <c:pt idx="924">
                  <c:v>6.6646630889923548</c:v>
                </c:pt>
                <c:pt idx="925">
                  <c:v>6.6646630889923548</c:v>
                </c:pt>
                <c:pt idx="926">
                  <c:v>6.6903625974416316</c:v>
                </c:pt>
                <c:pt idx="927">
                  <c:v>6.6903625974416316</c:v>
                </c:pt>
                <c:pt idx="928">
                  <c:v>6.6903625974416316</c:v>
                </c:pt>
                <c:pt idx="929">
                  <c:v>6.7423301230353214</c:v>
                </c:pt>
                <c:pt idx="930">
                  <c:v>6.7423301230353214</c:v>
                </c:pt>
                <c:pt idx="931">
                  <c:v>6.7686499793434791</c:v>
                </c:pt>
                <c:pt idx="932">
                  <c:v>6.7950077277568885</c:v>
                </c:pt>
                <c:pt idx="933">
                  <c:v>6.7950077277568885</c:v>
                </c:pt>
                <c:pt idx="934">
                  <c:v>6.7950077277568885</c:v>
                </c:pt>
                <c:pt idx="935">
                  <c:v>6.7950077277568885</c:v>
                </c:pt>
                <c:pt idx="936">
                  <c:v>6.7950077277568885</c:v>
                </c:pt>
                <c:pt idx="937">
                  <c:v>6.7950077277568885</c:v>
                </c:pt>
                <c:pt idx="938">
                  <c:v>6.7950077277568885</c:v>
                </c:pt>
                <c:pt idx="939">
                  <c:v>6.7950077277568885</c:v>
                </c:pt>
                <c:pt idx="940">
                  <c:v>6.7950077277568885</c:v>
                </c:pt>
                <c:pt idx="941">
                  <c:v>6.7950077277568885</c:v>
                </c:pt>
                <c:pt idx="942">
                  <c:v>6.7950077277568885</c:v>
                </c:pt>
                <c:pt idx="943">
                  <c:v>6.7950077277568885</c:v>
                </c:pt>
                <c:pt idx="944">
                  <c:v>6.7950077277568885</c:v>
                </c:pt>
                <c:pt idx="945">
                  <c:v>6.7950077277568885</c:v>
                </c:pt>
                <c:pt idx="946">
                  <c:v>6.7950077277568885</c:v>
                </c:pt>
                <c:pt idx="947">
                  <c:v>6.7950077277568885</c:v>
                </c:pt>
                <c:pt idx="948">
                  <c:v>6.7950077277568885</c:v>
                </c:pt>
                <c:pt idx="949">
                  <c:v>6.7950077277568885</c:v>
                </c:pt>
                <c:pt idx="950">
                  <c:v>6.7950077277568885</c:v>
                </c:pt>
                <c:pt idx="951">
                  <c:v>6.7950077277568885</c:v>
                </c:pt>
                <c:pt idx="952">
                  <c:v>6.7950077277568885</c:v>
                </c:pt>
                <c:pt idx="953">
                  <c:v>6.8233141673915032</c:v>
                </c:pt>
                <c:pt idx="954">
                  <c:v>6.8233141673915032</c:v>
                </c:pt>
                <c:pt idx="955">
                  <c:v>6.8802087903833797</c:v>
                </c:pt>
                <c:pt idx="956">
                  <c:v>6.9086826881517442</c:v>
                </c:pt>
                <c:pt idx="957">
                  <c:v>6.9086826881517442</c:v>
                </c:pt>
                <c:pt idx="958">
                  <c:v>6.9086826881517442</c:v>
                </c:pt>
                <c:pt idx="959">
                  <c:v>6.9086826881517442</c:v>
                </c:pt>
                <c:pt idx="960">
                  <c:v>6.9086826881517442</c:v>
                </c:pt>
                <c:pt idx="961">
                  <c:v>6.9086826881517442</c:v>
                </c:pt>
                <c:pt idx="962">
                  <c:v>6.9086826881517442</c:v>
                </c:pt>
                <c:pt idx="963">
                  <c:v>6.9086826881517442</c:v>
                </c:pt>
                <c:pt idx="964">
                  <c:v>6.9086826881517442</c:v>
                </c:pt>
                <c:pt idx="965">
                  <c:v>6.9086826881517442</c:v>
                </c:pt>
                <c:pt idx="966">
                  <c:v>6.9086826881517442</c:v>
                </c:pt>
                <c:pt idx="967">
                  <c:v>6.9086826881517442</c:v>
                </c:pt>
                <c:pt idx="968">
                  <c:v>6.9384169272890599</c:v>
                </c:pt>
                <c:pt idx="969">
                  <c:v>6.9384169272890599</c:v>
                </c:pt>
                <c:pt idx="970">
                  <c:v>6.9384169272890599</c:v>
                </c:pt>
                <c:pt idx="971">
                  <c:v>6.9384169272890599</c:v>
                </c:pt>
                <c:pt idx="972">
                  <c:v>6.9384169272890599</c:v>
                </c:pt>
                <c:pt idx="973">
                  <c:v>6.9384169272890599</c:v>
                </c:pt>
                <c:pt idx="974">
                  <c:v>6.9384169272890599</c:v>
                </c:pt>
                <c:pt idx="975">
                  <c:v>6.9384169272890599</c:v>
                </c:pt>
                <c:pt idx="976">
                  <c:v>6.9384169272890599</c:v>
                </c:pt>
                <c:pt idx="977">
                  <c:v>6.9384169272890599</c:v>
                </c:pt>
                <c:pt idx="978">
                  <c:v>6.969433859486986</c:v>
                </c:pt>
                <c:pt idx="979">
                  <c:v>6.969433859486986</c:v>
                </c:pt>
                <c:pt idx="980">
                  <c:v>7.000889004717342</c:v>
                </c:pt>
                <c:pt idx="981">
                  <c:v>7.000889004717342</c:v>
                </c:pt>
                <c:pt idx="982">
                  <c:v>7.000889004717342</c:v>
                </c:pt>
                <c:pt idx="983">
                  <c:v>7.000889004717342</c:v>
                </c:pt>
                <c:pt idx="984">
                  <c:v>7.000889004717342</c:v>
                </c:pt>
                <c:pt idx="985">
                  <c:v>7.000889004717342</c:v>
                </c:pt>
                <c:pt idx="986">
                  <c:v>7.0330085246943046</c:v>
                </c:pt>
                <c:pt idx="987">
                  <c:v>7.0652986511867271</c:v>
                </c:pt>
                <c:pt idx="988">
                  <c:v>7.0652986511867271</c:v>
                </c:pt>
                <c:pt idx="989">
                  <c:v>7.0652986511867271</c:v>
                </c:pt>
                <c:pt idx="990">
                  <c:v>7.0652986511867271</c:v>
                </c:pt>
                <c:pt idx="991">
                  <c:v>7.0652986511867271</c:v>
                </c:pt>
                <c:pt idx="992">
                  <c:v>7.0652986511867271</c:v>
                </c:pt>
                <c:pt idx="993">
                  <c:v>7.0652986511867271</c:v>
                </c:pt>
                <c:pt idx="994">
                  <c:v>7.0986035192920225</c:v>
                </c:pt>
                <c:pt idx="995">
                  <c:v>7.132018344775509</c:v>
                </c:pt>
                <c:pt idx="996">
                  <c:v>7.1655315576730061</c:v>
                </c:pt>
                <c:pt idx="997">
                  <c:v>7.1655315576730061</c:v>
                </c:pt>
                <c:pt idx="998">
                  <c:v>7.1655315576730061</c:v>
                </c:pt>
                <c:pt idx="999">
                  <c:v>7.1655315576730061</c:v>
                </c:pt>
                <c:pt idx="1000">
                  <c:v>7.1655315576730061</c:v>
                </c:pt>
                <c:pt idx="1001">
                  <c:v>7.1655315576730061</c:v>
                </c:pt>
                <c:pt idx="1002">
                  <c:v>7.1655315576730061</c:v>
                </c:pt>
                <c:pt idx="1003">
                  <c:v>7.1655315576730061</c:v>
                </c:pt>
                <c:pt idx="1004">
                  <c:v>7.1655315576730061</c:v>
                </c:pt>
                <c:pt idx="1005">
                  <c:v>7.1655315576730061</c:v>
                </c:pt>
                <c:pt idx="1006">
                  <c:v>7.1655315576730061</c:v>
                </c:pt>
                <c:pt idx="1007">
                  <c:v>7.2004063082630516</c:v>
                </c:pt>
                <c:pt idx="1008">
                  <c:v>7.2004063082630516</c:v>
                </c:pt>
                <c:pt idx="1009">
                  <c:v>7.2355641550117342</c:v>
                </c:pt>
                <c:pt idx="1010">
                  <c:v>7.2708311029140189</c:v>
                </c:pt>
                <c:pt idx="1011">
                  <c:v>7.3062354366671105</c:v>
                </c:pt>
                <c:pt idx="1012">
                  <c:v>7.3062354366671105</c:v>
                </c:pt>
                <c:pt idx="1013">
                  <c:v>7.3062354366671105</c:v>
                </c:pt>
                <c:pt idx="1014">
                  <c:v>7.3062354366671105</c:v>
                </c:pt>
                <c:pt idx="1015">
                  <c:v>7.3062354366671105</c:v>
                </c:pt>
                <c:pt idx="1016">
                  <c:v>7.3062354366671105</c:v>
                </c:pt>
                <c:pt idx="1017">
                  <c:v>7.3435298489594487</c:v>
                </c:pt>
                <c:pt idx="1018">
                  <c:v>7.3435298489594487</c:v>
                </c:pt>
                <c:pt idx="1019">
                  <c:v>7.3435298489594487</c:v>
                </c:pt>
                <c:pt idx="1020">
                  <c:v>7.3435298489594487</c:v>
                </c:pt>
                <c:pt idx="1021">
                  <c:v>7.3435298489594487</c:v>
                </c:pt>
                <c:pt idx="1022">
                  <c:v>7.3435298489594487</c:v>
                </c:pt>
                <c:pt idx="1023">
                  <c:v>7.3824054804453381</c:v>
                </c:pt>
                <c:pt idx="1024">
                  <c:v>7.3824054804453381</c:v>
                </c:pt>
                <c:pt idx="1025">
                  <c:v>7.3824054804453381</c:v>
                </c:pt>
                <c:pt idx="1026">
                  <c:v>7.3824054804453381</c:v>
                </c:pt>
                <c:pt idx="1027">
                  <c:v>7.4219073193169383</c:v>
                </c:pt>
                <c:pt idx="1028">
                  <c:v>7.4219073193169383</c:v>
                </c:pt>
                <c:pt idx="1029">
                  <c:v>7.4219073193169383</c:v>
                </c:pt>
                <c:pt idx="1030">
                  <c:v>7.4219073193169383</c:v>
                </c:pt>
                <c:pt idx="1031">
                  <c:v>7.4622167513388016</c:v>
                </c:pt>
                <c:pt idx="1032">
                  <c:v>7.4622167513388016</c:v>
                </c:pt>
                <c:pt idx="1033">
                  <c:v>7.4622167513388016</c:v>
                </c:pt>
                <c:pt idx="1034">
                  <c:v>7.5027786809214287</c:v>
                </c:pt>
                <c:pt idx="1035">
                  <c:v>7.5027786809214287</c:v>
                </c:pt>
                <c:pt idx="1036">
                  <c:v>7.5027786809214287</c:v>
                </c:pt>
                <c:pt idx="1037">
                  <c:v>7.5027786809214287</c:v>
                </c:pt>
                <c:pt idx="1038">
                  <c:v>7.544364431581176</c:v>
                </c:pt>
                <c:pt idx="1039">
                  <c:v>7.544364431581176</c:v>
                </c:pt>
                <c:pt idx="1040">
                  <c:v>7.544364431581176</c:v>
                </c:pt>
                <c:pt idx="1041">
                  <c:v>7.544364431581176</c:v>
                </c:pt>
                <c:pt idx="1042">
                  <c:v>7.544364431581176</c:v>
                </c:pt>
                <c:pt idx="1043">
                  <c:v>7.544364431581176</c:v>
                </c:pt>
                <c:pt idx="1044">
                  <c:v>7.544364431581176</c:v>
                </c:pt>
                <c:pt idx="1045">
                  <c:v>7.544364431581176</c:v>
                </c:pt>
                <c:pt idx="1046">
                  <c:v>7.544364431581176</c:v>
                </c:pt>
                <c:pt idx="1047">
                  <c:v>7.5877011612160707</c:v>
                </c:pt>
                <c:pt idx="1048">
                  <c:v>7.5877011612160707</c:v>
                </c:pt>
                <c:pt idx="1049">
                  <c:v>7.5877011612160707</c:v>
                </c:pt>
                <c:pt idx="1050">
                  <c:v>7.5877011612160707</c:v>
                </c:pt>
                <c:pt idx="1051">
                  <c:v>7.5877011612160707</c:v>
                </c:pt>
                <c:pt idx="1052">
                  <c:v>7.5877011612160707</c:v>
                </c:pt>
                <c:pt idx="1053">
                  <c:v>7.5877011612160707</c:v>
                </c:pt>
                <c:pt idx="1054">
                  <c:v>7.5877011612160707</c:v>
                </c:pt>
                <c:pt idx="1055">
                  <c:v>7.5877011612160707</c:v>
                </c:pt>
                <c:pt idx="1056">
                  <c:v>7.5877011612160707</c:v>
                </c:pt>
                <c:pt idx="1057">
                  <c:v>7.5877011612160707</c:v>
                </c:pt>
                <c:pt idx="1058">
                  <c:v>7.5877011612160707</c:v>
                </c:pt>
                <c:pt idx="1059">
                  <c:v>7.5877011612160707</c:v>
                </c:pt>
                <c:pt idx="1060">
                  <c:v>7.6351243008919187</c:v>
                </c:pt>
                <c:pt idx="1061">
                  <c:v>7.6351243008919187</c:v>
                </c:pt>
                <c:pt idx="1062">
                  <c:v>7.6351243008919187</c:v>
                </c:pt>
                <c:pt idx="1063">
                  <c:v>7.6351243008919187</c:v>
                </c:pt>
                <c:pt idx="1064">
                  <c:v>7.6351243008919187</c:v>
                </c:pt>
                <c:pt idx="1065">
                  <c:v>7.6351243008919187</c:v>
                </c:pt>
                <c:pt idx="1066">
                  <c:v>7.6351243008919187</c:v>
                </c:pt>
                <c:pt idx="1067">
                  <c:v>7.6351243008919187</c:v>
                </c:pt>
                <c:pt idx="1068">
                  <c:v>7.6854503595239958</c:v>
                </c:pt>
                <c:pt idx="1069">
                  <c:v>7.6854503595239958</c:v>
                </c:pt>
                <c:pt idx="1070">
                  <c:v>7.6854503595239958</c:v>
                </c:pt>
                <c:pt idx="1071">
                  <c:v>7.6854503595239958</c:v>
                </c:pt>
                <c:pt idx="1072">
                  <c:v>7.6854503595239958</c:v>
                </c:pt>
                <c:pt idx="1073">
                  <c:v>7.6854503595239958</c:v>
                </c:pt>
                <c:pt idx="1074">
                  <c:v>7.7378782025072965</c:v>
                </c:pt>
                <c:pt idx="1075">
                  <c:v>7.7378782025072965</c:v>
                </c:pt>
                <c:pt idx="1076">
                  <c:v>7.7378782025072965</c:v>
                </c:pt>
                <c:pt idx="1077">
                  <c:v>7.7913931156946354</c:v>
                </c:pt>
                <c:pt idx="1078">
                  <c:v>7.8455500794301125</c:v>
                </c:pt>
                <c:pt idx="1079">
                  <c:v>7.8455500794301125</c:v>
                </c:pt>
                <c:pt idx="1080">
                  <c:v>7.8455500794301125</c:v>
                </c:pt>
                <c:pt idx="1081">
                  <c:v>7.8455500794301125</c:v>
                </c:pt>
                <c:pt idx="1082">
                  <c:v>7.8455500794301125</c:v>
                </c:pt>
                <c:pt idx="1083">
                  <c:v>7.8455500794301125</c:v>
                </c:pt>
                <c:pt idx="1084">
                  <c:v>7.8455500794301125</c:v>
                </c:pt>
                <c:pt idx="1085">
                  <c:v>7.8455500794301125</c:v>
                </c:pt>
                <c:pt idx="1086">
                  <c:v>7.8455500794301125</c:v>
                </c:pt>
                <c:pt idx="1087">
                  <c:v>7.8455500794301125</c:v>
                </c:pt>
                <c:pt idx="1088">
                  <c:v>7.8455500794301125</c:v>
                </c:pt>
                <c:pt idx="1089">
                  <c:v>7.8455500794301125</c:v>
                </c:pt>
                <c:pt idx="1090">
                  <c:v>7.8455500794301125</c:v>
                </c:pt>
                <c:pt idx="1091">
                  <c:v>7.8455500794301125</c:v>
                </c:pt>
                <c:pt idx="1092">
                  <c:v>7.9050263494256976</c:v>
                </c:pt>
                <c:pt idx="1093">
                  <c:v>7.9050263494256976</c:v>
                </c:pt>
                <c:pt idx="1094">
                  <c:v>7.9050263494256976</c:v>
                </c:pt>
                <c:pt idx="1095">
                  <c:v>7.9050263494256976</c:v>
                </c:pt>
                <c:pt idx="1096">
                  <c:v>7.9050263494256976</c:v>
                </c:pt>
                <c:pt idx="1097">
                  <c:v>7.9050263494256976</c:v>
                </c:pt>
                <c:pt idx="1098">
                  <c:v>7.9050263494256976</c:v>
                </c:pt>
                <c:pt idx="1099">
                  <c:v>7.9050263494256976</c:v>
                </c:pt>
                <c:pt idx="1100">
                  <c:v>7.9050263494256976</c:v>
                </c:pt>
                <c:pt idx="1101">
                  <c:v>7.9050263494256976</c:v>
                </c:pt>
                <c:pt idx="1102">
                  <c:v>7.9050263494256976</c:v>
                </c:pt>
                <c:pt idx="1103">
                  <c:v>7.9050263494256976</c:v>
                </c:pt>
                <c:pt idx="1104">
                  <c:v>7.9050263494256976</c:v>
                </c:pt>
                <c:pt idx="1105">
                  <c:v>7.9050263494256976</c:v>
                </c:pt>
                <c:pt idx="1106">
                  <c:v>7.9050263494256976</c:v>
                </c:pt>
                <c:pt idx="1107">
                  <c:v>7.9050263494256976</c:v>
                </c:pt>
                <c:pt idx="1108">
                  <c:v>7.9050263494256976</c:v>
                </c:pt>
                <c:pt idx="1109">
                  <c:v>7.9050263494256976</c:v>
                </c:pt>
                <c:pt idx="1110">
                  <c:v>7.9050263494256976</c:v>
                </c:pt>
                <c:pt idx="1111">
                  <c:v>7.98137353428032</c:v>
                </c:pt>
                <c:pt idx="1112">
                  <c:v>7.98137353428032</c:v>
                </c:pt>
                <c:pt idx="1113">
                  <c:v>7.98137353428032</c:v>
                </c:pt>
                <c:pt idx="1114">
                  <c:v>7.98137353428032</c:v>
                </c:pt>
                <c:pt idx="1115">
                  <c:v>7.98137353428032</c:v>
                </c:pt>
                <c:pt idx="1116">
                  <c:v>7.98137353428032</c:v>
                </c:pt>
                <c:pt idx="1117">
                  <c:v>7.98137353428032</c:v>
                </c:pt>
                <c:pt idx="1118">
                  <c:v>7.98137353428032</c:v>
                </c:pt>
                <c:pt idx="1119">
                  <c:v>7.98137353428032</c:v>
                </c:pt>
                <c:pt idx="1120">
                  <c:v>7.98137353428032</c:v>
                </c:pt>
                <c:pt idx="1121">
                  <c:v>7.98137353428032</c:v>
                </c:pt>
                <c:pt idx="1122">
                  <c:v>7.98137353428032</c:v>
                </c:pt>
                <c:pt idx="1123">
                  <c:v>7.98137353428032</c:v>
                </c:pt>
                <c:pt idx="1124">
                  <c:v>7.98137353428032</c:v>
                </c:pt>
                <c:pt idx="1125">
                  <c:v>7.98137353428032</c:v>
                </c:pt>
                <c:pt idx="1126">
                  <c:v>7.98137353428032</c:v>
                </c:pt>
                <c:pt idx="1127">
                  <c:v>7.98137353428032</c:v>
                </c:pt>
                <c:pt idx="1128">
                  <c:v>7.98137353428032</c:v>
                </c:pt>
                <c:pt idx="1129">
                  <c:v>7.98137353428032</c:v>
                </c:pt>
                <c:pt idx="1130">
                  <c:v>7.98137353428032</c:v>
                </c:pt>
                <c:pt idx="1131">
                  <c:v>7.98137353428032</c:v>
                </c:pt>
                <c:pt idx="1132">
                  <c:v>7.98137353428032</c:v>
                </c:pt>
                <c:pt idx="1133">
                  <c:v>7.98137353428032</c:v>
                </c:pt>
                <c:pt idx="1134">
                  <c:v>7.98137353428032</c:v>
                </c:pt>
                <c:pt idx="1135">
                  <c:v>7.98137353428032</c:v>
                </c:pt>
                <c:pt idx="1136">
                  <c:v>7.98137353428032</c:v>
                </c:pt>
                <c:pt idx="1137">
                  <c:v>7.98137353428032</c:v>
                </c:pt>
                <c:pt idx="1138">
                  <c:v>8.0818332223148595</c:v>
                </c:pt>
                <c:pt idx="1139">
                  <c:v>8.0818332223148595</c:v>
                </c:pt>
                <c:pt idx="1140">
                  <c:v>8.0818332223148595</c:v>
                </c:pt>
                <c:pt idx="1141">
                  <c:v>8.0818332223148595</c:v>
                </c:pt>
                <c:pt idx="1142">
                  <c:v>8.0818332223148595</c:v>
                </c:pt>
                <c:pt idx="1143">
                  <c:v>8.0818332223148595</c:v>
                </c:pt>
                <c:pt idx="1144">
                  <c:v>8.1928349763777142</c:v>
                </c:pt>
                <c:pt idx="1145">
                  <c:v>8.1928349763777142</c:v>
                </c:pt>
                <c:pt idx="1146">
                  <c:v>8.1928349763777142</c:v>
                </c:pt>
                <c:pt idx="1147">
                  <c:v>8.1928349763777142</c:v>
                </c:pt>
                <c:pt idx="1148">
                  <c:v>8.1928349763777142</c:v>
                </c:pt>
                <c:pt idx="1149">
                  <c:v>8.1928349763777142</c:v>
                </c:pt>
                <c:pt idx="1150">
                  <c:v>8.1928349763777142</c:v>
                </c:pt>
                <c:pt idx="1151">
                  <c:v>8.1928349763777142</c:v>
                </c:pt>
                <c:pt idx="1152">
                  <c:v>8.1928349763777142</c:v>
                </c:pt>
                <c:pt idx="1153">
                  <c:v>8.1928349763777142</c:v>
                </c:pt>
                <c:pt idx="1154">
                  <c:v>8.1928349763777142</c:v>
                </c:pt>
                <c:pt idx="1155">
                  <c:v>8.1928349763777142</c:v>
                </c:pt>
                <c:pt idx="1156">
                  <c:v>8.1928349763777142</c:v>
                </c:pt>
                <c:pt idx="1157">
                  <c:v>8.1928349763777142</c:v>
                </c:pt>
                <c:pt idx="1158">
                  <c:v>8.1928349763777142</c:v>
                </c:pt>
                <c:pt idx="1159">
                  <c:v>8.1928349763777142</c:v>
                </c:pt>
                <c:pt idx="1160">
                  <c:v>8.1928349763777142</c:v>
                </c:pt>
                <c:pt idx="1161">
                  <c:v>8.1928349763777142</c:v>
                </c:pt>
                <c:pt idx="1162">
                  <c:v>8.1928349763777142</c:v>
                </c:pt>
                <c:pt idx="1163">
                  <c:v>8.1928349763777142</c:v>
                </c:pt>
                <c:pt idx="1164">
                  <c:v>8.1928349763777142</c:v>
                </c:pt>
                <c:pt idx="1165">
                  <c:v>8.1928349763777142</c:v>
                </c:pt>
                <c:pt idx="1166">
                  <c:v>8.1928349763777142</c:v>
                </c:pt>
                <c:pt idx="1167">
                  <c:v>8.1928349763777142</c:v>
                </c:pt>
                <c:pt idx="1168">
                  <c:v>8.1928349763777142</c:v>
                </c:pt>
                <c:pt idx="1169">
                  <c:v>8.1928349763777142</c:v>
                </c:pt>
                <c:pt idx="1170">
                  <c:v>8.1928349763777142</c:v>
                </c:pt>
                <c:pt idx="1171">
                  <c:v>8.1928349763777142</c:v>
                </c:pt>
                <c:pt idx="1172">
                  <c:v>8.1928349763777142</c:v>
                </c:pt>
                <c:pt idx="1173">
                  <c:v>8.1928349763777142</c:v>
                </c:pt>
                <c:pt idx="1174">
                  <c:v>8.1928349763777142</c:v>
                </c:pt>
                <c:pt idx="1175">
                  <c:v>8.1928349763777142</c:v>
                </c:pt>
                <c:pt idx="1176">
                  <c:v>8.1928349763777142</c:v>
                </c:pt>
                <c:pt idx="1177">
                  <c:v>8.1928349763777142</c:v>
                </c:pt>
                <c:pt idx="1178">
                  <c:v>8.1928349763777142</c:v>
                </c:pt>
                <c:pt idx="1179">
                  <c:v>8.1928349763777142</c:v>
                </c:pt>
                <c:pt idx="1180">
                  <c:v>8.1928349763777142</c:v>
                </c:pt>
                <c:pt idx="1181">
                  <c:v>8.1928349763777142</c:v>
                </c:pt>
                <c:pt idx="1182">
                  <c:v>8.1928349763777142</c:v>
                </c:pt>
                <c:pt idx="1183">
                  <c:v>8.1928349763777142</c:v>
                </c:pt>
                <c:pt idx="1184">
                  <c:v>8.1928349763777142</c:v>
                </c:pt>
                <c:pt idx="1185">
                  <c:v>8.1928349763777142</c:v>
                </c:pt>
                <c:pt idx="1186">
                  <c:v>8.1928349763777142</c:v>
                </c:pt>
                <c:pt idx="1187">
                  <c:v>8.1928349763777142</c:v>
                </c:pt>
                <c:pt idx="1188">
                  <c:v>8.1928349763777142</c:v>
                </c:pt>
                <c:pt idx="1189">
                  <c:v>8.1928349763777142</c:v>
                </c:pt>
                <c:pt idx="1190">
                  <c:v>8.1928349763777142</c:v>
                </c:pt>
                <c:pt idx="1191">
                  <c:v>8.1928349763777142</c:v>
                </c:pt>
                <c:pt idx="1192">
                  <c:v>8.1928349763777142</c:v>
                </c:pt>
                <c:pt idx="1193">
                  <c:v>8.1928349763777142</c:v>
                </c:pt>
                <c:pt idx="1194">
                  <c:v>8.1928349763777142</c:v>
                </c:pt>
                <c:pt idx="1195">
                  <c:v>8.1928349763777142</c:v>
                </c:pt>
                <c:pt idx="1196">
                  <c:v>8.1928349763777142</c:v>
                </c:pt>
                <c:pt idx="1197">
                  <c:v>8.1928349763777142</c:v>
                </c:pt>
                <c:pt idx="1198">
                  <c:v>8.1928349763777142</c:v>
                </c:pt>
                <c:pt idx="1199">
                  <c:v>8.1928349763777142</c:v>
                </c:pt>
                <c:pt idx="1200">
                  <c:v>8.1928349763777142</c:v>
                </c:pt>
                <c:pt idx="1201">
                  <c:v>8.1928349763777142</c:v>
                </c:pt>
                <c:pt idx="1202">
                  <c:v>8.1928349763777142</c:v>
                </c:pt>
                <c:pt idx="1203">
                  <c:v>8.1928349763777142</c:v>
                </c:pt>
                <c:pt idx="1204">
                  <c:v>8.1928349763777142</c:v>
                </c:pt>
                <c:pt idx="1205">
                  <c:v>8.1928349763777142</c:v>
                </c:pt>
                <c:pt idx="1206">
                  <c:v>8.1928349763777142</c:v>
                </c:pt>
                <c:pt idx="1207">
                  <c:v>8.1928349763777142</c:v>
                </c:pt>
                <c:pt idx="1208">
                  <c:v>8.1928349763777142</c:v>
                </c:pt>
                <c:pt idx="1209">
                  <c:v>8.1928349763777142</c:v>
                </c:pt>
                <c:pt idx="1210">
                  <c:v>8.1928349763777142</c:v>
                </c:pt>
                <c:pt idx="1211">
                  <c:v>8.1928349763777142</c:v>
                </c:pt>
                <c:pt idx="1212">
                  <c:v>8.1928349763777142</c:v>
                </c:pt>
                <c:pt idx="1213">
                  <c:v>8.1928349763777142</c:v>
                </c:pt>
                <c:pt idx="1214">
                  <c:v>8.1928349763777142</c:v>
                </c:pt>
                <c:pt idx="1215">
                  <c:v>8.5955274384263696</c:v>
                </c:pt>
                <c:pt idx="1216">
                  <c:v>8.5955274384263696</c:v>
                </c:pt>
                <c:pt idx="1217">
                  <c:v>8.5955274384263696</c:v>
                </c:pt>
                <c:pt idx="1218">
                  <c:v>8.5955274384263696</c:v>
                </c:pt>
                <c:pt idx="1219">
                  <c:v>8.5955274384263696</c:v>
                </c:pt>
                <c:pt idx="1220">
                  <c:v>8.5955274384263696</c:v>
                </c:pt>
                <c:pt idx="1221">
                  <c:v>8.5955274384263696</c:v>
                </c:pt>
                <c:pt idx="1222">
                  <c:v>8.5955274384263696</c:v>
                </c:pt>
                <c:pt idx="1223">
                  <c:v>8.5955274384263696</c:v>
                </c:pt>
                <c:pt idx="1224">
                  <c:v>8.5955274384263696</c:v>
                </c:pt>
                <c:pt idx="1225">
                  <c:v>8.5955274384263696</c:v>
                </c:pt>
                <c:pt idx="1226">
                  <c:v>8.5955274384263696</c:v>
                </c:pt>
                <c:pt idx="1227">
                  <c:v>8.5955274384263696</c:v>
                </c:pt>
                <c:pt idx="1228">
                  <c:v>8.5955274384263696</c:v>
                </c:pt>
                <c:pt idx="1229">
                  <c:v>8.5955274384263696</c:v>
                </c:pt>
                <c:pt idx="1230">
                  <c:v>8.5955274384263696</c:v>
                </c:pt>
                <c:pt idx="1231">
                  <c:v>8.5955274384263696</c:v>
                </c:pt>
                <c:pt idx="1232">
                  <c:v>8.5955274384263696</c:v>
                </c:pt>
                <c:pt idx="1233">
                  <c:v>8.5955274384263696</c:v>
                </c:pt>
                <c:pt idx="1234">
                  <c:v>8.5955274384263696</c:v>
                </c:pt>
                <c:pt idx="1235">
                  <c:v>8.5955274384263696</c:v>
                </c:pt>
                <c:pt idx="1236">
                  <c:v>8.5955274384263696</c:v>
                </c:pt>
                <c:pt idx="1237">
                  <c:v>8.5955274384263696</c:v>
                </c:pt>
                <c:pt idx="1238">
                  <c:v>8.5955274384263696</c:v>
                </c:pt>
                <c:pt idx="1239">
                  <c:v>8.5955274384263696</c:v>
                </c:pt>
                <c:pt idx="1240">
                  <c:v>8.5955274384263696</c:v>
                </c:pt>
                <c:pt idx="1241">
                  <c:v>8.5955274384263696</c:v>
                </c:pt>
                <c:pt idx="1242">
                  <c:v>8.5955274384263696</c:v>
                </c:pt>
                <c:pt idx="1243">
                  <c:v>8.5955274384263696</c:v>
                </c:pt>
                <c:pt idx="1244">
                  <c:v>8.5955274384263696</c:v>
                </c:pt>
                <c:pt idx="1245">
                  <c:v>8.5955274384263696</c:v>
                </c:pt>
                <c:pt idx="1246">
                  <c:v>8.5955274384263696</c:v>
                </c:pt>
                <c:pt idx="1247">
                  <c:v>8.5955274384263696</c:v>
                </c:pt>
                <c:pt idx="1248">
                  <c:v>8.5955274384263696</c:v>
                </c:pt>
                <c:pt idx="1249">
                  <c:v>8.5955274384263696</c:v>
                </c:pt>
                <c:pt idx="1250">
                  <c:v>8.5955274384263696</c:v>
                </c:pt>
                <c:pt idx="1251">
                  <c:v>8.5955274384263696</c:v>
                </c:pt>
                <c:pt idx="1252">
                  <c:v>8.5955274384263696</c:v>
                </c:pt>
                <c:pt idx="1253">
                  <c:v>8.5955274384263696</c:v>
                </c:pt>
                <c:pt idx="1254">
                  <c:v>8.5955274384263696</c:v>
                </c:pt>
                <c:pt idx="1255">
                  <c:v>8.5955274384263696</c:v>
                </c:pt>
                <c:pt idx="1256">
                  <c:v>8.5955274384263696</c:v>
                </c:pt>
                <c:pt idx="1257">
                  <c:v>8.5955274384263696</c:v>
                </c:pt>
                <c:pt idx="1258">
                  <c:v>8.5955274384263696</c:v>
                </c:pt>
                <c:pt idx="1259">
                  <c:v>8.5955274384263696</c:v>
                </c:pt>
                <c:pt idx="1260">
                  <c:v>8.5955274384263696</c:v>
                </c:pt>
                <c:pt idx="1261">
                  <c:v>8.5955274384263696</c:v>
                </c:pt>
                <c:pt idx="1262">
                  <c:v>8.5955274384263696</c:v>
                </c:pt>
                <c:pt idx="1263">
                  <c:v>8.5955274384263696</c:v>
                </c:pt>
                <c:pt idx="1264">
                  <c:v>8.5955274384263696</c:v>
                </c:pt>
                <c:pt idx="1265">
                  <c:v>8.5955274384263696</c:v>
                </c:pt>
                <c:pt idx="1266">
                  <c:v>8.5955274384263696</c:v>
                </c:pt>
                <c:pt idx="1267">
                  <c:v>8.5955274384263696</c:v>
                </c:pt>
                <c:pt idx="1268">
                  <c:v>8.5955274384263696</c:v>
                </c:pt>
                <c:pt idx="1269">
                  <c:v>8.5955274384263696</c:v>
                </c:pt>
                <c:pt idx="1270">
                  <c:v>8.5955274384263696</c:v>
                </c:pt>
                <c:pt idx="1271">
                  <c:v>8.5955274384263696</c:v>
                </c:pt>
                <c:pt idx="1272">
                  <c:v>8.5955274384263696</c:v>
                </c:pt>
                <c:pt idx="1273">
                  <c:v>8.5955274384263696</c:v>
                </c:pt>
                <c:pt idx="1274">
                  <c:v>8.5955274384263696</c:v>
                </c:pt>
                <c:pt idx="1275">
                  <c:v>8.5955274384263696</c:v>
                </c:pt>
                <c:pt idx="1276">
                  <c:v>8.5955274384263696</c:v>
                </c:pt>
                <c:pt idx="1277">
                  <c:v>8.5955274384263696</c:v>
                </c:pt>
                <c:pt idx="1278">
                  <c:v>8.5955274384263696</c:v>
                </c:pt>
                <c:pt idx="1279">
                  <c:v>8.5955274384263696</c:v>
                </c:pt>
                <c:pt idx="1280">
                  <c:v>8.5955274384263696</c:v>
                </c:pt>
                <c:pt idx="1281">
                  <c:v>8.5955274384263696</c:v>
                </c:pt>
                <c:pt idx="1282">
                  <c:v>8.5955274384263696</c:v>
                </c:pt>
                <c:pt idx="1283">
                  <c:v>8.5955274384263696</c:v>
                </c:pt>
              </c:numCache>
            </c:numRef>
          </c:yVal>
          <c:smooth val="1"/>
          <c:extLst>
            <c:ext xmlns:c16="http://schemas.microsoft.com/office/drawing/2014/chart" uri="{C3380CC4-5D6E-409C-BE32-E72D297353CC}">
              <c16:uniqueId val="{00000001-1849-4079-B481-B0C8E627FD56}"/>
            </c:ext>
          </c:extLst>
        </c:ser>
        <c:dLbls>
          <c:showLegendKey val="0"/>
          <c:showVal val="0"/>
          <c:showCatName val="0"/>
          <c:showSerName val="0"/>
          <c:showPercent val="0"/>
          <c:showBubbleSize val="0"/>
        </c:dLbls>
        <c:axId val="1033500160"/>
        <c:axId val="1033505408"/>
      </c:scatterChart>
      <c:valAx>
        <c:axId val="1033500160"/>
        <c:scaling>
          <c:orientation val="minMax"/>
          <c:max val="49"/>
          <c:min val="0"/>
        </c:scaling>
        <c:delete val="0"/>
        <c:axPos val="b"/>
        <c:numFmt formatCode="0" sourceLinked="1"/>
        <c:majorTickMark val="out"/>
        <c:minorTickMark val="none"/>
        <c:tickLblPos val="low"/>
        <c:spPr>
          <a:noFill/>
          <a:ln w="19050" cap="sq" cmpd="sng" algn="ctr">
            <a:solidFill>
              <a:srgbClr val="001965"/>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1033505408"/>
        <c:crosses val="autoZero"/>
        <c:crossBetween val="midCat"/>
        <c:majorUnit val="6"/>
      </c:valAx>
      <c:valAx>
        <c:axId val="1033505408"/>
        <c:scaling>
          <c:orientation val="minMax"/>
          <c:max val="10"/>
          <c:min val="0"/>
        </c:scaling>
        <c:delete val="0"/>
        <c:axPos val="l"/>
        <c:numFmt formatCode="General" sourceLinked="1"/>
        <c:majorTickMark val="out"/>
        <c:minorTickMark val="none"/>
        <c:tickLblPos val="nextTo"/>
        <c:spPr>
          <a:noFill/>
          <a:ln w="19050" cap="sq">
            <a:solidFill>
              <a:srgbClr val="001965"/>
            </a:solidFill>
          </a:ln>
          <a:effectLst/>
        </c:spPr>
        <c:txPr>
          <a:bodyPr rot="0" spcFirstLastPara="1" vertOverflow="ellipsis" wrap="square" anchor="ctr" anchorCtr="1"/>
          <a:lstStyle/>
          <a:p>
            <a:pPr>
              <a:defRPr sz="1200" b="0" i="0" u="none" strike="noStrike" kern="1200" baseline="0">
                <a:solidFill>
                  <a:schemeClr val="accent1"/>
                </a:solidFill>
                <a:latin typeface="+mn-lt"/>
                <a:ea typeface="+mn-ea"/>
                <a:cs typeface="+mn-cs"/>
              </a:defRPr>
            </a:pPr>
            <a:endParaRPr lang="en-US"/>
          </a:p>
        </c:txPr>
        <c:crossAx val="1033500160"/>
        <c:crosses val="autoZero"/>
        <c:crossBetween val="midCat"/>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accent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5">
                <a:lumMod val="40000"/>
                <a:lumOff val="60000"/>
              </a:schemeClr>
            </a:solidFill>
            <a:ln>
              <a:noFill/>
            </a:ln>
          </c:spPr>
          <c:dPt>
            <c:idx val="0"/>
            <c:bubble3D val="0"/>
            <c:spPr>
              <a:solidFill>
                <a:srgbClr val="EEA7BF"/>
              </a:solidFill>
              <a:ln w="19050">
                <a:noFill/>
              </a:ln>
              <a:effectLst/>
            </c:spPr>
            <c:extLst>
              <c:ext xmlns:c16="http://schemas.microsoft.com/office/drawing/2014/chart" uri="{C3380CC4-5D6E-409C-BE32-E72D297353CC}">
                <c16:uniqueId val="{00000001-E352-4EA1-A9FD-8529318F9FAE}"/>
              </c:ext>
            </c:extLst>
          </c:dPt>
          <c:dPt>
            <c:idx val="1"/>
            <c:bubble3D val="0"/>
            <c:spPr>
              <a:solidFill>
                <a:schemeClr val="accent5">
                  <a:lumMod val="40000"/>
                  <a:lumOff val="60000"/>
                </a:schemeClr>
              </a:solidFill>
              <a:ln w="19050">
                <a:noFill/>
              </a:ln>
              <a:effectLst/>
            </c:spPr>
            <c:extLst>
              <c:ext xmlns:c16="http://schemas.microsoft.com/office/drawing/2014/chart" uri="{C3380CC4-5D6E-409C-BE32-E72D297353CC}">
                <c16:uniqueId val="{00000003-E352-4EA1-A9FD-8529318F9FAE}"/>
              </c:ext>
            </c:extLst>
          </c:dPt>
          <c:cat>
            <c:strRef>
              <c:f>Sheet1!$A$2:$A$3</c:f>
              <c:strCache>
                <c:ptCount val="2"/>
                <c:pt idx="0">
                  <c:v>1st Qtr</c:v>
                </c:pt>
                <c:pt idx="1">
                  <c:v>2nd Qtr</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E352-4EA1-A9FD-8529318F9FAE}"/>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5AD2"/>
              </a:solidFill>
              <a:ln w="19050">
                <a:noFill/>
              </a:ln>
              <a:effectLst/>
            </c:spPr>
            <c:extLst>
              <c:ext xmlns:c16="http://schemas.microsoft.com/office/drawing/2014/chart" uri="{C3380CC4-5D6E-409C-BE32-E72D297353CC}">
                <c16:uniqueId val="{00000001-E29D-48CD-A7D3-4E68DD7F3A22}"/>
              </c:ext>
            </c:extLst>
          </c:dPt>
          <c:dPt>
            <c:idx val="1"/>
            <c:bubble3D val="0"/>
            <c:spPr>
              <a:solidFill>
                <a:schemeClr val="accent5">
                  <a:lumMod val="40000"/>
                  <a:lumOff val="60000"/>
                </a:schemeClr>
              </a:solidFill>
              <a:ln w="19050">
                <a:noFill/>
              </a:ln>
              <a:effectLst/>
            </c:spPr>
            <c:extLst>
              <c:ext xmlns:c16="http://schemas.microsoft.com/office/drawing/2014/chart" uri="{C3380CC4-5D6E-409C-BE32-E72D297353CC}">
                <c16:uniqueId val="{00000003-E29D-48CD-A7D3-4E68DD7F3A22}"/>
              </c:ext>
            </c:extLst>
          </c:dPt>
          <c:cat>
            <c:strRef>
              <c:f>Sheet1!$A$2:$A$3</c:f>
              <c:strCache>
                <c:ptCount val="2"/>
                <c:pt idx="0">
                  <c:v>1st Qtr</c:v>
                </c:pt>
                <c:pt idx="1">
                  <c:v>2nd Qtr</c:v>
                </c:pt>
              </c:strCache>
            </c:strRef>
          </c:cat>
          <c:val>
            <c:numRef>
              <c:f>Sheet1!$B$2:$B$3</c:f>
              <c:numCache>
                <c:formatCode>General</c:formatCode>
                <c:ptCount val="2"/>
                <c:pt idx="0">
                  <c:v>53</c:v>
                </c:pt>
                <c:pt idx="1">
                  <c:v>47</c:v>
                </c:pt>
              </c:numCache>
            </c:numRef>
          </c:val>
          <c:extLst>
            <c:ext xmlns:c16="http://schemas.microsoft.com/office/drawing/2014/chart" uri="{C3380CC4-5D6E-409C-BE32-E72D297353CC}">
              <c16:uniqueId val="{00000004-E29D-48CD-A7D3-4E68DD7F3A22}"/>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4">
                  <a:lumMod val="75000"/>
                </a:schemeClr>
              </a:solidFill>
              <a:ln w="19050">
                <a:noFill/>
              </a:ln>
              <a:effectLst/>
            </c:spPr>
            <c:extLst>
              <c:ext xmlns:c16="http://schemas.microsoft.com/office/drawing/2014/chart" uri="{C3380CC4-5D6E-409C-BE32-E72D297353CC}">
                <c16:uniqueId val="{00000001-0771-4B46-960E-61B25DF91E19}"/>
              </c:ext>
            </c:extLst>
          </c:dPt>
          <c:dPt>
            <c:idx val="1"/>
            <c:bubble3D val="0"/>
            <c:spPr>
              <a:solidFill>
                <a:srgbClr val="B1D5F2"/>
              </a:solidFill>
              <a:ln w="19050">
                <a:noFill/>
              </a:ln>
              <a:effectLst/>
            </c:spPr>
            <c:extLst>
              <c:ext xmlns:c16="http://schemas.microsoft.com/office/drawing/2014/chart" uri="{C3380CC4-5D6E-409C-BE32-E72D297353CC}">
                <c16:uniqueId val="{00000003-0771-4B46-960E-61B25DF91E19}"/>
              </c:ext>
            </c:extLst>
          </c:dPt>
          <c:cat>
            <c:strRef>
              <c:f>Sheet1!$A$2:$A$3</c:f>
              <c:strCache>
                <c:ptCount val="2"/>
                <c:pt idx="0">
                  <c:v>1st Qtr</c:v>
                </c:pt>
                <c:pt idx="1">
                  <c:v>2nd Qtr</c:v>
                </c:pt>
              </c:strCache>
            </c:strRef>
          </c:cat>
          <c:val>
            <c:numRef>
              <c:f>Sheet1!$B$2:$B$3</c:f>
              <c:numCache>
                <c:formatCode>General</c:formatCode>
                <c:ptCount val="2"/>
                <c:pt idx="0">
                  <c:v>78</c:v>
                </c:pt>
                <c:pt idx="1">
                  <c:v>22</c:v>
                </c:pt>
              </c:numCache>
            </c:numRef>
          </c:val>
          <c:extLst>
            <c:ext xmlns:c16="http://schemas.microsoft.com/office/drawing/2014/chart" uri="{C3380CC4-5D6E-409C-BE32-E72D297353CC}">
              <c16:uniqueId val="{00000004-0771-4B46-960E-61B25DF91E1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47642499103705"/>
          <c:y val="5.255473310470142E-2"/>
          <c:w val="0.8380236282379816"/>
          <c:h val="0.86510854388592173"/>
        </c:manualLayout>
      </c:layout>
      <c:barChart>
        <c:barDir val="col"/>
        <c:grouping val="clustered"/>
        <c:varyColors val="0"/>
        <c:ser>
          <c:idx val="1"/>
          <c:order val="0"/>
          <c:spPr>
            <a:solidFill>
              <a:schemeClr val="tx2"/>
            </a:solidFill>
            <a:ln w="7386">
              <a:noFill/>
              <a:prstDash val="solid"/>
            </a:ln>
          </c:spPr>
          <c:invertIfNegative val="0"/>
          <c:dPt>
            <c:idx val="0"/>
            <c:invertIfNegative val="0"/>
            <c:bubble3D val="0"/>
            <c:spPr>
              <a:solidFill>
                <a:schemeClr val="tx2"/>
              </a:solidFill>
              <a:ln w="14772">
                <a:noFill/>
              </a:ln>
            </c:spPr>
            <c:extLst>
              <c:ext xmlns:c16="http://schemas.microsoft.com/office/drawing/2014/chart" uri="{C3380CC4-5D6E-409C-BE32-E72D297353CC}">
                <c16:uniqueId val="{00000001-545D-4F81-99FF-697D8280DDDE}"/>
              </c:ext>
            </c:extLst>
          </c:dPt>
          <c:dPt>
            <c:idx val="1"/>
            <c:invertIfNegative val="0"/>
            <c:bubble3D val="0"/>
            <c:spPr>
              <a:solidFill>
                <a:schemeClr val="accent6"/>
              </a:solidFill>
              <a:ln w="7386">
                <a:noFill/>
                <a:prstDash val="solid"/>
              </a:ln>
            </c:spPr>
            <c:extLst>
              <c:ext xmlns:c16="http://schemas.microsoft.com/office/drawing/2014/chart" uri="{C3380CC4-5D6E-409C-BE32-E72D297353CC}">
                <c16:uniqueId val="{00000003-545D-4F81-99FF-697D8280DDDE}"/>
              </c:ext>
            </c:extLst>
          </c:dPt>
          <c:dPt>
            <c:idx val="2"/>
            <c:invertIfNegative val="0"/>
            <c:bubble3D val="0"/>
            <c:spPr>
              <a:solidFill>
                <a:schemeClr val="tx2"/>
              </a:solidFill>
              <a:ln w="14772">
                <a:noFill/>
              </a:ln>
            </c:spPr>
            <c:extLst>
              <c:ext xmlns:c16="http://schemas.microsoft.com/office/drawing/2014/chart" uri="{C3380CC4-5D6E-409C-BE32-E72D297353CC}">
                <c16:uniqueId val="{00000005-545D-4F81-99FF-697D8280DDDE}"/>
              </c:ext>
            </c:extLst>
          </c:dPt>
          <c:dPt>
            <c:idx val="3"/>
            <c:invertIfNegative val="0"/>
            <c:bubble3D val="0"/>
            <c:spPr>
              <a:solidFill>
                <a:schemeClr val="accent6"/>
              </a:solidFill>
              <a:ln w="7386">
                <a:noFill/>
                <a:prstDash val="solid"/>
              </a:ln>
            </c:spPr>
            <c:extLst>
              <c:ext xmlns:c16="http://schemas.microsoft.com/office/drawing/2014/chart" uri="{C3380CC4-5D6E-409C-BE32-E72D297353CC}">
                <c16:uniqueId val="{00000007-545D-4F81-99FF-697D8280DDDE}"/>
              </c:ext>
            </c:extLst>
          </c:dPt>
          <c:dPt>
            <c:idx val="4"/>
            <c:invertIfNegative val="0"/>
            <c:bubble3D val="0"/>
            <c:extLst>
              <c:ext xmlns:c16="http://schemas.microsoft.com/office/drawing/2014/chart" uri="{C3380CC4-5D6E-409C-BE32-E72D297353CC}">
                <c16:uniqueId val="{00000009-545D-4F81-99FF-697D8280DDDE}"/>
              </c:ext>
            </c:extLst>
          </c:dPt>
          <c:dPt>
            <c:idx val="5"/>
            <c:invertIfNegative val="0"/>
            <c:bubble3D val="0"/>
            <c:extLst>
              <c:ext xmlns:c16="http://schemas.microsoft.com/office/drawing/2014/chart" uri="{C3380CC4-5D6E-409C-BE32-E72D297353CC}">
                <c16:uniqueId val="{0000000B-545D-4F81-99FF-697D8280DDDE}"/>
              </c:ext>
            </c:extLst>
          </c:dPt>
          <c:dPt>
            <c:idx val="6"/>
            <c:invertIfNegative val="0"/>
            <c:bubble3D val="0"/>
            <c:extLst>
              <c:ext xmlns:c16="http://schemas.microsoft.com/office/drawing/2014/chart" uri="{C3380CC4-5D6E-409C-BE32-E72D297353CC}">
                <c16:uniqueId val="{0000000D-545D-4F81-99FF-697D8280DDDE}"/>
              </c:ext>
            </c:extLst>
          </c:dPt>
          <c:dPt>
            <c:idx val="7"/>
            <c:invertIfNegative val="0"/>
            <c:bubble3D val="0"/>
            <c:spPr>
              <a:solidFill>
                <a:schemeClr val="accent6"/>
              </a:solidFill>
              <a:ln w="7386">
                <a:noFill/>
                <a:prstDash val="solid"/>
              </a:ln>
            </c:spPr>
            <c:extLst>
              <c:ext xmlns:c16="http://schemas.microsoft.com/office/drawing/2014/chart" uri="{C3380CC4-5D6E-409C-BE32-E72D297353CC}">
                <c16:uniqueId val="{0000000F-545D-4F81-99FF-697D8280DDDE}"/>
              </c:ext>
            </c:extLst>
          </c:dPt>
          <c:dPt>
            <c:idx val="8"/>
            <c:invertIfNegative val="0"/>
            <c:bubble3D val="0"/>
            <c:spPr>
              <a:solidFill>
                <a:schemeClr val="tx2"/>
              </a:solidFill>
              <a:ln w="3175">
                <a:noFill/>
              </a:ln>
            </c:spPr>
            <c:extLst>
              <c:ext xmlns:c16="http://schemas.microsoft.com/office/drawing/2014/chart" uri="{C3380CC4-5D6E-409C-BE32-E72D297353CC}">
                <c16:uniqueId val="{00000011-545D-4F81-99FF-697D8280DDDE}"/>
              </c:ext>
            </c:extLst>
          </c:dPt>
          <c:dPt>
            <c:idx val="9"/>
            <c:invertIfNegative val="0"/>
            <c:bubble3D val="0"/>
            <c:spPr>
              <a:solidFill>
                <a:schemeClr val="accent6"/>
              </a:solidFill>
              <a:ln w="14772">
                <a:noFill/>
              </a:ln>
            </c:spPr>
            <c:extLst>
              <c:ext xmlns:c16="http://schemas.microsoft.com/office/drawing/2014/chart" uri="{C3380CC4-5D6E-409C-BE32-E72D297353CC}">
                <c16:uniqueId val="{00000013-545D-4F81-99FF-697D8280DDDE}"/>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6.2532140583497264E-2"/>
                      <c:h val="9.1159953470509994E-2"/>
                    </c:manualLayout>
                  </c15:layout>
                </c:ext>
                <c:ext xmlns:c16="http://schemas.microsoft.com/office/drawing/2014/chart" uri="{C3380CC4-5D6E-409C-BE32-E72D297353CC}">
                  <c16:uniqueId val="{00000001-545D-4F81-99FF-697D8280DDDE}"/>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K$2</c:f>
              <c:strCache>
                <c:ptCount val="10"/>
                <c:pt idx="0">
                  <c:v>Semaglutide 2.4 mg</c:v>
                </c:pt>
                <c:pt idx="1">
                  <c:v>Placebo</c:v>
                </c:pt>
                <c:pt idx="2">
                  <c:v>Semaglutide 1.0 mg</c:v>
                </c:pt>
                <c:pt idx="4">
                  <c:v>semaglutide2.4 mg</c:v>
                </c:pt>
                <c:pt idx="6">
                  <c:v>Semaglutide 2.4 mg</c:v>
                </c:pt>
                <c:pt idx="7">
                  <c:v>Placebo</c:v>
                </c:pt>
                <c:pt idx="8">
                  <c:v>Semaglutide 0.5 mg</c:v>
                </c:pt>
                <c:pt idx="9">
                  <c:v>placebo</c:v>
                </c:pt>
              </c:strCache>
            </c:strRef>
          </c:cat>
          <c:val>
            <c:numRef>
              <c:f>Sheet1!$B$3:$K$3</c:f>
              <c:numCache>
                <c:formatCode>General</c:formatCode>
                <c:ptCount val="10"/>
                <c:pt idx="0">
                  <c:v>-16.899999999999999</c:v>
                </c:pt>
                <c:pt idx="1">
                  <c:v>-2.4</c:v>
                </c:pt>
                <c:pt idx="2" formatCode="0.0">
                  <c:v>-17.64</c:v>
                </c:pt>
                <c:pt idx="3" formatCode="0.0">
                  <c:v>-4.97</c:v>
                </c:pt>
                <c:pt idx="4">
                  <c:v>-18.2</c:v>
                </c:pt>
                <c:pt idx="6" formatCode="0.0">
                  <c:v>-8.8000000000000007</c:v>
                </c:pt>
                <c:pt idx="7" formatCode="0.0">
                  <c:v>6.5</c:v>
                </c:pt>
                <c:pt idx="8" formatCode="0.0">
                  <c:v>-10.64</c:v>
                </c:pt>
                <c:pt idx="9" formatCode="0.0">
                  <c:v>-3.07</c:v>
                </c:pt>
              </c:numCache>
            </c:numRef>
          </c:val>
          <c:extLst>
            <c:ext xmlns:c16="http://schemas.microsoft.com/office/drawing/2014/chart" uri="{C3380CC4-5D6E-409C-BE32-E72D297353CC}">
              <c16:uniqueId val="{00000014-545D-4F81-99FF-697D8280DDDE}"/>
            </c:ext>
          </c:extLst>
        </c:ser>
        <c:dLbls>
          <c:dLblPos val="outEnd"/>
          <c:showLegendKey val="0"/>
          <c:showVal val="1"/>
          <c:showCatName val="0"/>
          <c:showSerName val="0"/>
          <c:showPercent val="0"/>
          <c:showBubbleSize val="0"/>
        </c:dLbls>
        <c:gapWidth val="29"/>
        <c:overlap val="90"/>
        <c:axId val="458208024"/>
        <c:axId val="458205280"/>
      </c:barChart>
      <c:catAx>
        <c:axId val="458208024"/>
        <c:scaling>
          <c:orientation val="minMax"/>
        </c:scaling>
        <c:delete val="0"/>
        <c:axPos val="b"/>
        <c:numFmt formatCode="General" sourceLinked="0"/>
        <c:majorTickMark val="none"/>
        <c:minorTickMark val="none"/>
        <c:tickLblPos val="none"/>
        <c:spPr>
          <a:ln w="9525">
            <a:solidFill>
              <a:srgbClr val="001965"/>
            </a:solidFill>
          </a:ln>
        </c:spPr>
        <c:crossAx val="458205280"/>
        <c:crossesAt val="0"/>
        <c:auto val="1"/>
        <c:lblAlgn val="ctr"/>
        <c:lblOffset val="100"/>
        <c:noMultiLvlLbl val="0"/>
      </c:catAx>
      <c:valAx>
        <c:axId val="458205280"/>
        <c:scaling>
          <c:orientation val="minMax"/>
          <c:max val="9"/>
          <c:min val="-20"/>
        </c:scaling>
        <c:delete val="0"/>
        <c:axPos val="l"/>
        <c:title>
          <c:tx>
            <c:rich>
              <a:bodyPr/>
              <a:lstStyle/>
              <a:p>
                <a:pPr>
                  <a:defRPr/>
                </a:pPr>
                <a:r>
                  <a:rPr lang="en-GB" dirty="0"/>
                  <a:t>Change in body weight</a:t>
                </a:r>
                <a:br>
                  <a:rPr lang="en-GB" dirty="0"/>
                </a:br>
                <a:r>
                  <a:rPr lang="en-GB" dirty="0"/>
                  <a:t> from baseline (%) </a:t>
                </a:r>
              </a:p>
            </c:rich>
          </c:tx>
          <c:layout>
            <c:manualLayout>
              <c:xMode val="edge"/>
              <c:yMode val="edge"/>
              <c:x val="5.6372892124479483E-2"/>
              <c:y val="0.24677201978098295"/>
            </c:manualLayout>
          </c:layout>
          <c:overlay val="0"/>
        </c:title>
        <c:numFmt formatCode="#,##0" sourceLinked="0"/>
        <c:majorTickMark val="out"/>
        <c:minorTickMark val="none"/>
        <c:tickLblPos val="nextTo"/>
        <c:spPr>
          <a:ln w="9525">
            <a:solidFill>
              <a:schemeClr val="tx2"/>
            </a:solidFill>
          </a:ln>
        </c:spPr>
        <c:txPr>
          <a:bodyPr rot="0" vert="horz"/>
          <a:lstStyle/>
          <a:p>
            <a:pPr>
              <a:defRPr/>
            </a:pPr>
            <a:endParaRPr lang="en-US"/>
          </a:p>
        </c:txPr>
        <c:crossAx val="458208024"/>
        <c:crosses val="autoZero"/>
        <c:crossBetween val="between"/>
        <c:majorUnit val="4"/>
      </c:valAx>
      <c:spPr>
        <a:noFill/>
        <a:ln w="19050">
          <a:noFill/>
        </a:ln>
      </c:spPr>
    </c:plotArea>
    <c:plotVisOnly val="1"/>
    <c:dispBlanksAs val="gap"/>
    <c:showDLblsOverMax val="0"/>
  </c:chart>
  <c:spPr>
    <a:noFill/>
    <a:ln>
      <a:noFill/>
    </a:ln>
  </c:spPr>
  <c:txPr>
    <a:bodyPr/>
    <a:lstStyle/>
    <a:p>
      <a:pPr>
        <a:defRPr sz="1200" b="0" i="0" u="none" strike="noStrike" baseline="0">
          <a:solidFill>
            <a:srgbClr val="002060"/>
          </a:solidFill>
          <a:latin typeface="+mj-lt"/>
          <a:ea typeface="Verdana"/>
          <a:cs typeface="Verdana"/>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22071672787133"/>
          <c:y val="4.6777810362991008E-2"/>
          <c:w val="0.86877928327212861"/>
          <c:h val="0.79236002803309258"/>
        </c:manualLayout>
      </c:layout>
      <c:barChart>
        <c:barDir val="col"/>
        <c:grouping val="clustered"/>
        <c:varyColors val="0"/>
        <c:ser>
          <c:idx val="0"/>
          <c:order val="0"/>
          <c:tx>
            <c:strRef>
              <c:f>Sheet1!$A$2</c:f>
              <c:strCache>
                <c:ptCount val="1"/>
                <c:pt idx="0">
                  <c:v>Sema 2.4 mg - IT</c:v>
                </c:pt>
              </c:strCache>
            </c:strRef>
          </c:tx>
          <c:spPr>
            <a:solidFill>
              <a:srgbClr val="001965"/>
            </a:solidFill>
            <a:ln>
              <a:noFill/>
            </a:ln>
            <a:effectLst/>
          </c:spPr>
          <c:invertIfNegative val="0"/>
          <c:dPt>
            <c:idx val="0"/>
            <c:invertIfNegative val="0"/>
            <c:bubble3D val="0"/>
            <c:spPr>
              <a:solidFill>
                <a:srgbClr val="001965"/>
              </a:solidFill>
              <a:ln w="25400">
                <a:noFill/>
              </a:ln>
              <a:effectLst/>
            </c:spPr>
            <c:extLst>
              <c:ext xmlns:c16="http://schemas.microsoft.com/office/drawing/2014/chart" uri="{C3380CC4-5D6E-409C-BE32-E72D297353CC}">
                <c16:uniqueId val="{00000001-B65A-495C-BAAD-D2B60D7E44F4}"/>
              </c:ext>
            </c:extLst>
          </c:dPt>
          <c:dPt>
            <c:idx val="1"/>
            <c:invertIfNegative val="0"/>
            <c:bubble3D val="0"/>
            <c:spPr>
              <a:solidFill>
                <a:srgbClr val="001965"/>
              </a:solidFill>
              <a:ln w="25400">
                <a:noFill/>
              </a:ln>
              <a:effectLst/>
            </c:spPr>
            <c:extLst>
              <c:ext xmlns:c16="http://schemas.microsoft.com/office/drawing/2014/chart" uri="{C3380CC4-5D6E-409C-BE32-E72D297353CC}">
                <c16:uniqueId val="{00000002-B65A-495C-BAAD-D2B60D7E44F4}"/>
              </c:ext>
            </c:extLst>
          </c:dPt>
          <c:dLbls>
            <c:numFmt formatCode="0.0" sourceLinked="0"/>
            <c:spPr>
              <a:noFill/>
              <a:ln>
                <a:noFill/>
              </a:ln>
              <a:effectLst/>
            </c:spPr>
            <c:txPr>
              <a:bodyPr rot="0" vert="horz"/>
              <a:lstStyle/>
              <a:p>
                <a:pPr>
                  <a:defRPr sz="10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2:$E$2</c:f>
              <c:numCache>
                <c:formatCode>0.0</c:formatCode>
                <c:ptCount val="4"/>
                <c:pt idx="0">
                  <c:v>86.4</c:v>
                </c:pt>
                <c:pt idx="1">
                  <c:v>69.099999999999994</c:v>
                </c:pt>
                <c:pt idx="2">
                  <c:v>50.5</c:v>
                </c:pt>
                <c:pt idx="3">
                  <c:v>32</c:v>
                </c:pt>
              </c:numCache>
            </c:numRef>
          </c:val>
          <c:extLst>
            <c:ext xmlns:c16="http://schemas.microsoft.com/office/drawing/2014/chart" uri="{C3380CC4-5D6E-409C-BE32-E72D297353CC}">
              <c16:uniqueId val="{00000003-B65A-495C-BAAD-D2B60D7E44F4}"/>
            </c:ext>
          </c:extLst>
        </c:ser>
        <c:ser>
          <c:idx val="1"/>
          <c:order val="1"/>
          <c:tx>
            <c:strRef>
              <c:f>Sheet1!$A$3</c:f>
              <c:strCache>
                <c:ptCount val="1"/>
                <c:pt idx="0">
                  <c:v>Placebo - IT</c:v>
                </c:pt>
              </c:strCache>
            </c:strRef>
          </c:tx>
          <c:spPr>
            <a:solidFill>
              <a:srgbClr val="939AA7"/>
            </a:solidFill>
            <a:ln w="25400">
              <a:noFill/>
            </a:ln>
            <a:effectLst/>
          </c:spPr>
          <c:invertIfNegative val="0"/>
          <c:dPt>
            <c:idx val="0"/>
            <c:invertIfNegative val="0"/>
            <c:bubble3D val="0"/>
            <c:extLst>
              <c:ext xmlns:c16="http://schemas.microsoft.com/office/drawing/2014/chart" uri="{C3380CC4-5D6E-409C-BE32-E72D297353CC}">
                <c16:uniqueId val="{00000007-B65A-495C-BAAD-D2B60D7E44F4}"/>
              </c:ext>
            </c:extLst>
          </c:dPt>
          <c:dPt>
            <c:idx val="1"/>
            <c:invertIfNegative val="0"/>
            <c:bubble3D val="0"/>
            <c:extLst>
              <c:ext xmlns:c16="http://schemas.microsoft.com/office/drawing/2014/chart" uri="{C3380CC4-5D6E-409C-BE32-E72D297353CC}">
                <c16:uniqueId val="{00000005-B65A-495C-BAAD-D2B60D7E44F4}"/>
              </c:ext>
            </c:extLst>
          </c:dPt>
          <c:dLbls>
            <c:dLbl>
              <c:idx val="2"/>
              <c:tx>
                <c:rich>
                  <a:bodyPr/>
                  <a:lstStyle/>
                  <a:p>
                    <a:fld id="{75B47E1E-9E61-4915-990C-EAE617308417}" type="VALUE">
                      <a:rPr lang="en-US" sz="9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B79-4065-BFFD-3645D14645A7}"/>
                </c:ext>
              </c:extLst>
            </c:dLbl>
            <c:dLbl>
              <c:idx val="3"/>
              <c:tx>
                <c:rich>
                  <a:bodyPr/>
                  <a:lstStyle/>
                  <a:p>
                    <a:fld id="{478368C7-E1EA-43A7-AF6E-BEAF1865DA82}" type="VALUE">
                      <a:rPr lang="en-US" sz="9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5547-504C-AAAE-6E5E2D7A71BD}"/>
                </c:ext>
              </c:extLst>
            </c:dLbl>
            <c:numFmt formatCode="0.0" sourceLinked="0"/>
            <c:spPr>
              <a:noFill/>
              <a:ln>
                <a:noFill/>
              </a:ln>
              <a:effectLst/>
            </c:spPr>
            <c:txPr>
              <a:bodyPr rot="0" vert="horz"/>
              <a:lstStyle/>
              <a:p>
                <a:pPr>
                  <a:defRPr sz="10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3:$E$3</c:f>
              <c:numCache>
                <c:formatCode>0.0</c:formatCode>
                <c:ptCount val="4"/>
                <c:pt idx="0">
                  <c:v>31.5</c:v>
                </c:pt>
                <c:pt idx="1">
                  <c:v>12</c:v>
                </c:pt>
                <c:pt idx="2">
                  <c:v>4.9000000000000004</c:v>
                </c:pt>
                <c:pt idx="3">
                  <c:v>1.7</c:v>
                </c:pt>
              </c:numCache>
            </c:numRef>
          </c:val>
          <c:extLst>
            <c:ext xmlns:c16="http://schemas.microsoft.com/office/drawing/2014/chart" uri="{C3380CC4-5D6E-409C-BE32-E72D297353CC}">
              <c16:uniqueId val="{00000006-B65A-495C-BAAD-D2B60D7E44F4}"/>
            </c:ext>
          </c:extLst>
        </c:ser>
        <c:dLbls>
          <c:showLegendKey val="0"/>
          <c:showVal val="0"/>
          <c:showCatName val="0"/>
          <c:showSerName val="0"/>
          <c:showPercent val="0"/>
          <c:showBubbleSize val="0"/>
        </c:dLbls>
        <c:gapWidth val="100"/>
        <c:overlap val="-15"/>
        <c:axId val="728001360"/>
        <c:axId val="728003000"/>
      </c:barChart>
      <c:catAx>
        <c:axId val="728001360"/>
        <c:scaling>
          <c:orientation val="minMax"/>
        </c:scaling>
        <c:delete val="0"/>
        <c:axPos val="b"/>
        <c:title>
          <c:tx>
            <c:rich>
              <a:bodyPr/>
              <a:lstStyle/>
              <a:p>
                <a:pPr>
                  <a:defRPr sz="1050" b="0"/>
                </a:pPr>
                <a:r>
                  <a:rPr lang="en-GB" sz="1050" b="0">
                    <a:latin typeface="Apis For Office" panose="020B0504010101010104" pitchFamily="34" charset="0"/>
                  </a:rPr>
                  <a:t>Weight-loss categories at week 68</a:t>
                </a:r>
              </a:p>
            </c:rich>
          </c:tx>
          <c:layout>
            <c:manualLayout>
              <c:xMode val="edge"/>
              <c:yMode val="edge"/>
              <c:x val="0.26844445907777115"/>
              <c:y val="0.93581572164538573"/>
            </c:manualLayout>
          </c:layout>
          <c:overlay val="0"/>
        </c:title>
        <c:numFmt formatCode="General" sourceLinked="1"/>
        <c:majorTickMark val="none"/>
        <c:minorTickMark val="none"/>
        <c:tickLblPos val="nextTo"/>
        <c:spPr>
          <a:noFill/>
          <a:ln w="12700" cap="flat" cmpd="sng" algn="ctr">
            <a:solidFill>
              <a:srgbClr val="001965"/>
            </a:solidFill>
            <a:round/>
          </a:ln>
          <a:effectLst/>
        </c:spPr>
        <c:txPr>
          <a:bodyPr rot="-60000000" vert="horz" anchor="t" anchorCtr="0"/>
          <a:lstStyle/>
          <a:p>
            <a:pPr>
              <a:defRPr sz="1100">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3000"/>
        <c:crosses val="autoZero"/>
        <c:auto val="1"/>
        <c:lblAlgn val="ctr"/>
        <c:lblOffset val="100"/>
        <c:noMultiLvlLbl val="0"/>
      </c:catAx>
      <c:valAx>
        <c:axId val="728003000"/>
        <c:scaling>
          <c:orientation val="minMax"/>
          <c:min val="0"/>
        </c:scaling>
        <c:delete val="0"/>
        <c:axPos val="l"/>
        <c:title>
          <c:tx>
            <c:rich>
              <a:bodyPr/>
              <a:lstStyle/>
              <a:p>
                <a:pPr>
                  <a:defRPr sz="1200" b="0"/>
                </a:pPr>
                <a:r>
                  <a:rPr lang="en-GB" sz="1200" b="0">
                    <a:latin typeface="Apis For Office" panose="020B0504010101010104" pitchFamily="34" charset="0"/>
                  </a:rPr>
                  <a:t>Proportion of participants (%)</a:t>
                </a:r>
              </a:p>
            </c:rich>
          </c:tx>
          <c:layout>
            <c:manualLayout>
              <c:xMode val="edge"/>
              <c:yMode val="edge"/>
              <c:x val="2.4889720898036809E-3"/>
              <c:y val="0.11171569100407031"/>
            </c:manualLayout>
          </c:layout>
          <c:overlay val="0"/>
        </c:title>
        <c:numFmt formatCode="0" sourceLinked="0"/>
        <c:majorTickMark val="out"/>
        <c:minorTickMark val="none"/>
        <c:tickLblPos val="nextTo"/>
        <c:spPr>
          <a:ln w="12700">
            <a:solidFill>
              <a:srgbClr val="001965"/>
            </a:solidFill>
          </a:ln>
        </c:spPr>
        <c:txPr>
          <a:bodyPr/>
          <a:lstStyle/>
          <a:p>
            <a:pPr>
              <a:defRPr sz="900">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1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solidFill>
            <a:schemeClr val="tx2"/>
          </a:solidFill>
        </a:defRPr>
      </a:pPr>
      <a:endParaRPr lang="en-US"/>
    </a:p>
  </c:txPr>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84474506866263"/>
          <c:y val="9.485698312954563E-2"/>
          <c:w val="0.8881552549313374"/>
          <c:h val="0.75497192450910389"/>
        </c:manualLayout>
      </c:layout>
      <c:barChart>
        <c:barDir val="col"/>
        <c:grouping val="clustered"/>
        <c:varyColors val="0"/>
        <c:ser>
          <c:idx val="0"/>
          <c:order val="0"/>
          <c:tx>
            <c:strRef>
              <c:f>Sheet1!$A$2</c:f>
              <c:strCache>
                <c:ptCount val="1"/>
                <c:pt idx="0">
                  <c:v>Sema 2.4 mg - OT</c:v>
                </c:pt>
              </c:strCache>
            </c:strRef>
          </c:tx>
          <c:spPr>
            <a:solidFill>
              <a:srgbClr val="6675A3"/>
            </a:solidFill>
            <a:ln>
              <a:noFill/>
            </a:ln>
            <a:effectLst/>
          </c:spPr>
          <c:invertIfNegative val="0"/>
          <c:dPt>
            <c:idx val="0"/>
            <c:invertIfNegative val="0"/>
            <c:bubble3D val="0"/>
            <c:spPr>
              <a:solidFill>
                <a:srgbClr val="6675A3"/>
              </a:solidFill>
              <a:ln w="25400">
                <a:noFill/>
              </a:ln>
              <a:effectLst/>
            </c:spPr>
            <c:extLst>
              <c:ext xmlns:c16="http://schemas.microsoft.com/office/drawing/2014/chart" uri="{C3380CC4-5D6E-409C-BE32-E72D297353CC}">
                <c16:uniqueId val="{00000001-EC42-4923-83FE-5B82A7E1E94F}"/>
              </c:ext>
            </c:extLst>
          </c:dPt>
          <c:dPt>
            <c:idx val="1"/>
            <c:invertIfNegative val="0"/>
            <c:bubble3D val="0"/>
            <c:spPr>
              <a:solidFill>
                <a:srgbClr val="6675A3"/>
              </a:solidFill>
              <a:ln w="25400">
                <a:noFill/>
              </a:ln>
              <a:effectLst/>
            </c:spPr>
            <c:extLst>
              <c:ext xmlns:c16="http://schemas.microsoft.com/office/drawing/2014/chart" uri="{C3380CC4-5D6E-409C-BE32-E72D297353CC}">
                <c16:uniqueId val="{00000003-EC42-4923-83FE-5B82A7E1E94F}"/>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2:$E$2</c:f>
              <c:numCache>
                <c:formatCode>0.0</c:formatCode>
                <c:ptCount val="4"/>
                <c:pt idx="0">
                  <c:v>92.4</c:v>
                </c:pt>
                <c:pt idx="1">
                  <c:v>74.8</c:v>
                </c:pt>
                <c:pt idx="2">
                  <c:v>54.8</c:v>
                </c:pt>
                <c:pt idx="3">
                  <c:v>34.799999999999997</c:v>
                </c:pt>
              </c:numCache>
            </c:numRef>
          </c:val>
          <c:extLst>
            <c:ext xmlns:c16="http://schemas.microsoft.com/office/drawing/2014/chart" uri="{C3380CC4-5D6E-409C-BE32-E72D297353CC}">
              <c16:uniqueId val="{00000004-EC42-4923-83FE-5B82A7E1E94F}"/>
            </c:ext>
          </c:extLst>
        </c:ser>
        <c:ser>
          <c:idx val="1"/>
          <c:order val="1"/>
          <c:tx>
            <c:strRef>
              <c:f>Sheet1!$A$3</c:f>
              <c:strCache>
                <c:ptCount val="1"/>
                <c:pt idx="0">
                  <c:v>Placebo - OT</c:v>
                </c:pt>
              </c:strCache>
            </c:strRef>
          </c:tx>
          <c:spPr>
            <a:solidFill>
              <a:srgbClr val="BEC2CA"/>
            </a:solidFill>
            <a:ln w="25400">
              <a:noFill/>
            </a:ln>
            <a:effectLst/>
          </c:spPr>
          <c:invertIfNegative val="0"/>
          <c:dPt>
            <c:idx val="0"/>
            <c:invertIfNegative val="0"/>
            <c:bubble3D val="0"/>
            <c:extLst>
              <c:ext xmlns:c16="http://schemas.microsoft.com/office/drawing/2014/chart" uri="{C3380CC4-5D6E-409C-BE32-E72D297353CC}">
                <c16:uniqueId val="{00000005-EC42-4923-83FE-5B82A7E1E94F}"/>
              </c:ext>
            </c:extLst>
          </c:dPt>
          <c:dPt>
            <c:idx val="1"/>
            <c:invertIfNegative val="0"/>
            <c:bubble3D val="0"/>
            <c:extLst>
              <c:ext xmlns:c16="http://schemas.microsoft.com/office/drawing/2014/chart" uri="{C3380CC4-5D6E-409C-BE32-E72D297353CC}">
                <c16:uniqueId val="{00000006-EC42-4923-83FE-5B82A7E1E94F}"/>
              </c:ext>
            </c:extLst>
          </c:dPt>
          <c:dLbls>
            <c:dLbl>
              <c:idx val="2"/>
              <c:tx>
                <c:rich>
                  <a:bodyPr/>
                  <a:lstStyle/>
                  <a:p>
                    <a:fld id="{86A9D833-3CF6-44AE-B5DC-D91C4F0BE616}" type="VALUE">
                      <a:rPr lang="en-US">
                        <a:latin typeface="Apis For Office" panose="020B05040101010101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D2F-4E77-8362-E60C16CF5115}"/>
                </c:ext>
              </c:extLst>
            </c:dLbl>
            <c:dLbl>
              <c:idx val="3"/>
              <c:tx>
                <c:rich>
                  <a:bodyPr/>
                  <a:lstStyle/>
                  <a:p>
                    <a:fld id="{3903A46E-F2AE-4E63-99C2-226406FEA153}" type="VALUE">
                      <a:rPr lang="en-US">
                        <a:latin typeface="Apis For Office" panose="020B05040101010101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D2F-4E77-8362-E60C16CF5115}"/>
                </c:ext>
              </c:extLst>
            </c:dLbl>
            <c:numFmt formatCode="0.0" sourceLinked="0"/>
            <c:spPr>
              <a:noFill/>
              <a:ln>
                <a:noFill/>
              </a:ln>
              <a:effectLst/>
            </c:spPr>
            <c:txPr>
              <a:bodyPr rot="0" spcFirstLastPara="1" vertOverflow="ellipsis" vert="horz" wrap="none" lIns="0" tIns="0" rIns="0" bIns="0" anchor="ctr" anchorCtr="1">
                <a:spAutoFit/>
              </a:bodyPr>
              <a:lstStyle/>
              <a:p>
                <a:pPr>
                  <a:defRPr sz="900" b="1" i="0" u="none" strike="noStrike" kern="1200" baseline="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3:$E$3</c:f>
              <c:numCache>
                <c:formatCode>0.0</c:formatCode>
                <c:ptCount val="4"/>
                <c:pt idx="0">
                  <c:v>33.1</c:v>
                </c:pt>
                <c:pt idx="1">
                  <c:v>11.8</c:v>
                </c:pt>
                <c:pt idx="2">
                  <c:v>5</c:v>
                </c:pt>
                <c:pt idx="3">
                  <c:v>2</c:v>
                </c:pt>
              </c:numCache>
            </c:numRef>
          </c:val>
          <c:extLst>
            <c:ext xmlns:c16="http://schemas.microsoft.com/office/drawing/2014/chart" uri="{C3380CC4-5D6E-409C-BE32-E72D297353CC}">
              <c16:uniqueId val="{00000007-EC42-4923-83FE-5B82A7E1E94F}"/>
            </c:ext>
          </c:extLst>
        </c:ser>
        <c:dLbls>
          <c:showLegendKey val="0"/>
          <c:showVal val="0"/>
          <c:showCatName val="0"/>
          <c:showSerName val="0"/>
          <c:showPercent val="0"/>
          <c:showBubbleSize val="0"/>
        </c:dLbls>
        <c:gapWidth val="100"/>
        <c:overlap val="-15"/>
        <c:axId val="728001360"/>
        <c:axId val="728003000"/>
      </c:barChart>
      <c:catAx>
        <c:axId val="728001360"/>
        <c:scaling>
          <c:orientation val="minMax"/>
        </c:scaling>
        <c:delete val="0"/>
        <c:axPos val="b"/>
        <c:title>
          <c:tx>
            <c:rich>
              <a:bodyPr/>
              <a:lstStyle/>
              <a:p>
                <a:pPr>
                  <a:defRPr sz="1050" b="0">
                    <a:solidFill>
                      <a:srgbClr val="001965"/>
                    </a:solidFill>
                  </a:defRPr>
                </a:pPr>
                <a:r>
                  <a:rPr lang="en-GB" sz="1050" b="0">
                    <a:solidFill>
                      <a:srgbClr val="001965"/>
                    </a:solidFill>
                    <a:latin typeface="Apis For Office" panose="020B0504010101010104" pitchFamily="34" charset="0"/>
                  </a:rPr>
                  <a:t>Weight-loss categories at week 68</a:t>
                </a:r>
              </a:p>
            </c:rich>
          </c:tx>
          <c:layout>
            <c:manualLayout>
              <c:xMode val="edge"/>
              <c:yMode val="edge"/>
              <c:x val="0.30695454078660928"/>
              <c:y val="0.94155386729025847"/>
            </c:manualLayout>
          </c:layout>
          <c:overlay val="0"/>
        </c:title>
        <c:numFmt formatCode="General" sourceLinked="1"/>
        <c:majorTickMark val="none"/>
        <c:minorTickMark val="none"/>
        <c:tickLblPos val="nextTo"/>
        <c:spPr>
          <a:noFill/>
          <a:ln w="12700" cap="flat" cmpd="sng" algn="ctr">
            <a:solidFill>
              <a:srgbClr val="001965"/>
            </a:solidFill>
            <a:round/>
          </a:ln>
          <a:effectLst/>
        </c:spPr>
        <c:txPr>
          <a:bodyPr rot="-60000000" spcFirstLastPara="1" vertOverflow="ellipsis" vert="horz" wrap="square" anchor="t" anchorCtr="0"/>
          <a:lstStyle/>
          <a:p>
            <a:pPr>
              <a:defRPr sz="1100" b="0" i="0" u="none" strike="noStrike" kern="1200" baseline="0">
                <a:solidFill>
                  <a:srgbClr val="001042"/>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3000"/>
        <c:crosses val="autoZero"/>
        <c:auto val="1"/>
        <c:lblAlgn val="ctr"/>
        <c:lblOffset val="100"/>
        <c:noMultiLvlLbl val="0"/>
      </c:catAx>
      <c:valAx>
        <c:axId val="728003000"/>
        <c:scaling>
          <c:orientation val="minMax"/>
          <c:min val="0"/>
        </c:scaling>
        <c:delete val="0"/>
        <c:axPos val="l"/>
        <c:title>
          <c:tx>
            <c:rich>
              <a:bodyPr/>
              <a:lstStyle/>
              <a:p>
                <a:pPr>
                  <a:defRPr>
                    <a:solidFill>
                      <a:srgbClr val="FFFFFF"/>
                    </a:solidFill>
                  </a:defRPr>
                </a:pPr>
                <a:r>
                  <a:rPr lang="en-GB" b="0">
                    <a:solidFill>
                      <a:srgbClr val="FFFFFF"/>
                    </a:solidFill>
                    <a:latin typeface="Apis For Office" panose="020B0504010101010104" pitchFamily="34" charset="0"/>
                  </a:rPr>
                  <a:t>Proportion of subjects (%)</a:t>
                </a:r>
              </a:p>
            </c:rich>
          </c:tx>
          <c:overlay val="0"/>
        </c:title>
        <c:numFmt formatCode="0" sourceLinked="0"/>
        <c:majorTickMark val="out"/>
        <c:minorTickMark val="none"/>
        <c:tickLblPos val="nextTo"/>
        <c:spPr>
          <a:ln w="12700">
            <a:noFill/>
          </a:ln>
        </c:spPr>
        <c:txPr>
          <a:bodyPr/>
          <a:lstStyle/>
          <a:p>
            <a:pPr>
              <a:defRPr sz="1300">
                <a:solidFill>
                  <a:schemeClr val="bg1"/>
                </a:solidFill>
              </a:defRPr>
            </a:pPr>
            <a:endParaRPr lang="en-US"/>
          </a:p>
        </c:txPr>
        <c:crossAx val="728001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74194669264811"/>
          <c:y val="0.10469813583872778"/>
          <c:w val="0.86087375411019007"/>
          <c:h val="0.66163419766121223"/>
        </c:manualLayout>
      </c:layout>
      <c:barChart>
        <c:barDir val="col"/>
        <c:grouping val="clustered"/>
        <c:varyColors val="0"/>
        <c:ser>
          <c:idx val="0"/>
          <c:order val="0"/>
          <c:tx>
            <c:strRef>
              <c:f>Sheet1!$A$2</c:f>
              <c:strCache>
                <c:ptCount val="1"/>
                <c:pt idx="0">
                  <c:v>Semaglutide 2.4 mg</c:v>
                </c:pt>
              </c:strCache>
            </c:strRef>
          </c:tx>
          <c:invertIfNegative val="0"/>
          <c:dPt>
            <c:idx val="0"/>
            <c:invertIfNegative val="0"/>
            <c:bubble3D val="0"/>
            <c:spPr>
              <a:solidFill>
                <a:srgbClr val="001965"/>
              </a:solidFill>
              <a:ln w="25400">
                <a:noFill/>
              </a:ln>
              <a:effectLst/>
            </c:spPr>
            <c:extLst>
              <c:ext xmlns:c16="http://schemas.microsoft.com/office/drawing/2014/chart" uri="{C3380CC4-5D6E-409C-BE32-E72D297353CC}">
                <c16:uniqueId val="{00000001-10AD-40ED-B1C7-082242E89ED0}"/>
              </c:ext>
            </c:extLst>
          </c:dPt>
          <c:dPt>
            <c:idx val="1"/>
            <c:invertIfNegative val="0"/>
            <c:bubble3D val="0"/>
            <c:spPr>
              <a:solidFill>
                <a:srgbClr val="001965">
                  <a:alpha val="60000"/>
                </a:srgbClr>
              </a:solidFill>
              <a:ln w="25400">
                <a:noFill/>
              </a:ln>
              <a:effectLst/>
            </c:spPr>
            <c:extLst>
              <c:ext xmlns:c16="http://schemas.microsoft.com/office/drawing/2014/chart" uri="{C3380CC4-5D6E-409C-BE32-E72D297353CC}">
                <c16:uniqueId val="{00000003-10AD-40ED-B1C7-082242E89ED0}"/>
              </c:ext>
            </c:extLst>
          </c:dPt>
          <c:dLbls>
            <c:dLbl>
              <c:idx val="0"/>
              <c:tx>
                <c:rich>
                  <a:bodyPr/>
                  <a:lstStyle/>
                  <a:p>
                    <a:r>
                      <a:rPr kumimoji="0" lang="en-US" sz="1300" b="1" i="0" u="none" strike="noStrike" kern="1200" cap="none" spc="0" normalizeH="0" baseline="0" noProof="0">
                        <a:ln>
                          <a:noFill/>
                        </a:ln>
                        <a:solidFill>
                          <a:schemeClr val="bg1"/>
                        </a:solidFill>
                        <a:effectLst/>
                        <a:uLnTx/>
                        <a:uFillTx/>
                      </a:rPr>
                      <a:t>–17.4</a:t>
                    </a:r>
                    <a:endParaRPr lang="en-US"/>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0AD-40ED-B1C7-082242E89ED0}"/>
                </c:ext>
              </c:extLst>
            </c:dLbl>
            <c:dLbl>
              <c:idx val="1"/>
              <c:tx>
                <c:rich>
                  <a:bodyPr/>
                  <a:lstStyle/>
                  <a:p>
                    <a:r>
                      <a:rPr kumimoji="0" lang="en-US" sz="1300" b="1" i="0" u="none" strike="noStrike" kern="1200" cap="none" spc="0" normalizeH="0" baseline="0" noProof="0">
                        <a:ln>
                          <a:noFill/>
                        </a:ln>
                        <a:solidFill>
                          <a:schemeClr val="bg1"/>
                        </a:solidFill>
                        <a:effectLst/>
                        <a:uLnTx/>
                        <a:uFillTx/>
                      </a:rPr>
                      <a:t>–18.2</a:t>
                    </a:r>
                    <a:endParaRPr lang="en-US"/>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0AD-40ED-B1C7-082242E89ED0}"/>
                </c:ext>
              </c:extLst>
            </c:dLbl>
            <c:spPr>
              <a:noFill/>
              <a:ln>
                <a:noFill/>
              </a:ln>
              <a:effectLst/>
            </c:spPr>
            <c:txPr>
              <a:bodyPr wrap="square" lIns="38100" tIns="19050" rIns="38100" bIns="19050" anchor="ctr">
                <a:spAutoFit/>
              </a:bodyPr>
              <a:lstStyle/>
              <a:p>
                <a:pPr>
                  <a:defRPr b="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reatment policy</c:v>
                </c:pt>
                <c:pt idx="1">
                  <c:v>Trial product estimand</c:v>
                </c:pt>
              </c:strCache>
            </c:strRef>
          </c:cat>
          <c:val>
            <c:numRef>
              <c:f>Sheet1!$B$2:$C$2</c:f>
              <c:numCache>
                <c:formatCode>General</c:formatCode>
                <c:ptCount val="2"/>
                <c:pt idx="0">
                  <c:v>-17.399999999999999</c:v>
                </c:pt>
                <c:pt idx="1">
                  <c:v>-18.2</c:v>
                </c:pt>
              </c:numCache>
            </c:numRef>
          </c:val>
          <c:extLst>
            <c:ext xmlns:c16="http://schemas.microsoft.com/office/drawing/2014/chart" uri="{C3380CC4-5D6E-409C-BE32-E72D297353CC}">
              <c16:uniqueId val="{00000004-10AD-40ED-B1C7-082242E89ED0}"/>
            </c:ext>
          </c:extLst>
        </c:ser>
        <c:ser>
          <c:idx val="1"/>
          <c:order val="1"/>
          <c:tx>
            <c:strRef>
              <c:f>Sheet1!$A$3</c:f>
              <c:strCache>
                <c:ptCount val="1"/>
                <c:pt idx="0">
                  <c:v>Placebo</c:v>
                </c:pt>
              </c:strCache>
            </c:strRef>
          </c:tx>
          <c:spPr>
            <a:solidFill>
              <a:srgbClr val="939AA7"/>
            </a:solidFill>
          </c:spPr>
          <c:invertIfNegative val="0"/>
          <c:dPt>
            <c:idx val="0"/>
            <c:invertIfNegative val="0"/>
            <c:bubble3D val="0"/>
            <c:spPr>
              <a:solidFill>
                <a:srgbClr val="939AA7"/>
              </a:solidFill>
              <a:ln w="25400">
                <a:noFill/>
              </a:ln>
              <a:effectLst/>
            </c:spPr>
            <c:extLst>
              <c:ext xmlns:c16="http://schemas.microsoft.com/office/drawing/2014/chart" uri="{C3380CC4-5D6E-409C-BE32-E72D297353CC}">
                <c16:uniqueId val="{00000006-10AD-40ED-B1C7-082242E89ED0}"/>
              </c:ext>
            </c:extLst>
          </c:dPt>
          <c:dPt>
            <c:idx val="1"/>
            <c:invertIfNegative val="0"/>
            <c:bubble3D val="0"/>
            <c:spPr>
              <a:solidFill>
                <a:srgbClr val="C4C8CF"/>
              </a:solidFill>
              <a:ln w="25400">
                <a:noFill/>
              </a:ln>
              <a:effectLst/>
            </c:spPr>
            <c:extLst>
              <c:ext xmlns:c16="http://schemas.microsoft.com/office/drawing/2014/chart" uri="{C3380CC4-5D6E-409C-BE32-E72D297353CC}">
                <c16:uniqueId val="{00000008-10AD-40ED-B1C7-082242E89ED0}"/>
              </c:ext>
            </c:extLst>
          </c:dPt>
          <c:dLbls>
            <c:dLbl>
              <c:idx val="0"/>
              <c:tx>
                <c:rich>
                  <a:bodyPr/>
                  <a:lstStyle/>
                  <a:p>
                    <a:r>
                      <a:rPr kumimoji="0" lang="en-US" sz="1300" b="1" i="0" u="none" strike="noStrike" kern="1200" cap="none" spc="0" normalizeH="0" baseline="0" noProof="0">
                        <a:ln>
                          <a:noFill/>
                        </a:ln>
                        <a:solidFill>
                          <a:schemeClr val="bg1"/>
                        </a:solidFill>
                        <a:effectLst/>
                        <a:uLnTx/>
                        <a:uFillTx/>
                      </a:rPr>
                      <a:t>–5.0</a:t>
                    </a:r>
                    <a:endParaRPr lang="en-US"/>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0AD-40ED-B1C7-082242E89ED0}"/>
                </c:ext>
              </c:extLst>
            </c:dLbl>
            <c:dLbl>
              <c:idx val="1"/>
              <c:tx>
                <c:rich>
                  <a:bodyPr/>
                  <a:lstStyle/>
                  <a:p>
                    <a:r>
                      <a:rPr kumimoji="0" lang="en-US" sz="1300" b="1" i="0" u="none" strike="noStrike" kern="1200" cap="none" spc="0" normalizeH="0" baseline="0" noProof="0">
                        <a:ln>
                          <a:noFill/>
                        </a:ln>
                        <a:solidFill>
                          <a:schemeClr val="bg1"/>
                        </a:solidFill>
                        <a:effectLst/>
                        <a:uLnTx/>
                        <a:uFillTx/>
                      </a:rPr>
                      <a:t>–5.2</a:t>
                    </a:r>
                    <a:endParaRPr lang="en-US"/>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0AD-40ED-B1C7-082242E89ED0}"/>
                </c:ext>
              </c:extLst>
            </c:dLbl>
            <c:numFmt formatCode="#,##0.0" sourceLinked="0"/>
            <c:spPr>
              <a:noFill/>
              <a:ln>
                <a:noFill/>
              </a:ln>
              <a:effectLst/>
            </c:spPr>
            <c:txPr>
              <a:bodyPr wrap="square" lIns="38100" tIns="19050" rIns="38100" bIns="19050" anchor="ctr">
                <a:spAutoFit/>
              </a:bodyPr>
              <a:lstStyle/>
              <a:p>
                <a:pPr>
                  <a:defRPr b="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reatment policy</c:v>
                </c:pt>
                <c:pt idx="1">
                  <c:v>Trial product estimand</c:v>
                </c:pt>
              </c:strCache>
            </c:strRef>
          </c:cat>
          <c:val>
            <c:numRef>
              <c:f>Sheet1!$B$3:$C$3</c:f>
              <c:numCache>
                <c:formatCode>General</c:formatCode>
                <c:ptCount val="2"/>
                <c:pt idx="0">
                  <c:v>-5</c:v>
                </c:pt>
                <c:pt idx="1">
                  <c:v>-5.2</c:v>
                </c:pt>
              </c:numCache>
            </c:numRef>
          </c:val>
          <c:extLst>
            <c:ext xmlns:c16="http://schemas.microsoft.com/office/drawing/2014/chart" uri="{C3380CC4-5D6E-409C-BE32-E72D297353CC}">
              <c16:uniqueId val="{00000009-10AD-40ED-B1C7-082242E89ED0}"/>
            </c:ext>
          </c:extLst>
        </c:ser>
        <c:dLbls>
          <c:dLblPos val="inEnd"/>
          <c:showLegendKey val="0"/>
          <c:showVal val="1"/>
          <c:showCatName val="0"/>
          <c:showSerName val="0"/>
          <c:showPercent val="0"/>
          <c:showBubbleSize val="0"/>
        </c:dLbls>
        <c:gapWidth val="42"/>
        <c:overlap val="-10"/>
        <c:axId val="728001360"/>
        <c:axId val="728003000"/>
      </c:barChart>
      <c:catAx>
        <c:axId val="728001360"/>
        <c:scaling>
          <c:orientation val="minMax"/>
        </c:scaling>
        <c:delete val="0"/>
        <c:axPos val="b"/>
        <c:numFmt formatCode="General" sourceLinked="1"/>
        <c:majorTickMark val="none"/>
        <c:minorTickMark val="none"/>
        <c:tickLblPos val="none"/>
        <c:spPr>
          <a:noFill/>
          <a:ln w="12700" cap="flat" cmpd="sng" algn="ctr">
            <a:solidFill>
              <a:srgbClr val="001965"/>
            </a:solidFill>
            <a:round/>
          </a:ln>
          <a:effectLst/>
        </c:spPr>
        <c:txPr>
          <a:bodyPr rot="-60000000" vert="horz" anchor="b" anchorCtr="0"/>
          <a:lstStyle/>
          <a:p>
            <a:pPr>
              <a:defRPr>
                <a:solidFill>
                  <a:schemeClr val="tx2"/>
                </a:solidFill>
              </a:defRPr>
            </a:pPr>
            <a:endParaRPr lang="en-US"/>
          </a:p>
        </c:txPr>
        <c:crossAx val="728003000"/>
        <c:crosses val="autoZero"/>
        <c:auto val="1"/>
        <c:lblAlgn val="ctr"/>
        <c:lblOffset val="0"/>
        <c:noMultiLvlLbl val="0"/>
      </c:catAx>
      <c:valAx>
        <c:axId val="728003000"/>
        <c:scaling>
          <c:orientation val="minMax"/>
          <c:min val="-19"/>
        </c:scaling>
        <c:delete val="1"/>
        <c:axPos val="l"/>
        <c:numFmt formatCode="General" sourceLinked="1"/>
        <c:majorTickMark val="out"/>
        <c:minorTickMark val="none"/>
        <c:tickLblPos val="nextTo"/>
        <c:crossAx val="728001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pPr>
      <a:endParaRPr lang="en-US"/>
    </a:p>
  </c:txPr>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72440514999947"/>
          <c:y val="3.901671646094821E-2"/>
          <c:w val="0.84246798574377357"/>
          <c:h val="0.75342587326888111"/>
        </c:manualLayout>
      </c:layout>
      <c:scatterChart>
        <c:scatterStyle val="lineMarker"/>
        <c:varyColors val="0"/>
        <c:ser>
          <c:idx val="4"/>
          <c:order val="0"/>
          <c:tx>
            <c:strRef>
              <c:f>Sheet1!$A$1</c:f>
              <c:strCache>
                <c:ptCount val="1"/>
                <c:pt idx="0">
                  <c:v>Sema run-in - IT</c:v>
                </c:pt>
              </c:strCache>
            </c:strRef>
          </c:tx>
          <c:spPr>
            <a:ln w="19050">
              <a:solidFill>
                <a:srgbClr val="2A918B"/>
              </a:solidFill>
            </a:ln>
          </c:spPr>
          <c:marker>
            <c:symbol val="none"/>
          </c:marker>
          <c:errBars>
            <c:errDir val="y"/>
            <c:errBarType val="both"/>
            <c:errValType val="cust"/>
            <c:noEndCap val="1"/>
            <c:plus>
              <c:numRef>
                <c:f>Data!$F$2:$F$7</c:f>
                <c:numCache>
                  <c:formatCode>General</c:formatCode>
                  <c:ptCount val="6"/>
                  <c:pt idx="0">
                    <c:v>0</c:v>
                  </c:pt>
                  <c:pt idx="1">
                    <c:v>5.9602698305354807E-2</c:v>
                  </c:pt>
                  <c:pt idx="2">
                    <c:v>8.8057503657770653E-2</c:v>
                  </c:pt>
                  <c:pt idx="3">
                    <c:v>0.11489040658132588</c:v>
                  </c:pt>
                  <c:pt idx="4">
                    <c:v>0.14002409913658198</c:v>
                  </c:pt>
                  <c:pt idx="5">
                    <c:v>0.19677875231364084</c:v>
                  </c:pt>
                </c:numCache>
              </c:numRef>
            </c:plus>
            <c:minus>
              <c:numRef>
                <c:f>Data!$F$2:$F$7</c:f>
                <c:numCache>
                  <c:formatCode>General</c:formatCode>
                  <c:ptCount val="6"/>
                  <c:pt idx="0">
                    <c:v>0</c:v>
                  </c:pt>
                  <c:pt idx="1">
                    <c:v>5.9602698305354807E-2</c:v>
                  </c:pt>
                  <c:pt idx="2">
                    <c:v>8.8057503657770653E-2</c:v>
                  </c:pt>
                  <c:pt idx="3">
                    <c:v>0.11489040658132588</c:v>
                  </c:pt>
                  <c:pt idx="4">
                    <c:v>0.14002409913658198</c:v>
                  </c:pt>
                  <c:pt idx="5">
                    <c:v>0.19677875231364084</c:v>
                  </c:pt>
                </c:numCache>
              </c:numRef>
            </c:minus>
            <c:spPr>
              <a:ln w="19050">
                <a:solidFill>
                  <a:srgbClr val="2A918B"/>
                </a:solidFill>
              </a:ln>
            </c:spPr>
          </c:errBars>
          <c:xVal>
            <c:numRef>
              <c:f>Sheet1!$A$2:$A$14</c:f>
              <c:numCache>
                <c:formatCode>General</c:formatCode>
                <c:ptCount val="13"/>
                <c:pt idx="0">
                  <c:v>0</c:v>
                </c:pt>
                <c:pt idx="1">
                  <c:v>4</c:v>
                </c:pt>
                <c:pt idx="2">
                  <c:v>8</c:v>
                </c:pt>
                <c:pt idx="3">
                  <c:v>12</c:v>
                </c:pt>
                <c:pt idx="4">
                  <c:v>16</c:v>
                </c:pt>
                <c:pt idx="5">
                  <c:v>20</c:v>
                </c:pt>
                <c:pt idx="6">
                  <c:v>0</c:v>
                </c:pt>
                <c:pt idx="7">
                  <c:v>0</c:v>
                </c:pt>
                <c:pt idx="8">
                  <c:v>0</c:v>
                </c:pt>
                <c:pt idx="9">
                  <c:v>0</c:v>
                </c:pt>
                <c:pt idx="10">
                  <c:v>0</c:v>
                </c:pt>
                <c:pt idx="11">
                  <c:v>0</c:v>
                </c:pt>
                <c:pt idx="12">
                  <c:v>0</c:v>
                </c:pt>
              </c:numCache>
            </c:numRef>
          </c:xVal>
          <c:yVal>
            <c:numRef>
              <c:f>Sheet1!$G$2:$G$14</c:f>
              <c:numCache>
                <c:formatCode>General</c:formatCode>
                <c:ptCount val="13"/>
                <c:pt idx="0">
                  <c:v>0</c:v>
                </c:pt>
                <c:pt idx="1">
                  <c:v>-2.3828566901760122</c:v>
                </c:pt>
                <c:pt idx="2">
                  <c:v>-4.3839928636046954</c:v>
                </c:pt>
                <c:pt idx="3">
                  <c:v>-6.4601599592222891</c:v>
                </c:pt>
                <c:pt idx="4">
                  <c:v>-8.5233274836375035</c:v>
                </c:pt>
                <c:pt idx="5">
                  <c:v>-10.452170378202892</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01-C266-4BFA-AB44-91FBCD91D34D}"/>
            </c:ext>
          </c:extLst>
        </c:ser>
        <c:ser>
          <c:idx val="2"/>
          <c:order val="1"/>
          <c:tx>
            <c:strRef>
              <c:f>Sheet1!$B$1</c:f>
              <c:strCache>
                <c:ptCount val="1"/>
                <c:pt idx="0">
                  <c:v>Sema 2.4 mg - IT</c:v>
                </c:pt>
              </c:strCache>
            </c:strRef>
          </c:tx>
          <c:spPr>
            <a:ln w="19050">
              <a:solidFill>
                <a:srgbClr val="001965"/>
              </a:solidFill>
            </a:ln>
          </c:spPr>
          <c:marker>
            <c:symbol val="none"/>
          </c:marker>
          <c:errBars>
            <c:errDir val="y"/>
            <c:errBarType val="both"/>
            <c:errValType val="cust"/>
            <c:noEndCap val="1"/>
            <c:plus>
              <c:numRef>
                <c:f>Data!$H$7:$H$14</c:f>
                <c:numCache>
                  <c:formatCode>General</c:formatCode>
                  <c:ptCount val="8"/>
                  <c:pt idx="0">
                    <c:v>0.19677875231364084</c:v>
                  </c:pt>
                  <c:pt idx="1">
                    <c:v>0.2264387813836759</c:v>
                  </c:pt>
                  <c:pt idx="2">
                    <c:v>0.25811412785351706</c:v>
                  </c:pt>
                  <c:pt idx="3">
                    <c:v>0.30846402717311072</c:v>
                  </c:pt>
                  <c:pt idx="4">
                    <c:v>0.34480920753872013</c:v>
                  </c:pt>
                  <c:pt idx="5">
                    <c:v>0.37658805505293813</c:v>
                  </c:pt>
                  <c:pt idx="6">
                    <c:v>0.39922757666011677</c:v>
                  </c:pt>
                  <c:pt idx="7">
                    <c:v>0.42804092206051436</c:v>
                  </c:pt>
                </c:numCache>
              </c:numRef>
            </c:plus>
            <c:minus>
              <c:numRef>
                <c:f>Data!$H$7:$H$14</c:f>
                <c:numCache>
                  <c:formatCode>General</c:formatCode>
                  <c:ptCount val="8"/>
                  <c:pt idx="0">
                    <c:v>0.19677875231364084</c:v>
                  </c:pt>
                  <c:pt idx="1">
                    <c:v>0.2264387813836759</c:v>
                  </c:pt>
                  <c:pt idx="2">
                    <c:v>0.25811412785351706</c:v>
                  </c:pt>
                  <c:pt idx="3">
                    <c:v>0.30846402717311072</c:v>
                  </c:pt>
                  <c:pt idx="4">
                    <c:v>0.34480920753872013</c:v>
                  </c:pt>
                  <c:pt idx="5">
                    <c:v>0.37658805505293813</c:v>
                  </c:pt>
                  <c:pt idx="6">
                    <c:v>0.39922757666011677</c:v>
                  </c:pt>
                  <c:pt idx="7">
                    <c:v>0.42804092206051436</c:v>
                  </c:pt>
                </c:numCache>
              </c:numRef>
            </c:minus>
            <c:spPr>
              <a:ln w="19050">
                <a:solidFill>
                  <a:schemeClr val="tx2"/>
                </a:solidFill>
              </a:ln>
            </c:spPr>
          </c:errBars>
          <c:xVal>
            <c:numRef>
              <c:f>Sheet1!$B$2:$B$14</c:f>
              <c:numCache>
                <c:formatCode>General</c:formatCode>
                <c:ptCount val="13"/>
                <c:pt idx="0">
                  <c:v>0</c:v>
                </c:pt>
                <c:pt idx="1">
                  <c:v>4</c:v>
                </c:pt>
                <c:pt idx="2">
                  <c:v>8</c:v>
                </c:pt>
                <c:pt idx="3">
                  <c:v>12</c:v>
                </c:pt>
                <c:pt idx="4">
                  <c:v>16</c:v>
                </c:pt>
                <c:pt idx="5">
                  <c:v>20</c:v>
                </c:pt>
                <c:pt idx="6">
                  <c:v>24</c:v>
                </c:pt>
                <c:pt idx="7">
                  <c:v>28</c:v>
                </c:pt>
                <c:pt idx="8">
                  <c:v>36</c:v>
                </c:pt>
                <c:pt idx="9">
                  <c:v>44</c:v>
                </c:pt>
                <c:pt idx="10">
                  <c:v>52</c:v>
                </c:pt>
                <c:pt idx="11">
                  <c:v>60</c:v>
                </c:pt>
                <c:pt idx="12">
                  <c:v>68</c:v>
                </c:pt>
              </c:numCache>
            </c:numRef>
          </c:xVal>
          <c:yVal>
            <c:numRef>
              <c:f>Sheet1!$H$2:$H$14</c:f>
              <c:numCache>
                <c:formatCode>General</c:formatCode>
                <c:ptCount val="13"/>
                <c:pt idx="5">
                  <c:v>-10.452170378202892</c:v>
                </c:pt>
                <c:pt idx="6">
                  <c:v>-11.865631646684214</c:v>
                </c:pt>
                <c:pt idx="7">
                  <c:v>-13.163082729712169</c:v>
                </c:pt>
                <c:pt idx="8">
                  <c:v>-15.05968067207036</c:v>
                </c:pt>
                <c:pt idx="9">
                  <c:v>-16.440295492103825</c:v>
                </c:pt>
                <c:pt idx="10">
                  <c:v>-17.233969519618594</c:v>
                </c:pt>
                <c:pt idx="11">
                  <c:v>-17.717672942628276</c:v>
                </c:pt>
                <c:pt idx="12">
                  <c:v>-17.728536666754028</c:v>
                </c:pt>
              </c:numCache>
            </c:numRef>
          </c:yVal>
          <c:smooth val="0"/>
          <c:extLst>
            <c:ext xmlns:c16="http://schemas.microsoft.com/office/drawing/2014/chart" uri="{C3380CC4-5D6E-409C-BE32-E72D297353CC}">
              <c16:uniqueId val="{00000000-1289-4B5D-854C-C3EF0E941DD4}"/>
            </c:ext>
          </c:extLst>
        </c:ser>
        <c:ser>
          <c:idx val="0"/>
          <c:order val="2"/>
          <c:tx>
            <c:strRef>
              <c:f>Sheet1!$C$1</c:f>
              <c:strCache>
                <c:ptCount val="1"/>
                <c:pt idx="0">
                  <c:v>Placebo - IT</c:v>
                </c:pt>
              </c:strCache>
            </c:strRef>
          </c:tx>
          <c:spPr>
            <a:ln w="19050">
              <a:solidFill>
                <a:srgbClr val="939AA7"/>
              </a:solidFill>
            </a:ln>
          </c:spPr>
          <c:marker>
            <c:symbol val="none"/>
          </c:marker>
          <c:errBars>
            <c:errDir val="y"/>
            <c:errBarType val="both"/>
            <c:errValType val="cust"/>
            <c:noEndCap val="1"/>
            <c:plus>
              <c:numRef>
                <c:f>Data!$J$7:$J$14</c:f>
                <c:numCache>
                  <c:formatCode>General</c:formatCode>
                  <c:ptCount val="8"/>
                  <c:pt idx="0">
                    <c:v>0.30258977569223866</c:v>
                  </c:pt>
                  <c:pt idx="1">
                    <c:v>0.3250155981394478</c:v>
                  </c:pt>
                  <c:pt idx="2">
                    <c:v>0.33752856264463205</c:v>
                  </c:pt>
                  <c:pt idx="3">
                    <c:v>0.38092502261216055</c:v>
                  </c:pt>
                  <c:pt idx="4">
                    <c:v>0.39538075065842104</c:v>
                  </c:pt>
                  <c:pt idx="5">
                    <c:v>0.43006527812504203</c:v>
                  </c:pt>
                  <c:pt idx="6">
                    <c:v>0.45943432420470742</c:v>
                  </c:pt>
                  <c:pt idx="7">
                    <c:v>0.46381096676090383</c:v>
                  </c:pt>
                </c:numCache>
              </c:numRef>
            </c:plus>
            <c:minus>
              <c:numRef>
                <c:f>Data!$J$7:$J$14</c:f>
                <c:numCache>
                  <c:formatCode>General</c:formatCode>
                  <c:ptCount val="8"/>
                  <c:pt idx="0">
                    <c:v>0.30258977569223866</c:v>
                  </c:pt>
                  <c:pt idx="1">
                    <c:v>0.3250155981394478</c:v>
                  </c:pt>
                  <c:pt idx="2">
                    <c:v>0.33752856264463205</c:v>
                  </c:pt>
                  <c:pt idx="3">
                    <c:v>0.38092502261216055</c:v>
                  </c:pt>
                  <c:pt idx="4">
                    <c:v>0.39538075065842104</c:v>
                  </c:pt>
                  <c:pt idx="5">
                    <c:v>0.43006527812504203</c:v>
                  </c:pt>
                  <c:pt idx="6">
                    <c:v>0.45943432420470742</c:v>
                  </c:pt>
                  <c:pt idx="7">
                    <c:v>0.46381096676090383</c:v>
                  </c:pt>
                </c:numCache>
              </c:numRef>
            </c:minus>
            <c:spPr>
              <a:ln w="19050">
                <a:solidFill>
                  <a:srgbClr val="939AA7"/>
                </a:solidFill>
              </a:ln>
            </c:spPr>
          </c:errBars>
          <c:xVal>
            <c:numRef>
              <c:f>Sheet1!$C$2:$C$14</c:f>
              <c:numCache>
                <c:formatCode>General</c:formatCode>
                <c:ptCount val="13"/>
                <c:pt idx="0">
                  <c:v>0</c:v>
                </c:pt>
                <c:pt idx="1">
                  <c:v>4</c:v>
                </c:pt>
                <c:pt idx="2">
                  <c:v>8</c:v>
                </c:pt>
                <c:pt idx="3">
                  <c:v>12</c:v>
                </c:pt>
                <c:pt idx="4">
                  <c:v>16</c:v>
                </c:pt>
                <c:pt idx="5">
                  <c:v>20</c:v>
                </c:pt>
                <c:pt idx="6">
                  <c:v>24</c:v>
                </c:pt>
                <c:pt idx="7">
                  <c:v>28</c:v>
                </c:pt>
                <c:pt idx="8">
                  <c:v>36</c:v>
                </c:pt>
                <c:pt idx="9">
                  <c:v>44</c:v>
                </c:pt>
                <c:pt idx="10">
                  <c:v>52</c:v>
                </c:pt>
                <c:pt idx="11">
                  <c:v>60</c:v>
                </c:pt>
                <c:pt idx="12">
                  <c:v>68</c:v>
                </c:pt>
              </c:numCache>
            </c:numRef>
          </c:xVal>
          <c:yVal>
            <c:numRef>
              <c:f>Sheet1!$I$2:$I$14</c:f>
              <c:numCache>
                <c:formatCode>General</c:formatCode>
                <c:ptCount val="13"/>
                <c:pt idx="5">
                  <c:v>-10.891817397061047</c:v>
                </c:pt>
                <c:pt idx="6">
                  <c:v>-10.368151849027734</c:v>
                </c:pt>
                <c:pt idx="7">
                  <c:v>-9.5976841302894638</c:v>
                </c:pt>
                <c:pt idx="8">
                  <c:v>-8.6115010246945261</c:v>
                </c:pt>
                <c:pt idx="9">
                  <c:v>-7.6216997950392082</c:v>
                </c:pt>
                <c:pt idx="10">
                  <c:v>-7.0324193045691983</c:v>
                </c:pt>
                <c:pt idx="11">
                  <c:v>-6.4568025491495415</c:v>
                </c:pt>
                <c:pt idx="12">
                  <c:v>-5.4475909684319328</c:v>
                </c:pt>
              </c:numCache>
            </c:numRef>
          </c:yVal>
          <c:smooth val="0"/>
          <c:extLst>
            <c:ext xmlns:c16="http://schemas.microsoft.com/office/drawing/2014/chart" uri="{C3380CC4-5D6E-409C-BE32-E72D297353CC}">
              <c16:uniqueId val="{00000001-1289-4B5D-854C-C3EF0E941DD4}"/>
            </c:ext>
          </c:extLst>
        </c:ser>
        <c:ser>
          <c:idx val="5"/>
          <c:order val="3"/>
          <c:tx>
            <c:strRef>
              <c:f>Sheet1!$D$1</c:f>
              <c:strCache>
                <c:ptCount val="1"/>
                <c:pt idx="0">
                  <c:v>Sema run-in - OT</c:v>
                </c:pt>
              </c:strCache>
            </c:strRef>
          </c:tx>
          <c:spPr>
            <a:ln w="38100">
              <a:solidFill>
                <a:srgbClr val="AAD3D1"/>
              </a:solidFill>
            </a:ln>
          </c:spPr>
          <c:marker>
            <c:symbol val="none"/>
          </c:marker>
          <c:errBars>
            <c:errDir val="y"/>
            <c:errBarType val="both"/>
            <c:errValType val="cust"/>
            <c:noEndCap val="1"/>
            <c:plus>
              <c:numRef>
                <c:f>Data!$F$27:$F$32</c:f>
                <c:numCache>
                  <c:formatCode>General</c:formatCode>
                  <c:ptCount val="6"/>
                  <c:pt idx="0">
                    <c:v>0</c:v>
                  </c:pt>
                  <c:pt idx="1">
                    <c:v>0</c:v>
                  </c:pt>
                  <c:pt idx="2">
                    <c:v>0</c:v>
                  </c:pt>
                  <c:pt idx="3">
                    <c:v>0</c:v>
                  </c:pt>
                  <c:pt idx="4">
                    <c:v>0</c:v>
                  </c:pt>
                  <c:pt idx="5">
                    <c:v>0</c:v>
                  </c:pt>
                </c:numCache>
              </c:numRef>
            </c:plus>
            <c:minus>
              <c:numRef>
                <c:f>Data!$F$27:$F$32</c:f>
                <c:numCache>
                  <c:formatCode>General</c:formatCode>
                  <c:ptCount val="6"/>
                  <c:pt idx="0">
                    <c:v>0</c:v>
                  </c:pt>
                  <c:pt idx="1">
                    <c:v>0</c:v>
                  </c:pt>
                  <c:pt idx="2">
                    <c:v>0</c:v>
                  </c:pt>
                  <c:pt idx="3">
                    <c:v>0</c:v>
                  </c:pt>
                  <c:pt idx="4">
                    <c:v>0</c:v>
                  </c:pt>
                  <c:pt idx="5">
                    <c:v>0</c:v>
                  </c:pt>
                </c:numCache>
              </c:numRef>
            </c:minus>
            <c:spPr>
              <a:ln w="19050">
                <a:solidFill>
                  <a:srgbClr val="AAD3D1"/>
                </a:solidFill>
              </a:ln>
            </c:spPr>
          </c:errBars>
          <c:xVal>
            <c:numRef>
              <c:f>Sheet1!$D$2:$D$14</c:f>
              <c:numCache>
                <c:formatCode>General</c:formatCode>
                <c:ptCount val="13"/>
                <c:pt idx="0">
                  <c:v>0</c:v>
                </c:pt>
                <c:pt idx="1">
                  <c:v>4</c:v>
                </c:pt>
                <c:pt idx="2">
                  <c:v>8</c:v>
                </c:pt>
                <c:pt idx="3">
                  <c:v>12</c:v>
                </c:pt>
                <c:pt idx="4">
                  <c:v>16</c:v>
                </c:pt>
                <c:pt idx="5">
                  <c:v>20</c:v>
                </c:pt>
                <c:pt idx="6">
                  <c:v>0</c:v>
                </c:pt>
                <c:pt idx="7">
                  <c:v>0</c:v>
                </c:pt>
                <c:pt idx="8">
                  <c:v>0</c:v>
                </c:pt>
                <c:pt idx="9">
                  <c:v>0</c:v>
                </c:pt>
                <c:pt idx="10">
                  <c:v>0</c:v>
                </c:pt>
                <c:pt idx="11">
                  <c:v>0</c:v>
                </c:pt>
                <c:pt idx="12">
                  <c:v>0</c:v>
                </c:pt>
              </c:numCache>
            </c:numRef>
          </c:xVal>
          <c:yVal>
            <c:numRef>
              <c:f>Sheet1!$J$2:$J$14</c:f>
              <c:numCache>
                <c:formatCode>General</c:formatCode>
                <c:ptCount val="13"/>
                <c:pt idx="0">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02-C266-4BFA-AB44-91FBCD91D34D}"/>
            </c:ext>
          </c:extLst>
        </c:ser>
        <c:ser>
          <c:idx val="1"/>
          <c:order val="4"/>
          <c:tx>
            <c:strRef>
              <c:f>Sheet1!$E$1</c:f>
              <c:strCache>
                <c:ptCount val="1"/>
                <c:pt idx="0">
                  <c:v>Sema 2.4 mg - OT</c:v>
                </c:pt>
              </c:strCache>
            </c:strRef>
          </c:tx>
          <c:spPr>
            <a:ln w="38100">
              <a:solidFill>
                <a:srgbClr val="6675A3"/>
              </a:solidFill>
            </a:ln>
          </c:spPr>
          <c:marker>
            <c:symbol val="none"/>
          </c:marker>
          <c:errBars>
            <c:errDir val="y"/>
            <c:errBarType val="both"/>
            <c:errValType val="cust"/>
            <c:noEndCap val="1"/>
            <c:plus>
              <c:numRef>
                <c:f>Data!$H$32:$H$39</c:f>
                <c:numCache>
                  <c:formatCode>General</c:formatCode>
                  <c:ptCount val="8"/>
                  <c:pt idx="0">
                    <c:v>0</c:v>
                  </c:pt>
                  <c:pt idx="1">
                    <c:v>0</c:v>
                  </c:pt>
                  <c:pt idx="2">
                    <c:v>0</c:v>
                  </c:pt>
                  <c:pt idx="3">
                    <c:v>0</c:v>
                  </c:pt>
                  <c:pt idx="4">
                    <c:v>0</c:v>
                  </c:pt>
                  <c:pt idx="5">
                    <c:v>0</c:v>
                  </c:pt>
                  <c:pt idx="6">
                    <c:v>0</c:v>
                  </c:pt>
                  <c:pt idx="7">
                    <c:v>0</c:v>
                  </c:pt>
                </c:numCache>
              </c:numRef>
            </c:plus>
            <c:minus>
              <c:numRef>
                <c:f>Data!$H$32:$H$39</c:f>
                <c:numCache>
                  <c:formatCode>General</c:formatCode>
                  <c:ptCount val="8"/>
                  <c:pt idx="0">
                    <c:v>0</c:v>
                  </c:pt>
                  <c:pt idx="1">
                    <c:v>0</c:v>
                  </c:pt>
                  <c:pt idx="2">
                    <c:v>0</c:v>
                  </c:pt>
                  <c:pt idx="3">
                    <c:v>0</c:v>
                  </c:pt>
                  <c:pt idx="4">
                    <c:v>0</c:v>
                  </c:pt>
                  <c:pt idx="5">
                    <c:v>0</c:v>
                  </c:pt>
                  <c:pt idx="6">
                    <c:v>0</c:v>
                  </c:pt>
                  <c:pt idx="7">
                    <c:v>0</c:v>
                  </c:pt>
                </c:numCache>
              </c:numRef>
            </c:minus>
            <c:spPr>
              <a:ln w="19050">
                <a:solidFill>
                  <a:srgbClr val="6675A3"/>
                </a:solidFill>
              </a:ln>
            </c:spPr>
          </c:errBars>
          <c:xVal>
            <c:numRef>
              <c:f>Sheet1!$E$2:$E$14</c:f>
              <c:numCache>
                <c:formatCode>General</c:formatCode>
                <c:ptCount val="13"/>
                <c:pt idx="0">
                  <c:v>20</c:v>
                </c:pt>
                <c:pt idx="1">
                  <c:v>24</c:v>
                </c:pt>
                <c:pt idx="2">
                  <c:v>28</c:v>
                </c:pt>
                <c:pt idx="3">
                  <c:v>36</c:v>
                </c:pt>
                <c:pt idx="4">
                  <c:v>44</c:v>
                </c:pt>
                <c:pt idx="5">
                  <c:v>52</c:v>
                </c:pt>
                <c:pt idx="6">
                  <c:v>60</c:v>
                </c:pt>
                <c:pt idx="7">
                  <c:v>68</c:v>
                </c:pt>
                <c:pt idx="8">
                  <c:v>0</c:v>
                </c:pt>
                <c:pt idx="9">
                  <c:v>0</c:v>
                </c:pt>
                <c:pt idx="10">
                  <c:v>0</c:v>
                </c:pt>
                <c:pt idx="11">
                  <c:v>0</c:v>
                </c:pt>
                <c:pt idx="12">
                  <c:v>0</c:v>
                </c:pt>
              </c:numCache>
            </c:numRef>
          </c:xVal>
          <c:yVal>
            <c:numRef>
              <c:f>Sheet1!$K$2:$K$14</c:f>
              <c:numCache>
                <c:formatCode>General</c:formatCode>
                <c:ptCount val="13"/>
                <c:pt idx="8">
                  <c:v>0</c:v>
                </c:pt>
                <c:pt idx="9">
                  <c:v>0</c:v>
                </c:pt>
                <c:pt idx="10">
                  <c:v>0</c:v>
                </c:pt>
                <c:pt idx="11">
                  <c:v>0</c:v>
                </c:pt>
                <c:pt idx="12">
                  <c:v>0</c:v>
                </c:pt>
              </c:numCache>
            </c:numRef>
          </c:yVal>
          <c:smooth val="0"/>
          <c:extLst>
            <c:ext xmlns:c16="http://schemas.microsoft.com/office/drawing/2014/chart" uri="{C3380CC4-5D6E-409C-BE32-E72D297353CC}">
              <c16:uniqueId val="{00000002-1289-4B5D-854C-C3EF0E941DD4}"/>
            </c:ext>
          </c:extLst>
        </c:ser>
        <c:ser>
          <c:idx val="3"/>
          <c:order val="5"/>
          <c:tx>
            <c:strRef>
              <c:f>Sheet1!$F$1</c:f>
              <c:strCache>
                <c:ptCount val="1"/>
                <c:pt idx="0">
                  <c:v>Placebo - OT</c:v>
                </c:pt>
              </c:strCache>
            </c:strRef>
          </c:tx>
          <c:spPr>
            <a:ln w="38100">
              <a:solidFill>
                <a:srgbClr val="C4C8CF"/>
              </a:solidFill>
            </a:ln>
          </c:spPr>
          <c:marker>
            <c:symbol val="none"/>
          </c:marker>
          <c:errBars>
            <c:errDir val="y"/>
            <c:errBarType val="both"/>
            <c:errValType val="cust"/>
            <c:noEndCap val="1"/>
            <c:plus>
              <c:numRef>
                <c:f>Data!$J$32:$J$39</c:f>
                <c:numCache>
                  <c:formatCode>General</c:formatCode>
                  <c:ptCount val="8"/>
                  <c:pt idx="0">
                    <c:v>0</c:v>
                  </c:pt>
                  <c:pt idx="1">
                    <c:v>0</c:v>
                  </c:pt>
                  <c:pt idx="2">
                    <c:v>0</c:v>
                  </c:pt>
                  <c:pt idx="3">
                    <c:v>0</c:v>
                  </c:pt>
                  <c:pt idx="4">
                    <c:v>0</c:v>
                  </c:pt>
                  <c:pt idx="5">
                    <c:v>0</c:v>
                  </c:pt>
                  <c:pt idx="6">
                    <c:v>0</c:v>
                  </c:pt>
                  <c:pt idx="7">
                    <c:v>0</c:v>
                  </c:pt>
                </c:numCache>
              </c:numRef>
            </c:plus>
            <c:minus>
              <c:numRef>
                <c:f>Data!$J$32:$J$39</c:f>
                <c:numCache>
                  <c:formatCode>General</c:formatCode>
                  <c:ptCount val="8"/>
                  <c:pt idx="0">
                    <c:v>0</c:v>
                  </c:pt>
                  <c:pt idx="1">
                    <c:v>0</c:v>
                  </c:pt>
                  <c:pt idx="2">
                    <c:v>0</c:v>
                  </c:pt>
                  <c:pt idx="3">
                    <c:v>0</c:v>
                  </c:pt>
                  <c:pt idx="4">
                    <c:v>0</c:v>
                  </c:pt>
                  <c:pt idx="5">
                    <c:v>0</c:v>
                  </c:pt>
                  <c:pt idx="6">
                    <c:v>0</c:v>
                  </c:pt>
                  <c:pt idx="7">
                    <c:v>0</c:v>
                  </c:pt>
                </c:numCache>
              </c:numRef>
            </c:minus>
            <c:spPr>
              <a:ln w="19050">
                <a:solidFill>
                  <a:srgbClr val="C4C8CF"/>
                </a:solidFill>
              </a:ln>
            </c:spPr>
          </c:errBars>
          <c:xVal>
            <c:numRef>
              <c:f>Sheet1!$F$2:$F$14</c:f>
              <c:numCache>
                <c:formatCode>General</c:formatCode>
                <c:ptCount val="13"/>
                <c:pt idx="0">
                  <c:v>20</c:v>
                </c:pt>
                <c:pt idx="1">
                  <c:v>24</c:v>
                </c:pt>
                <c:pt idx="2">
                  <c:v>28</c:v>
                </c:pt>
                <c:pt idx="3">
                  <c:v>36</c:v>
                </c:pt>
                <c:pt idx="4">
                  <c:v>44</c:v>
                </c:pt>
                <c:pt idx="5">
                  <c:v>52</c:v>
                </c:pt>
                <c:pt idx="6">
                  <c:v>60</c:v>
                </c:pt>
                <c:pt idx="7">
                  <c:v>68</c:v>
                </c:pt>
                <c:pt idx="8">
                  <c:v>0</c:v>
                </c:pt>
                <c:pt idx="9">
                  <c:v>0</c:v>
                </c:pt>
                <c:pt idx="10">
                  <c:v>0</c:v>
                </c:pt>
                <c:pt idx="11">
                  <c:v>0</c:v>
                </c:pt>
                <c:pt idx="12">
                  <c:v>0</c:v>
                </c:pt>
              </c:numCache>
            </c:numRef>
          </c:xVal>
          <c:yVal>
            <c:numRef>
              <c:f>Sheet1!$L$2:$L$14</c:f>
              <c:numCache>
                <c:formatCode>General</c:formatCode>
                <c:ptCount val="13"/>
                <c:pt idx="8">
                  <c:v>0</c:v>
                </c:pt>
                <c:pt idx="9">
                  <c:v>0</c:v>
                </c:pt>
                <c:pt idx="10">
                  <c:v>0</c:v>
                </c:pt>
                <c:pt idx="11">
                  <c:v>0</c:v>
                </c:pt>
                <c:pt idx="12">
                  <c:v>0</c:v>
                </c:pt>
              </c:numCache>
            </c:numRef>
          </c:yVal>
          <c:smooth val="0"/>
          <c:extLst>
            <c:ext xmlns:c16="http://schemas.microsoft.com/office/drawing/2014/chart" uri="{C3380CC4-5D6E-409C-BE32-E72D297353CC}">
              <c16:uniqueId val="{00000003-1289-4B5D-854C-C3EF0E941DD4}"/>
            </c:ext>
          </c:extLst>
        </c:ser>
        <c:dLbls>
          <c:showLegendKey val="0"/>
          <c:showVal val="0"/>
          <c:showCatName val="0"/>
          <c:showSerName val="0"/>
          <c:showPercent val="0"/>
          <c:showBubbleSize val="0"/>
        </c:dLbls>
        <c:axId val="603757568"/>
        <c:axId val="603767552"/>
      </c:scatterChart>
      <c:valAx>
        <c:axId val="603757568"/>
        <c:scaling>
          <c:orientation val="minMax"/>
          <c:max val="68"/>
          <c:min val="0"/>
        </c:scaling>
        <c:delete val="0"/>
        <c:axPos val="b"/>
        <c:numFmt formatCode="0" sourceLinked="0"/>
        <c:majorTickMark val="out"/>
        <c:minorTickMark val="none"/>
        <c:tickLblPos val="nextTo"/>
        <c:spPr>
          <a:ln w="12700" cap="sq">
            <a:solidFill>
              <a:srgbClr val="001965"/>
            </a:solidFill>
          </a:ln>
        </c:spPr>
        <c:txPr>
          <a:bodyPr/>
          <a:lstStyle/>
          <a:p>
            <a:pPr>
              <a:defRPr>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603767552"/>
        <c:crossesAt val="-20"/>
        <c:crossBetween val="midCat"/>
        <c:majorUnit val="4"/>
      </c:valAx>
      <c:valAx>
        <c:axId val="603767552"/>
        <c:scaling>
          <c:orientation val="minMax"/>
          <c:max val="0"/>
          <c:min val="-20"/>
        </c:scaling>
        <c:delete val="0"/>
        <c:axPos val="l"/>
        <c:numFmt formatCode="0" sourceLinked="0"/>
        <c:majorTickMark val="out"/>
        <c:minorTickMark val="none"/>
        <c:tickLblPos val="nextTo"/>
        <c:spPr>
          <a:ln w="12700" cap="sq">
            <a:solidFill>
              <a:srgbClr val="001965"/>
            </a:solidFill>
          </a:ln>
        </c:spPr>
        <c:txPr>
          <a:bodyPr/>
          <a:lstStyle/>
          <a:p>
            <a:pPr>
              <a:defRPr sz="1100"/>
            </a:pPr>
            <a:endParaRPr lang="en-US"/>
          </a:p>
        </c:txPr>
        <c:crossAx val="603757568"/>
        <c:crossesAt val="-4"/>
        <c:crossBetween val="midCat"/>
        <c:majorUnit val="4"/>
      </c:valAx>
      <c:spPr>
        <a:noFill/>
        <a:ln w="25400">
          <a:noFill/>
        </a:ln>
      </c:spPr>
    </c:plotArea>
    <c:plotVisOnly val="1"/>
    <c:dispBlanksAs val="gap"/>
    <c:showDLblsOverMax val="0"/>
  </c:chart>
  <c:txPr>
    <a:bodyPr/>
    <a:lstStyle/>
    <a:p>
      <a:pPr>
        <a:defRPr sz="1050" b="0">
          <a:solidFill>
            <a:schemeClr val="tx2"/>
          </a:solidFill>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6E3216-006B-4620-8148-3AB1CA5F474E}" type="datetimeFigureOut">
              <a:rPr lang="en-ZA" smtClean="0"/>
              <a:t>17-Apr-2026</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8A4BEB-163A-40F8-8360-3DB66F94A591}" type="slidenum">
              <a:rPr lang="en-ZA" smtClean="0"/>
              <a:t>‹#›</a:t>
            </a:fld>
            <a:endParaRPr lang="en-ZA"/>
          </a:p>
        </p:txBody>
      </p:sp>
    </p:spTree>
    <p:extLst>
      <p:ext uri="{BB962C8B-B14F-4D97-AF65-F5344CB8AC3E}">
        <p14:creationId xmlns:p14="http://schemas.microsoft.com/office/powerpoint/2010/main" val="1554481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3-eu-west-1.amazonaws.com/wof-files/WOF_Missing_the_2025_Global_Targets_Report_FINAL_WEB.pdf"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ncbi.nlm.nih.gov/pmc/articles/PMC8111705/#CIT0001"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1223609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35% of patients with T2D achieve </a:t>
            </a:r>
            <a:r>
              <a:rPr lang="en-GB" dirty="0" err="1"/>
              <a:t>glycemic</a:t>
            </a:r>
            <a:r>
              <a:rPr lang="en-GB" dirty="0"/>
              <a:t> target of </a:t>
            </a:r>
            <a:r>
              <a:rPr lang="en-US" dirty="0"/>
              <a:t>HbA1c &lt;6.5%</a:t>
            </a:r>
            <a:endParaRPr lang="en-GB" dirty="0"/>
          </a:p>
          <a:p>
            <a:pPr marL="171450" indent="-171450">
              <a:buFont typeface="Arial" panose="020B0604020202020204" pitchFamily="34" charset="0"/>
              <a:buChar char="•"/>
            </a:pPr>
            <a:r>
              <a:rPr lang="en-GB" dirty="0"/>
              <a:t>According to a study conducted by Fildes et al., analysing data from United Kingdom’s Clinical Practice Research Datalink, the probability of patients with obesity achieving and maintaining weight loss is low </a:t>
            </a:r>
          </a:p>
          <a:p>
            <a:pPr marL="171450" indent="-171450">
              <a:buFont typeface="Arial" panose="020B0604020202020204" pitchFamily="34" charset="0"/>
              <a:buChar char="•"/>
            </a:pPr>
            <a:r>
              <a:rPr lang="en-GB" dirty="0"/>
              <a:t>10% of males and 10% of females with obesity achieved &gt;5% weight loss however, 53% of patients regained weight after 2 years and 78% regained weight after 5 years</a:t>
            </a:r>
          </a:p>
          <a:p>
            <a:pPr marL="171450" indent="-171450">
              <a:buFont typeface="Arial" panose="020B0604020202020204" pitchFamily="34" charset="0"/>
              <a:buChar char="•"/>
            </a:pPr>
            <a:r>
              <a:rPr lang="en-GB" dirty="0"/>
              <a:t>Successful achievement of health goals is more likely for patients with T2D than patients with obesity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Liraglutide launched om </a:t>
            </a:r>
            <a:r>
              <a:rPr lang="nl-NL" b="0" i="0" dirty="0">
                <a:solidFill>
                  <a:srgbClr val="001D35"/>
                </a:solidFill>
                <a:effectLst/>
                <a:latin typeface="Google Sans"/>
              </a:rPr>
              <a:t>UK in </a:t>
            </a:r>
            <a:r>
              <a:rPr lang="nl-NL" dirty="0"/>
              <a:t>January 2017</a:t>
            </a:r>
          </a:p>
          <a:p>
            <a:pPr marL="171450" indent="-171450">
              <a:buFont typeface="Arial" panose="020B0604020202020204" pitchFamily="34" charset="0"/>
              <a:buChar char="•"/>
            </a:pPr>
            <a:r>
              <a:rPr lang="en-GB" b="0" i="0" dirty="0">
                <a:solidFill>
                  <a:srgbClr val="1B1B1B"/>
                </a:solidFill>
                <a:effectLst/>
                <a:latin typeface="Cambria" panose="02040503050406030204" pitchFamily="18" charset="0"/>
              </a:rPr>
              <a:t>Data United Kingdom’s Clinical Practice Research Datalink from 2004 to 2014.</a:t>
            </a:r>
            <a:endParaRPr lang="en-GB" dirty="0"/>
          </a:p>
          <a:p>
            <a:pPr algn="l">
              <a:spcBef>
                <a:spcPts val="2250"/>
              </a:spcBef>
              <a:buNone/>
            </a:pPr>
            <a:r>
              <a:rPr lang="en-GB" b="0" i="0" dirty="0">
                <a:solidFill>
                  <a:srgbClr val="1B1B1B"/>
                </a:solidFill>
                <a:effectLst/>
                <a:latin typeface="Cambria" panose="02040503050406030204" pitchFamily="18" charset="0"/>
              </a:rPr>
              <a:t>“Data for </a:t>
            </a:r>
            <a:r>
              <a:rPr lang="en-GB" b="1" i="0" dirty="0">
                <a:solidFill>
                  <a:srgbClr val="1B1B1B"/>
                </a:solidFill>
                <a:effectLst/>
                <a:latin typeface="Cambria" panose="02040503050406030204" pitchFamily="18" charset="0"/>
              </a:rPr>
              <a:t>76 704 </a:t>
            </a:r>
            <a:r>
              <a:rPr lang="en-GB" b="0" i="0" dirty="0">
                <a:solidFill>
                  <a:srgbClr val="1B1B1B"/>
                </a:solidFill>
                <a:effectLst/>
                <a:latin typeface="Cambria" panose="02040503050406030204" pitchFamily="18" charset="0"/>
              </a:rPr>
              <a:t>obese men and </a:t>
            </a:r>
            <a:r>
              <a:rPr lang="en-GB" b="1" i="0" dirty="0">
                <a:solidFill>
                  <a:srgbClr val="1B1B1B"/>
                </a:solidFill>
                <a:effectLst/>
                <a:latin typeface="Cambria" panose="02040503050406030204" pitchFamily="18" charset="0"/>
              </a:rPr>
              <a:t>99 791 </a:t>
            </a:r>
            <a:r>
              <a:rPr lang="en-GB" b="0" i="0" dirty="0">
                <a:solidFill>
                  <a:srgbClr val="1B1B1B"/>
                </a:solidFill>
                <a:effectLst/>
                <a:latin typeface="Cambria" panose="02040503050406030204" pitchFamily="18" charset="0"/>
              </a:rPr>
              <a:t>obese women. We </a:t>
            </a:r>
            <a:r>
              <a:rPr lang="en-GB" b="1" i="0" dirty="0">
                <a:solidFill>
                  <a:srgbClr val="1B1B1B"/>
                </a:solidFill>
                <a:effectLst/>
                <a:latin typeface="Cambria" panose="02040503050406030204" pitchFamily="18" charset="0"/>
              </a:rPr>
              <a:t>excluded participants who received bariatric surgery</a:t>
            </a:r>
            <a:r>
              <a:rPr lang="en-GB" b="0" i="0" dirty="0">
                <a:solidFill>
                  <a:srgbClr val="1B1B1B"/>
                </a:solidFill>
                <a:effectLst/>
                <a:latin typeface="Cambria" panose="02040503050406030204" pitchFamily="18" charset="0"/>
              </a:rPr>
              <a:t>. We estimated the probability of attaining normal weight or 5% reduction in body weight.</a:t>
            </a:r>
          </a:p>
          <a:p>
            <a:pPr algn="l">
              <a:spcBef>
                <a:spcPts val="2250"/>
              </a:spcBef>
              <a:buNone/>
            </a:pPr>
            <a:r>
              <a:rPr lang="en-GB" b="0" i="1" dirty="0">
                <a:solidFill>
                  <a:srgbClr val="1B1B1B"/>
                </a:solidFill>
                <a:effectLst/>
                <a:latin typeface="Cambria" panose="02040503050406030204" pitchFamily="18" charset="0"/>
              </a:rPr>
              <a:t>Results.</a:t>
            </a:r>
            <a:r>
              <a:rPr lang="en-GB" b="0" i="0" dirty="0">
                <a:solidFill>
                  <a:srgbClr val="1B1B1B"/>
                </a:solidFill>
                <a:effectLst/>
                <a:latin typeface="Cambria" panose="02040503050406030204" pitchFamily="18" charset="0"/>
              </a:rPr>
              <a:t> During a maximum of 9 years’ follow-up, 1283 men and 2245 women attained normal body weight. In simple obesity (body mass index = 30.0–34.9 kg/m</a:t>
            </a:r>
            <a:r>
              <a:rPr lang="en-GB" b="0" i="0" baseline="30000" dirty="0">
                <a:solidFill>
                  <a:srgbClr val="1B1B1B"/>
                </a:solidFill>
                <a:effectLst/>
                <a:latin typeface="Cambria" panose="02040503050406030204" pitchFamily="18" charset="0"/>
              </a:rPr>
              <a:t>2</a:t>
            </a:r>
            <a:r>
              <a:rPr lang="en-GB" b="0" i="0" dirty="0">
                <a:solidFill>
                  <a:srgbClr val="1B1B1B"/>
                </a:solidFill>
                <a:effectLst/>
                <a:latin typeface="Cambria" panose="02040503050406030204" pitchFamily="18" charset="0"/>
              </a:rPr>
              <a:t>), the annual probability of attaining normal weight was 1 in 210 for men and 1 in 124 for women, increasing to 1 in 1290 for men and 1 in 677 for women with morbid obesity (body mass index = 40.0–44.9 kg/m</a:t>
            </a:r>
            <a:r>
              <a:rPr lang="en-GB" b="0" i="0" baseline="30000" dirty="0">
                <a:solidFill>
                  <a:srgbClr val="1B1B1B"/>
                </a:solidFill>
                <a:effectLst/>
                <a:latin typeface="Cambria" panose="02040503050406030204" pitchFamily="18" charset="0"/>
              </a:rPr>
              <a:t>2</a:t>
            </a:r>
            <a:r>
              <a:rPr lang="en-GB" b="0" i="0" dirty="0">
                <a:solidFill>
                  <a:srgbClr val="1B1B1B"/>
                </a:solidFill>
                <a:effectLst/>
                <a:latin typeface="Cambria" panose="02040503050406030204" pitchFamily="18" charset="0"/>
              </a:rPr>
              <a:t>). The annual probability of achieving a 5% weight reduction was 1 in 8 for men and 1 in 7 for women with morbid obesity.</a:t>
            </a:r>
          </a:p>
          <a:p>
            <a:pPr algn="l">
              <a:spcBef>
                <a:spcPts val="2250"/>
              </a:spcBef>
            </a:pPr>
            <a:r>
              <a:rPr lang="en-GB" b="0" i="1" dirty="0">
                <a:solidFill>
                  <a:srgbClr val="1B1B1B"/>
                </a:solidFill>
                <a:effectLst/>
                <a:latin typeface="Cambria" panose="02040503050406030204" pitchFamily="18" charset="0"/>
              </a:rPr>
              <a:t>Conclusions.</a:t>
            </a:r>
            <a:r>
              <a:rPr lang="en-GB" b="0" i="0" dirty="0">
                <a:solidFill>
                  <a:srgbClr val="1B1B1B"/>
                </a:solidFill>
                <a:effectLst/>
                <a:latin typeface="Cambria" panose="02040503050406030204" pitchFamily="18" charset="0"/>
              </a:rPr>
              <a:t> The probability of attaining normal weight or maintaining weight loss is low. Obesity treatment frameworks grounded in community-based weight management programs may be ineffective.</a:t>
            </a:r>
          </a:p>
          <a:p>
            <a:pPr marL="171450" indent="-171450">
              <a:buFont typeface="Arial" panose="020B0604020202020204" pitchFamily="34" charset="0"/>
              <a:buChar char="•"/>
            </a:pPr>
            <a:r>
              <a:rPr lang="en-GB" dirty="0"/>
              <a:t>“</a:t>
            </a:r>
          </a:p>
          <a:p>
            <a:pPr marL="171450" indent="-171450"/>
            <a:endParaRPr lang="en-GB" dirty="0"/>
          </a:p>
          <a:p>
            <a:pPr>
              <a:buNone/>
            </a:pPr>
            <a:r>
              <a:rPr lang="en-GB" b="1" dirty="0"/>
              <a:t>References:</a:t>
            </a:r>
          </a:p>
          <a:p>
            <a:pPr marL="171450" indent="-171450">
              <a:buChar char="•"/>
            </a:pPr>
            <a:r>
              <a:rPr lang="en-US" i="0" dirty="0"/>
              <a:t>Facts &amp; Stats: Diabetes UK 2016.</a:t>
            </a:r>
            <a:endParaRPr lang="en-GB" i="0" dirty="0"/>
          </a:p>
          <a:p>
            <a:pPr marL="171450" indent="-171450">
              <a:buChar char="•"/>
            </a:pPr>
            <a:r>
              <a:rPr lang="en-US" i="0" dirty="0"/>
              <a:t>Fildes A et al. Probability of a Person with Obesity Attaining Normal Body Weight: Cohort Study Using Electronic Health </a:t>
            </a:r>
            <a:r>
              <a:rPr lang="en-US" i="0" dirty="0" err="1"/>
              <a:t>Records.American</a:t>
            </a:r>
            <a:r>
              <a:rPr lang="en-US" i="0" dirty="0"/>
              <a:t> Journal of Public Health 2015:105;9.</a:t>
            </a:r>
            <a:endParaRPr lang="en-GB" i="0"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34634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dirty="0"/>
              <a:t>When we think of weight management, the first thing that comes to mind is diet and exercise. </a:t>
            </a:r>
            <a:r>
              <a:rPr lang="en-US" b="0" i="0" dirty="0">
                <a:solidFill>
                  <a:srgbClr val="001965"/>
                </a:solidFill>
                <a:effectLst/>
                <a:latin typeface="ui-sans-serif"/>
              </a:rPr>
              <a:t>Weight loss through diet and exercise relies on the executive function of the brain, influencing self-regulatory processes related to eating habi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dirty="0"/>
              <a:t>However, </a:t>
            </a:r>
            <a:r>
              <a:rPr lang="en-US" sz="1200" dirty="0">
                <a:solidFill>
                  <a:schemeClr val="tx2"/>
                </a:solidFill>
                <a:latin typeface="+mj-lt"/>
                <a:ea typeface="+mj-ea"/>
                <a:cs typeface="+mj-cs"/>
              </a:rPr>
              <a:t>Losing and maintaining weight loss with diet and exercise alone is a constant struggle. </a:t>
            </a:r>
            <a:r>
              <a:rPr lang="en-US" b="0" i="0" dirty="0">
                <a:solidFill>
                  <a:srgbClr val="001965"/>
                </a:solidFill>
                <a:effectLst/>
                <a:latin typeface="ui-sans-serif"/>
              </a:rPr>
              <a:t>Weight loss achieved through lifestyle changes is often difficult to sustain over the long term.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001965"/>
                </a:solidFill>
                <a:effectLst/>
                <a:latin typeface="ui-sans-serif"/>
              </a:rPr>
              <a:t>Weight loss relies on reduced calories and increased physical activity, while weight gain is influenced by a slower metabolism, decreased feelings of fullness, and increased feelings of hunger. Thus, despite a patient's best efforts, these metabolic changes often lead to weight regain, making long-term weight management challeng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solidFill>
                <a:srgbClr val="001965"/>
              </a:solidFill>
              <a:effectLst/>
              <a:latin typeface="ui-sans-serif"/>
            </a:endParaRPr>
          </a:p>
          <a:p>
            <a:pPr algn="l">
              <a:lnSpc>
                <a:spcPct val="120000"/>
              </a:lnSpc>
            </a:pPr>
            <a:r>
              <a:rPr lang="en-US" sz="1200" b="1" dirty="0">
                <a:solidFill>
                  <a:schemeClr val="tx2"/>
                </a:solidFill>
                <a:latin typeface="Apis For Office Light" panose="020B0404010101010104" pitchFamily="34" charset="0"/>
                <a:ea typeface="Apis For Office Light" panose="020B0404010101010104" pitchFamily="34" charset="0"/>
                <a:cs typeface="Apis For Office Light" panose="020B0404010101010104" pitchFamily="34" charset="0"/>
              </a:rPr>
              <a:t>Once obesity is established, the body demonstrates a variety of adaptations to weight loss that promote weight regain.</a:t>
            </a:r>
          </a:p>
          <a:p>
            <a:pPr algn="l">
              <a:lnSpc>
                <a:spcPct val="120000"/>
              </a:lnSpc>
            </a:pPr>
            <a:endParaRPr lang="en-US" sz="1200" b="1" dirty="0">
              <a:solidFill>
                <a:schemeClr val="tx2"/>
              </a:solidFill>
              <a:latin typeface="Apis For Office Light" panose="020B0404010101010104" pitchFamily="34" charset="0"/>
              <a:ea typeface="Apis For Office Light" panose="020B0404010101010104" pitchFamily="34" charset="0"/>
              <a:cs typeface="Apis For Office Light" panose="020B0404010101010104" pitchFamily="34" charset="0"/>
            </a:endParaRPr>
          </a:p>
          <a:p>
            <a:pPr algn="l">
              <a:lnSpc>
                <a:spcPct val="120000"/>
              </a:lnSpc>
            </a:pPr>
            <a:r>
              <a:rPr lang="en-US" sz="1200" b="1" dirty="0">
                <a:solidFill>
                  <a:schemeClr val="tx2"/>
                </a:solidFill>
                <a:latin typeface="Apis For Office Light" panose="020B0404010101010104" pitchFamily="34" charset="0"/>
                <a:ea typeface="Apis For Office Light" panose="020B0404010101010104" pitchFamily="34" charset="0"/>
                <a:cs typeface="Apis For Office Light" panose="020B0404010101010104" pitchFamily="34" charset="0"/>
              </a:rPr>
              <a:t>Chronic weight management requires interventions that address these metabolic adaptations.</a:t>
            </a:r>
          </a:p>
          <a:p>
            <a:pPr algn="l">
              <a:lnSpc>
                <a:spcPct val="120000"/>
              </a:lnSpc>
            </a:pPr>
            <a:endParaRPr lang="en-US" sz="1200" b="1" dirty="0">
              <a:solidFill>
                <a:schemeClr val="tx2"/>
              </a:solidFill>
              <a:latin typeface="Apis For Office Light" panose="020B0404010101010104" pitchFamily="34" charset="0"/>
              <a:ea typeface="Apis For Office Light" panose="020B0404010101010104" pitchFamily="34" charset="0"/>
              <a:cs typeface="Apis For Office Light" panose="020B0404010101010104" pitchFamily="34" charset="0"/>
            </a:endParaRPr>
          </a:p>
          <a:p>
            <a:pPr algn="l">
              <a:lnSpc>
                <a:spcPct val="120000"/>
              </a:lnSpc>
            </a:pPr>
            <a:r>
              <a:rPr lang="en-US" sz="1200" b="1" dirty="0">
                <a:solidFill>
                  <a:schemeClr val="tx2"/>
                </a:solidFill>
                <a:latin typeface="Apis For Office Light" panose="020B0404010101010104" pitchFamily="34" charset="0"/>
                <a:ea typeface="Apis For Office Light" panose="020B0404010101010104" pitchFamily="34" charset="0"/>
                <a:cs typeface="Apis For Office Light" panose="020B0404010101010104" pitchFamily="34" charset="0"/>
              </a:rPr>
              <a:t>Decrease energy expenditure, decrease satiety hormones and increased hunger hormones like Ghrelin (which stays elevated life long – per patient baseline pre-obes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solidFill>
                <a:srgbClr val="001965"/>
              </a:solidFill>
              <a:effectLst/>
              <a:latin typeface="ui-sans-serif"/>
            </a:endParaRP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C8ACAE-C570-804B-86ED-E764D7D03290}" type="slidenum">
              <a:rPr kumimoji="0" lang="en-US" sz="1200" b="0" i="0" u="none" strike="noStrike" kern="1200" cap="none" spc="0" normalizeH="0" baseline="0" noProof="0" smtClean="0">
                <a:ln>
                  <a:noFill/>
                </a:ln>
                <a:solidFill>
                  <a:prstClr val="black"/>
                </a:solidFill>
                <a:effectLst/>
                <a:uLnTx/>
                <a:uFillTx/>
                <a:latin typeface="Apis For Office" panose="020B05040101010101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3113001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go onto the mechanisms undelaying obesity , we need to understand the very essence of the condition and that is the often-misrepresented Adipose tissue (know as f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493298-6094-4361-B311-891E531296F6}" type="slidenum">
              <a:rPr kumimoji="0" lang="de-CH"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CH"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8095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Hepatic </a:t>
            </a:r>
            <a:r>
              <a:rPr lang="en-US" sz="800" dirty="0" err="1"/>
              <a:t>steatiosis</a:t>
            </a:r>
            <a:r>
              <a:rPr lang="en-US" sz="800" dirty="0"/>
              <a:t> on MASH </a:t>
            </a:r>
            <a:r>
              <a:rPr lang="en-US" sz="800" dirty="0" err="1"/>
              <a:t>numer</a:t>
            </a:r>
            <a:r>
              <a:rPr lang="en-US" sz="800" dirty="0"/>
              <a:t> one cause of liver cirrhosis in the world </a:t>
            </a:r>
          </a:p>
          <a:p>
            <a:endParaRPr lang="en-US" sz="800" dirty="0"/>
          </a:p>
          <a:p>
            <a:endParaRPr lang="en-US" sz="800" dirty="0"/>
          </a:p>
          <a:p>
            <a:r>
              <a:rPr lang="en-US" sz="800" dirty="0"/>
              <a:t>Increased weight loss is associated with improvement in various comorbidities related to obesity</a:t>
            </a:r>
          </a:p>
          <a:p>
            <a:pPr marL="171450" indent="-171450">
              <a:buFontTx/>
              <a:buChar char="-"/>
            </a:pPr>
            <a:r>
              <a:rPr lang="en-US" sz="800" dirty="0"/>
              <a:t>As low as 5% weight loss is associated with reduction in systolic and diastolic blood pressure and reduced HbA</a:t>
            </a:r>
            <a:r>
              <a:rPr lang="en-US" sz="800" baseline="-25000" dirty="0"/>
              <a:t>1c</a:t>
            </a:r>
            <a:r>
              <a:rPr lang="en-US" sz="800" baseline="0" dirty="0"/>
              <a:t> </a:t>
            </a:r>
            <a:r>
              <a:rPr lang="en-US" sz="800" baseline="30000" dirty="0"/>
              <a:t>1</a:t>
            </a:r>
          </a:p>
          <a:p>
            <a:pPr marL="171450" indent="-171450">
              <a:buFontTx/>
              <a:buChar char="-"/>
            </a:pPr>
            <a:r>
              <a:rPr lang="en-US" sz="800" baseline="0" dirty="0"/>
              <a:t>5-10% weight loss is associated with a reduction of intrahepatocellular lipids in non-alcoholic fatty liver disease; </a:t>
            </a:r>
            <a:r>
              <a:rPr lang="en-US" sz="800" dirty="0"/>
              <a:t>reduction in triglycerides, increase in HDL-c, reduction in non-HDL-c; improvements in ovulation and </a:t>
            </a:r>
            <a:r>
              <a:rPr lang="en-US" sz="800" dirty="0" err="1"/>
              <a:t>regularisation</a:t>
            </a:r>
            <a:r>
              <a:rPr lang="en-US" sz="800" dirty="0"/>
              <a:t> of menses; prevention of type 2 diabetes</a:t>
            </a:r>
            <a:r>
              <a:rPr lang="en-US" sz="800" baseline="30000" dirty="0"/>
              <a:t>1</a:t>
            </a:r>
            <a:endParaRPr lang="en-US" sz="800" dirty="0"/>
          </a:p>
          <a:p>
            <a:pPr marL="171450" indent="-171450">
              <a:buFontTx/>
              <a:buChar char="-"/>
            </a:pPr>
            <a:r>
              <a:rPr lang="en-US" sz="800" dirty="0"/>
              <a:t>10-15% reduction improves symptomatology and increases function for people with osteoarthritis, GERD, and OSAS; reduced inflammation and fibrosis in NASH; reduced frequency pf incontinence, and improvements in cardiovascular disease</a:t>
            </a:r>
            <a:r>
              <a:rPr lang="en-US" sz="800" baseline="30000" dirty="0"/>
              <a:t>1,2</a:t>
            </a:r>
            <a:r>
              <a:rPr lang="en-US" sz="800" dirty="0"/>
              <a:t> </a:t>
            </a:r>
          </a:p>
          <a:p>
            <a:pPr marL="171450" indent="-171450">
              <a:buFontTx/>
              <a:buChar char="-"/>
            </a:pPr>
            <a:r>
              <a:rPr lang="en-US" sz="800" baseline="0" dirty="0"/>
              <a:t>Over 15% weight loss can lead to remission of type 2 diabetes, especially when diabetes duration is short, improvements in heart failure and reductions in cardiovascular mortality</a:t>
            </a:r>
            <a:r>
              <a:rPr lang="en-US" sz="800" baseline="30000" dirty="0"/>
              <a:t>3,4,5</a:t>
            </a:r>
          </a:p>
          <a:p>
            <a:pPr marL="171450" indent="-171450">
              <a:buFontTx/>
              <a:buChar char="-"/>
            </a:pPr>
            <a:r>
              <a:rPr lang="en-US" sz="800" baseline="0" dirty="0"/>
              <a:t>Improvements in triglycerides, </a:t>
            </a:r>
            <a:r>
              <a:rPr lang="en-US" sz="800" dirty="0"/>
              <a:t>HbA</a:t>
            </a:r>
            <a:r>
              <a:rPr lang="en-US" sz="800" baseline="-25000" dirty="0"/>
              <a:t>1c</a:t>
            </a:r>
            <a:r>
              <a:rPr lang="en-US" sz="800" baseline="0" dirty="0"/>
              <a:t>, and blood pressure are direct and linear, with greater weight loss being associated with greater risk factor benefit</a:t>
            </a:r>
            <a:r>
              <a:rPr lang="en-US" sz="800" baseline="30000" dirty="0"/>
              <a:t>6</a:t>
            </a:r>
            <a:endParaRPr lang="en-US" sz="800" baseline="0" dirty="0"/>
          </a:p>
          <a:p>
            <a:pPr marL="171450" indent="-171450">
              <a:buFontTx/>
              <a:buChar char="-"/>
            </a:pPr>
            <a:r>
              <a:rPr lang="en-US" sz="800" baseline="0" dirty="0"/>
              <a:t>T2D remission rates have been found to plateau at 20-25% total weight loss where 25% total weight loss did not confer additional benefits</a:t>
            </a:r>
            <a:r>
              <a:rPr lang="en-US" sz="800" baseline="30000" dirty="0"/>
              <a:t>7</a:t>
            </a:r>
            <a:endParaRPr lang="en-US" sz="800" baseline="0" dirty="0"/>
          </a:p>
          <a:p>
            <a:pPr marL="0" indent="0">
              <a:buFontTx/>
              <a:buNone/>
            </a:pPr>
            <a:endParaRPr lang="en-US" sz="800" baseline="30000" dirty="0"/>
          </a:p>
          <a:p>
            <a:pPr marL="0" indent="0">
              <a:buFontTx/>
              <a:buNone/>
            </a:pPr>
            <a:r>
              <a:rPr lang="en-US" sz="800" baseline="0" dirty="0"/>
              <a:t>References</a:t>
            </a:r>
          </a:p>
          <a:p>
            <a:pPr marL="228600" indent="-228600">
              <a:buFontTx/>
              <a:buAutoNum type="arabicPeriod"/>
            </a:pPr>
            <a:r>
              <a:rPr lang="en-CA" sz="800" dirty="0"/>
              <a:t>Garvey WT et al.</a:t>
            </a:r>
            <a:r>
              <a:rPr lang="en-US" sz="800" dirty="0"/>
              <a:t> </a:t>
            </a:r>
            <a:r>
              <a:rPr lang="en-US" sz="800" i="0" dirty="0"/>
              <a:t>AMERICAN ASSOCIATION OF CLINICAL ENDOCRINOLOGISTS AND AMERICAN COLLEGE OF ENDOCRINOLOGY COMPREHENSIVE CLINICAL PRACTICE GUIDELINES FOR MEDICAL CARE OF PATIENTS WITH OBESITY.</a:t>
            </a:r>
            <a:r>
              <a:rPr lang="en-CA" sz="800" i="0" dirty="0"/>
              <a:t> </a:t>
            </a:r>
            <a:r>
              <a:rPr lang="en-CA" sz="800" dirty="0" err="1"/>
              <a:t>Endocr</a:t>
            </a:r>
            <a:r>
              <a:rPr lang="en-CA" sz="800" dirty="0"/>
              <a:t> </a:t>
            </a:r>
            <a:r>
              <a:rPr lang="en-CA" sz="800" dirty="0" err="1"/>
              <a:t>Pract</a:t>
            </a:r>
            <a:r>
              <a:rPr lang="en-CA" sz="800" dirty="0"/>
              <a:t> 2016;22(Suppl. 3):1</a:t>
            </a:r>
            <a:r>
              <a:rPr lang="en-CA" sz="800" dirty="0">
                <a:ea typeface="Apis For Office" panose="020B0504010101010104" pitchFamily="34" charset="0"/>
              </a:rPr>
              <a:t>–</a:t>
            </a:r>
            <a:r>
              <a:rPr lang="en-CA" sz="800" dirty="0"/>
              <a:t>203</a:t>
            </a:r>
          </a:p>
          <a:p>
            <a:pPr marL="228600" indent="-228600">
              <a:buFontTx/>
              <a:buAutoNum type="arabicPeriod"/>
            </a:pPr>
            <a:r>
              <a:rPr lang="en-GB" sz="800" dirty="0"/>
              <a:t>Look AHEAD Research Group. </a:t>
            </a:r>
            <a:r>
              <a:rPr lang="en-US" sz="800" dirty="0"/>
              <a:t>Association of the magnitude of weight loss and changes in physical fitness with long-term cardiovascular disease outcomes in overweight or obesity with type 2 diabetes: a post-hoc analysis of the Look AHEAD </a:t>
            </a:r>
            <a:r>
              <a:rPr lang="en-US" sz="800" dirty="0" err="1"/>
              <a:t>randomised</a:t>
            </a:r>
            <a:r>
              <a:rPr lang="en-US" sz="800" dirty="0"/>
              <a:t> clinical trial. </a:t>
            </a:r>
            <a:r>
              <a:rPr lang="en-GB" sz="800" dirty="0"/>
              <a:t>Lancet Diabetes Endocrinol 2016;4:913–21.</a:t>
            </a:r>
            <a:endParaRPr lang="fr-FR" sz="800" dirty="0"/>
          </a:p>
          <a:p>
            <a:pPr marL="228600" indent="-228600">
              <a:buFontTx/>
              <a:buAutoNum type="arabicPeriod"/>
            </a:pPr>
            <a:r>
              <a:rPr lang="fr-FR" sz="800" dirty="0"/>
              <a:t>Lean ME et al. </a:t>
            </a:r>
            <a:r>
              <a:rPr lang="en-US" sz="800" dirty="0"/>
              <a:t>Primary care-led weight management for remission of type 2 diabetes (</a:t>
            </a:r>
            <a:r>
              <a:rPr lang="en-US" sz="800" dirty="0" err="1"/>
              <a:t>DiRECT</a:t>
            </a:r>
            <a:r>
              <a:rPr lang="en-US" sz="800" dirty="0"/>
              <a:t>): an open-label, cluster-</a:t>
            </a:r>
            <a:r>
              <a:rPr lang="en-US" sz="800" dirty="0" err="1"/>
              <a:t>randomised</a:t>
            </a:r>
            <a:r>
              <a:rPr lang="en-US" sz="800" dirty="0"/>
              <a:t> trial.</a:t>
            </a:r>
            <a:r>
              <a:rPr lang="fr-FR" sz="800" dirty="0"/>
              <a:t> Lancet 2018;391:541–51</a:t>
            </a:r>
          </a:p>
          <a:p>
            <a:pPr marL="228600" indent="-228600">
              <a:buFontTx/>
              <a:buAutoNum type="arabicPeriod"/>
            </a:pPr>
            <a:r>
              <a:rPr lang="en-US" sz="800" dirty="0" err="1"/>
              <a:t>Benraoune</a:t>
            </a:r>
            <a:r>
              <a:rPr lang="en-US" sz="800" dirty="0"/>
              <a:t> F and Litwin SE</a:t>
            </a:r>
            <a:r>
              <a:rPr lang="en-CA" sz="800" dirty="0"/>
              <a:t>.</a:t>
            </a:r>
            <a:r>
              <a:rPr lang="en-US" sz="800" dirty="0"/>
              <a:t> Reductions in cardiovascular risk after bariatric surgery.</a:t>
            </a:r>
            <a:r>
              <a:rPr lang="en-CA" sz="800" dirty="0"/>
              <a:t> </a:t>
            </a:r>
            <a:r>
              <a:rPr lang="en-CA" sz="800" dirty="0" err="1"/>
              <a:t>Curr</a:t>
            </a:r>
            <a:r>
              <a:rPr lang="en-CA" sz="800" dirty="0"/>
              <a:t> </a:t>
            </a:r>
            <a:r>
              <a:rPr lang="en-CA" sz="800" dirty="0" err="1"/>
              <a:t>Opin</a:t>
            </a:r>
            <a:r>
              <a:rPr lang="en-CA" sz="800" dirty="0"/>
              <a:t> </a:t>
            </a:r>
            <a:r>
              <a:rPr lang="en-CA" sz="800" dirty="0" err="1"/>
              <a:t>Cardiol</a:t>
            </a:r>
            <a:r>
              <a:rPr lang="en-CA" sz="800" dirty="0"/>
              <a:t> 2011;26:555</a:t>
            </a:r>
            <a:r>
              <a:rPr lang="en-US" sz="800" dirty="0"/>
              <a:t>–61</a:t>
            </a:r>
          </a:p>
          <a:p>
            <a:pPr marL="228600" indent="-228600">
              <a:buFontTx/>
              <a:buAutoNum type="arabicPeriod"/>
            </a:pPr>
            <a:r>
              <a:rPr lang="en-US" sz="800" dirty="0" err="1"/>
              <a:t>Sundström</a:t>
            </a:r>
            <a:r>
              <a:rPr lang="en-US" sz="800" dirty="0"/>
              <a:t> J et al. Weight Loss and Heart Failure: A Nationwide Study of Gastric Bypass Surgery Versus Intensive Lifestyle Treatment. Circulation 2017;135:1577–85.</a:t>
            </a:r>
          </a:p>
          <a:p>
            <a:pPr marL="228600" marR="0" lvl="0" indent="-228600" algn="l" defTabSz="914377" rtl="0" eaLnBrk="1" fontAlgn="auto" latinLnBrk="0" hangingPunct="1">
              <a:lnSpc>
                <a:spcPct val="100000"/>
              </a:lnSpc>
              <a:spcBef>
                <a:spcPts val="0"/>
              </a:spcBef>
              <a:spcAft>
                <a:spcPts val="0"/>
              </a:spcAft>
              <a:buClrTx/>
              <a:buSzTx/>
              <a:buFontTx/>
              <a:buAutoNum type="arabicPeriod"/>
              <a:tabLst/>
              <a:defRPr/>
            </a:pPr>
            <a:r>
              <a:rPr lang="en-CA" sz="300" dirty="0"/>
              <a:t>Ryan DH and </a:t>
            </a:r>
            <a:r>
              <a:rPr lang="en-CA" sz="300" dirty="0" err="1"/>
              <a:t>Yockey</a:t>
            </a:r>
            <a:r>
              <a:rPr lang="en-CA" sz="300" dirty="0"/>
              <a:t> SR. </a:t>
            </a:r>
            <a:r>
              <a:rPr lang="en-US" sz="1800" b="0" i="0" dirty="0">
                <a:solidFill>
                  <a:srgbClr val="000000"/>
                </a:solidFill>
                <a:effectLst/>
                <a:latin typeface="Cambria" panose="02040503050406030204" pitchFamily="18" charset="0"/>
              </a:rPr>
              <a:t>Weight Loss and Improvement in Comorbidity: Differences at 5%, 10%, 15%, and Over. </a:t>
            </a:r>
            <a:r>
              <a:rPr lang="en-CA" sz="300" dirty="0" err="1"/>
              <a:t>Curr</a:t>
            </a:r>
            <a:r>
              <a:rPr lang="en-CA" sz="300" dirty="0"/>
              <a:t> </a:t>
            </a:r>
            <a:r>
              <a:rPr lang="en-CA" sz="300" dirty="0" err="1"/>
              <a:t>Obes</a:t>
            </a:r>
            <a:r>
              <a:rPr lang="en-CA" sz="300" dirty="0"/>
              <a:t> Rep 2017;6(2):187–94.</a:t>
            </a:r>
          </a:p>
          <a:p>
            <a:pPr marL="228600" marR="0" lvl="0" indent="-228600" algn="l" defTabSz="914377" rtl="0" eaLnBrk="1" fontAlgn="auto" latinLnBrk="0" hangingPunct="1">
              <a:lnSpc>
                <a:spcPct val="100000"/>
              </a:lnSpc>
              <a:spcBef>
                <a:spcPts val="0"/>
              </a:spcBef>
              <a:spcAft>
                <a:spcPts val="0"/>
              </a:spcAft>
              <a:buClrTx/>
              <a:buSzTx/>
              <a:buFontTx/>
              <a:buAutoNum type="arabicPeriod"/>
              <a:tabLst/>
              <a:defRPr/>
            </a:pPr>
            <a:r>
              <a:rPr lang="en-CA" sz="300" baseline="0" dirty="0" err="1"/>
              <a:t>Meerasa</a:t>
            </a:r>
            <a:r>
              <a:rPr lang="en-CA" sz="300" baseline="0" dirty="0"/>
              <a:t> A and Dash S. Weighing in on Type 2 Diabetes Remission. Diabetes Care 2022;45(1):28–30.</a:t>
            </a:r>
            <a:endParaRPr lang="en-GB" sz="800" baseline="0" dirty="0"/>
          </a:p>
          <a:p>
            <a:pPr marL="84744"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800" b="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45274C7-3C95-4AD2-8A35-8F8F3ED72724}"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7</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2299384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pPr>
            <a:r>
              <a:rPr lang="en-GB" sz="1200" dirty="0">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Only biologics available for obesity is Lira and </a:t>
            </a:r>
            <a:r>
              <a:rPr lang="en-GB" sz="1200" dirty="0" err="1">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and</a:t>
            </a:r>
            <a:r>
              <a:rPr lang="en-GB" sz="1200" dirty="0">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 </a:t>
            </a:r>
            <a:r>
              <a:rPr lang="en-GB" sz="1200" dirty="0" err="1">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sema</a:t>
            </a:r>
            <a:r>
              <a:rPr lang="en-GB" sz="1200" dirty="0">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 2.4 mg</a:t>
            </a:r>
          </a:p>
          <a:p>
            <a:pPr>
              <a:lnSpc>
                <a:spcPct val="120000"/>
              </a:lnSpc>
            </a:pPr>
            <a:r>
              <a:rPr lang="en-GB" sz="1200" dirty="0">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Lifestyle changes are a foundation for any chronic disease management.</a:t>
            </a:r>
          </a:p>
          <a:p>
            <a:pPr>
              <a:lnSpc>
                <a:spcPct val="120000"/>
              </a:lnSpc>
            </a:pPr>
            <a:endParaRPr lang="en-GB" sz="1200" dirty="0">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endParaRPr>
          </a:p>
          <a:p>
            <a:pPr>
              <a:lnSpc>
                <a:spcPct val="120000"/>
              </a:lnSpc>
            </a:pPr>
            <a:r>
              <a:rPr lang="en-GB" sz="1200" dirty="0">
                <a:solidFill>
                  <a:schemeClr val="accent1"/>
                </a:solidFill>
                <a:latin typeface="Apis For Office Light" panose="020B0404010101010104" pitchFamily="34" charset="0"/>
                <a:ea typeface="Apis For Office Light" panose="020B0404010101010104" pitchFamily="34" charset="0"/>
                <a:cs typeface="Apis For Office Light" panose="020B0404010101010104" pitchFamily="34" charset="0"/>
              </a:rPr>
              <a:t>However, as with other chronic diseases like hypertension or diabetes, pharmacotherapy is needed to address the biology of obesity and is intended as part of a long-term treatment strategy.</a:t>
            </a:r>
          </a:p>
          <a:p>
            <a:endParaRPr lang="en-GB"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847125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8EE05-7E86-04F8-CC26-950F1D86D7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A9670-7EF4-2D74-9099-5AFC278CAB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7334FB-4356-564A-007E-B8A7017CF603}"/>
              </a:ext>
            </a:extLst>
          </p:cNvPr>
          <p:cNvSpPr>
            <a:spLocks noGrp="1"/>
          </p:cNvSpPr>
          <p:nvPr>
            <p:ph type="body" idx="1"/>
          </p:nvPr>
        </p:nvSpPr>
        <p:spPr/>
        <p:txBody>
          <a:bodyPr/>
          <a:lstStyle/>
          <a:p>
            <a:r>
              <a:rPr lang="en-GB" sz="1200" b="0" i="0" kern="1200" dirty="0">
                <a:solidFill>
                  <a:schemeClr val="tx1"/>
                </a:solidFill>
                <a:effectLst/>
                <a:latin typeface="+mn-lt"/>
                <a:ea typeface="+mn-ea"/>
                <a:cs typeface="+mn-cs"/>
              </a:rPr>
              <a:t>Let’s take a moment to understand how semaglutide works to regulate appetite and promote weight reduction. Semaglutide is a </a:t>
            </a:r>
            <a:r>
              <a:rPr lang="en-GB" sz="1200" b="1" i="0" kern="1200" dirty="0">
                <a:solidFill>
                  <a:schemeClr val="tx1"/>
                </a:solidFill>
                <a:effectLst/>
                <a:latin typeface="+mn-lt"/>
                <a:ea typeface="+mn-ea"/>
                <a:cs typeface="+mn-cs"/>
              </a:rPr>
              <a:t>GLP-1 analogue</a:t>
            </a:r>
            <a:r>
              <a:rPr lang="en-GB" sz="1200" b="0" i="0" kern="1200" dirty="0">
                <a:solidFill>
                  <a:schemeClr val="tx1"/>
                </a:solidFill>
                <a:effectLst/>
                <a:latin typeface="+mn-lt"/>
                <a:ea typeface="+mn-ea"/>
                <a:cs typeface="+mn-cs"/>
              </a:rPr>
              <a:t>, meaning it mimics the activity of the natural hormone GLP-1, with </a:t>
            </a:r>
            <a:r>
              <a:rPr lang="en-GB" sz="1200" b="1" i="0" kern="1200" dirty="0">
                <a:solidFill>
                  <a:schemeClr val="tx1"/>
                </a:solidFill>
                <a:effectLst/>
                <a:latin typeface="+mn-lt"/>
                <a:ea typeface="+mn-ea"/>
                <a:cs typeface="+mn-cs"/>
              </a:rPr>
              <a:t>94% structural similarity</a:t>
            </a:r>
            <a:r>
              <a:rPr lang="en-GB" sz="1200" b="0" i="0" kern="1200" dirty="0">
                <a:solidFill>
                  <a:schemeClr val="tx1"/>
                </a:solidFill>
                <a:effectLst/>
                <a:latin typeface="+mn-lt"/>
                <a:ea typeface="+mn-ea"/>
                <a:cs typeface="+mn-cs"/>
              </a:rPr>
              <a:t>. Its design includes modifications such as an </a:t>
            </a:r>
            <a:r>
              <a:rPr lang="en-GB" sz="1200" b="1" i="0" kern="1200" dirty="0">
                <a:solidFill>
                  <a:schemeClr val="tx1"/>
                </a:solidFill>
                <a:effectLst/>
                <a:latin typeface="+mn-lt"/>
                <a:ea typeface="+mn-ea"/>
                <a:cs typeface="+mn-cs"/>
              </a:rPr>
              <a:t>amino acid substitution at position 8</a:t>
            </a:r>
            <a:r>
              <a:rPr lang="en-GB" sz="1200" b="0" i="0" kern="1200" dirty="0">
                <a:solidFill>
                  <a:schemeClr val="tx1"/>
                </a:solidFill>
                <a:effectLst/>
                <a:latin typeface="+mn-lt"/>
                <a:ea typeface="+mn-ea"/>
                <a:cs typeface="+mn-cs"/>
              </a:rPr>
              <a:t>, which protects it from degradation by DPP-4 enzymes, and a </a:t>
            </a:r>
            <a:r>
              <a:rPr lang="en-GB" sz="1200" b="1" i="0" kern="1200" dirty="0">
                <a:solidFill>
                  <a:schemeClr val="tx1"/>
                </a:solidFill>
                <a:effectLst/>
                <a:latin typeface="+mn-lt"/>
                <a:ea typeface="+mn-ea"/>
                <a:cs typeface="+mn-cs"/>
              </a:rPr>
              <a:t>C-18 fatty di-acid chain</a:t>
            </a:r>
            <a:r>
              <a:rPr lang="en-GB" sz="1200" b="0" i="0" kern="1200" dirty="0">
                <a:solidFill>
                  <a:schemeClr val="tx1"/>
                </a:solidFill>
                <a:effectLst/>
                <a:latin typeface="+mn-lt"/>
                <a:ea typeface="+mn-ea"/>
                <a:cs typeface="+mn-cs"/>
              </a:rPr>
              <a:t>, which enhances binding to albumin, giving it a long half-life of nearly one week.</a:t>
            </a:r>
          </a:p>
          <a:p>
            <a:r>
              <a:rPr lang="en-GB" sz="1200" b="0" i="0" kern="1200" dirty="0">
                <a:solidFill>
                  <a:schemeClr val="tx1"/>
                </a:solidFill>
                <a:effectLst/>
                <a:latin typeface="+mn-lt"/>
                <a:ea typeface="+mn-ea"/>
                <a:cs typeface="+mn-cs"/>
              </a:rPr>
              <a:t>Semaglutide interacts with key brain regions involved in appetite control. Specifically, it directly activates the </a:t>
            </a:r>
            <a:r>
              <a:rPr lang="en-GB" sz="1200" b="1" i="0" kern="1200" dirty="0">
                <a:solidFill>
                  <a:schemeClr val="tx1"/>
                </a:solidFill>
                <a:effectLst/>
                <a:latin typeface="+mn-lt"/>
                <a:ea typeface="+mn-ea"/>
                <a:cs typeface="+mn-cs"/>
              </a:rPr>
              <a:t>hypothalamus</a:t>
            </a:r>
            <a:r>
              <a:rPr lang="en-GB" sz="1200" b="0" i="0" kern="1200" dirty="0">
                <a:solidFill>
                  <a:schemeClr val="tx1"/>
                </a:solidFill>
                <a:effectLst/>
                <a:latin typeface="+mn-lt"/>
                <a:ea typeface="+mn-ea"/>
                <a:cs typeface="+mn-cs"/>
              </a:rPr>
              <a:t> and the </a:t>
            </a:r>
            <a:r>
              <a:rPr lang="en-GB" sz="1200" b="1" i="0" kern="1200" dirty="0">
                <a:solidFill>
                  <a:schemeClr val="tx1"/>
                </a:solidFill>
                <a:effectLst/>
                <a:latin typeface="+mn-lt"/>
                <a:ea typeface="+mn-ea"/>
                <a:cs typeface="+mn-cs"/>
              </a:rPr>
              <a:t>hindbrain’s area postrema and nucleus tractus solitarius (AP/NTS)</a:t>
            </a:r>
            <a:r>
              <a:rPr lang="en-GB" sz="1200" b="0" i="0" kern="1200" dirty="0">
                <a:solidFill>
                  <a:schemeClr val="tx1"/>
                </a:solidFill>
                <a:effectLst/>
                <a:latin typeface="+mn-lt"/>
                <a:ea typeface="+mn-ea"/>
                <a:cs typeface="+mn-cs"/>
              </a:rPr>
              <a:t> — regions central to regulating hunger, satiety, and energy intake. These actions reduce appetite, help control food cravings, and lead to less energy intake overall.</a:t>
            </a:r>
          </a:p>
          <a:p>
            <a:r>
              <a:rPr lang="en-GB" sz="1200" b="0" i="0" kern="1200" dirty="0">
                <a:solidFill>
                  <a:schemeClr val="tx1"/>
                </a:solidFill>
                <a:effectLst/>
                <a:latin typeface="+mn-lt"/>
                <a:ea typeface="+mn-ea"/>
                <a:cs typeface="+mn-cs"/>
              </a:rPr>
              <a:t>Over time, these effects contribute to </a:t>
            </a:r>
            <a:r>
              <a:rPr lang="en-GB" sz="1200" b="1" i="0" kern="1200" dirty="0">
                <a:solidFill>
                  <a:schemeClr val="tx1"/>
                </a:solidFill>
                <a:effectLst/>
                <a:latin typeface="+mn-lt"/>
                <a:ea typeface="+mn-ea"/>
                <a:cs typeface="+mn-cs"/>
              </a:rPr>
              <a:t>reduced body weight</a:t>
            </a:r>
            <a:r>
              <a:rPr lang="en-GB" sz="1200" b="0" i="0" kern="1200" dirty="0">
                <a:solidFill>
                  <a:schemeClr val="tx1"/>
                </a:solidFill>
                <a:effectLst/>
                <a:latin typeface="+mn-lt"/>
                <a:ea typeface="+mn-ea"/>
                <a:cs typeface="+mn-cs"/>
              </a:rPr>
              <a:t>, alongside other benefits such as </a:t>
            </a:r>
            <a:r>
              <a:rPr lang="en-GB" sz="1200" b="1" i="0" kern="1200" dirty="0">
                <a:solidFill>
                  <a:schemeClr val="tx1"/>
                </a:solidFill>
                <a:effectLst/>
                <a:latin typeface="+mn-lt"/>
                <a:ea typeface="+mn-ea"/>
                <a:cs typeface="+mn-cs"/>
              </a:rPr>
              <a:t>metabolic improvements and cardiovascular effects</a:t>
            </a:r>
            <a:r>
              <a:rPr lang="en-GB" sz="1200" b="0" i="0" kern="1200" dirty="0">
                <a:solidFill>
                  <a:schemeClr val="tx1"/>
                </a:solidFill>
                <a:effectLst/>
                <a:latin typeface="+mn-lt"/>
                <a:ea typeface="+mn-ea"/>
                <a:cs typeface="+mn-cs"/>
              </a:rPr>
              <a:t>. This multi-faceted mechanism makes semaglutide a powerful tool in addressing obesity and related conditions.</a:t>
            </a:r>
          </a:p>
          <a:p>
            <a:endParaRPr lang="en-GB" sz="1200" b="0" i="0" kern="1200" dirty="0">
              <a:solidFill>
                <a:schemeClr val="tx1"/>
              </a:solidFill>
              <a:effectLst/>
              <a:latin typeface="+mn-lt"/>
              <a:ea typeface="+mn-ea"/>
              <a:cs typeface="+mn-cs"/>
            </a:endParaRPr>
          </a:p>
          <a:p>
            <a:r>
              <a:rPr lang="en-GB" sz="1200" b="0" i="0" kern="1200" dirty="0" err="1">
                <a:solidFill>
                  <a:schemeClr val="tx1"/>
                </a:solidFill>
                <a:effectLst/>
                <a:latin typeface="+mn-lt"/>
                <a:ea typeface="+mn-ea"/>
                <a:cs typeface="+mn-cs"/>
              </a:rPr>
              <a:t>Postion</a:t>
            </a:r>
            <a:r>
              <a:rPr lang="en-GB" sz="1200" b="0" i="0" kern="1200" dirty="0">
                <a:solidFill>
                  <a:schemeClr val="tx1"/>
                </a:solidFill>
                <a:effectLst/>
                <a:latin typeface="+mn-lt"/>
                <a:ea typeface="+mn-ea"/>
                <a:cs typeface="+mn-cs"/>
              </a:rPr>
              <a:t> 38</a:t>
            </a:r>
          </a:p>
          <a:p>
            <a:endParaRPr lang="en-GB" sz="1200" b="0" i="0" kern="1200" dirty="0">
              <a:solidFill>
                <a:schemeClr val="tx1"/>
              </a:solidFill>
              <a:effectLst/>
              <a:latin typeface="+mn-lt"/>
              <a:ea typeface="+mn-ea"/>
              <a:cs typeface="+mn-cs"/>
            </a:endParaRPr>
          </a:p>
          <a:p>
            <a:r>
              <a:rPr lang="en-ZA" sz="1200" b="1" i="0" kern="1200" dirty="0">
                <a:solidFill>
                  <a:schemeClr val="tx1"/>
                </a:solidFill>
                <a:effectLst/>
                <a:latin typeface="+mn-lt"/>
                <a:ea typeface="+mn-ea"/>
                <a:cs typeface="+mn-cs"/>
              </a:rPr>
              <a:t>exendin-4</a:t>
            </a:r>
            <a:endParaRPr lang="en-GB" sz="1200" b="0" i="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667F51F4-4B08-9C51-6903-E0121D97FA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5274C7-3C95-4AD2-8A35-8F8F3ED72724}"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6444877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AEA79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AEA79F"/>
                </a:solidFill>
              </a:rPr>
              <a:t>It is very effective to result in powerful and clinically very significant weight loss, as you can see here from the key trials in the phase 3 STEP trial program.  Here we have the STEP1 trial, the largest trial in people with obesity, NEJM; STEP3 which was </a:t>
            </a:r>
            <a:r>
              <a:rPr lang="en-GB" sz="1200" dirty="0" err="1">
                <a:solidFill>
                  <a:srgbClr val="AEA79F"/>
                </a:solidFill>
              </a:rPr>
              <a:t>wt</a:t>
            </a:r>
            <a:r>
              <a:rPr lang="en-GB" sz="1200" dirty="0">
                <a:solidFill>
                  <a:srgbClr val="AEA79F"/>
                </a:solidFill>
              </a:rPr>
              <a:t> mgmt. with intensive behavioural Rx; STEP4, where pts all received </a:t>
            </a:r>
            <a:r>
              <a:rPr lang="en-GB" sz="1200" dirty="0" err="1">
                <a:solidFill>
                  <a:srgbClr val="AEA79F"/>
                </a:solidFill>
              </a:rPr>
              <a:t>sema</a:t>
            </a:r>
            <a:r>
              <a:rPr lang="en-GB" sz="1200" dirty="0">
                <a:solidFill>
                  <a:srgbClr val="AEA79F"/>
                </a:solidFill>
              </a:rPr>
              <a:t> for 20 weeks, then randomized to continuing </a:t>
            </a:r>
            <a:r>
              <a:rPr lang="en-GB" sz="1200" dirty="0" err="1">
                <a:solidFill>
                  <a:srgbClr val="AEA79F"/>
                </a:solidFill>
              </a:rPr>
              <a:t>sema</a:t>
            </a:r>
            <a:r>
              <a:rPr lang="en-GB" sz="1200" dirty="0">
                <a:solidFill>
                  <a:srgbClr val="AEA79F"/>
                </a:solidFill>
              </a:rPr>
              <a:t> vs placebo. We see that in these trials, there was a 16-18% </a:t>
            </a:r>
            <a:r>
              <a:rPr lang="en-GB" sz="1200" dirty="0" err="1">
                <a:solidFill>
                  <a:srgbClr val="AEA79F"/>
                </a:solidFill>
              </a:rPr>
              <a:t>wt</a:t>
            </a:r>
            <a:r>
              <a:rPr lang="en-GB" sz="1200" dirty="0">
                <a:solidFill>
                  <a:srgbClr val="AEA79F"/>
                </a:solidFill>
              </a:rPr>
              <a:t> loss seen with </a:t>
            </a:r>
            <a:r>
              <a:rPr lang="en-GB" sz="1200" dirty="0" err="1">
                <a:solidFill>
                  <a:srgbClr val="AEA79F"/>
                </a:solidFill>
              </a:rPr>
              <a:t>sema</a:t>
            </a:r>
            <a:r>
              <a:rPr lang="en-GB" sz="1200" dirty="0">
                <a:solidFill>
                  <a:srgbClr val="AEA79F"/>
                </a:solidFill>
              </a:rPr>
              <a:t>. In STEP2, </a:t>
            </a:r>
            <a:r>
              <a:rPr lang="en-GB" sz="1200" dirty="0" err="1">
                <a:solidFill>
                  <a:srgbClr val="AEA79F"/>
                </a:solidFill>
              </a:rPr>
              <a:t>wt</a:t>
            </a:r>
            <a:r>
              <a:rPr lang="en-GB" sz="1200" dirty="0">
                <a:solidFill>
                  <a:srgbClr val="AEA79F"/>
                </a:solidFill>
              </a:rPr>
              <a:t> mgmt. in pts with T2DM, there was less </a:t>
            </a:r>
            <a:r>
              <a:rPr lang="en-GB" sz="1200" dirty="0" err="1">
                <a:solidFill>
                  <a:srgbClr val="AEA79F"/>
                </a:solidFill>
              </a:rPr>
              <a:t>wt</a:t>
            </a:r>
            <a:r>
              <a:rPr lang="en-GB" sz="1200" dirty="0">
                <a:solidFill>
                  <a:srgbClr val="AEA79F"/>
                </a:solidFill>
              </a:rPr>
              <a:t> loss seen than in the non DM studies, which is typical in that we know that people with DM2 have a harder time losing </a:t>
            </a:r>
            <a:r>
              <a:rPr lang="en-GB" sz="1200" dirty="0" err="1">
                <a:solidFill>
                  <a:srgbClr val="AEA79F"/>
                </a:solidFill>
              </a:rPr>
              <a:t>wt</a:t>
            </a:r>
            <a:r>
              <a:rPr lang="en-GB" sz="1200" dirty="0">
                <a:solidFill>
                  <a:srgbClr val="AEA79F"/>
                </a:solidFill>
              </a:rPr>
              <a:t> than people without DM2, but still, over 10% </a:t>
            </a:r>
            <a:r>
              <a:rPr lang="en-GB" sz="1200" dirty="0" err="1">
                <a:solidFill>
                  <a:srgbClr val="AEA79F"/>
                </a:solidFill>
              </a:rPr>
              <a:t>wt</a:t>
            </a:r>
            <a:r>
              <a:rPr lang="en-GB" sz="1200" dirty="0">
                <a:solidFill>
                  <a:srgbClr val="AEA79F"/>
                </a:solidFill>
              </a:rPr>
              <a:t> loss was achieved with </a:t>
            </a:r>
            <a:r>
              <a:rPr lang="en-GB" sz="1200" dirty="0" err="1">
                <a:solidFill>
                  <a:srgbClr val="AEA79F"/>
                </a:solidFill>
              </a:rPr>
              <a:t>sema</a:t>
            </a:r>
            <a:r>
              <a:rPr lang="en-GB" sz="1200" dirty="0">
                <a:solidFill>
                  <a:srgbClr val="AEA79F"/>
                </a:solidFill>
              </a:rPr>
              <a:t> 2.4mg after 68 wee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AEA79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AEA79F"/>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AEA79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err="1">
                <a:solidFill>
                  <a:srgbClr val="AEA79F"/>
                </a:solidFill>
              </a:rPr>
              <a:t>Semaglutide</a:t>
            </a:r>
            <a:r>
              <a:rPr lang="en-GB" sz="1200" dirty="0">
                <a:solidFill>
                  <a:srgbClr val="AEA79F"/>
                </a:solidFill>
              </a:rPr>
              <a:t> 2.4 mg taken once-weekly in adults with overweight or obesity, with or without T2D, resulted in significant and sustained weight loss compared to the placebo group. Data are the trial product </a:t>
            </a:r>
            <a:r>
              <a:rPr lang="en-GB" sz="1200" dirty="0" err="1">
                <a:solidFill>
                  <a:srgbClr val="AEA79F"/>
                </a:solidFill>
              </a:rPr>
              <a:t>estimand</a:t>
            </a:r>
            <a:r>
              <a:rPr lang="en-GB" sz="1200" dirty="0">
                <a:solidFill>
                  <a:srgbClr val="AEA79F"/>
                </a:solidFill>
              </a:rPr>
              <a: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FE2C47-DAFF-4F37-ADBC-C26B59B3367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76942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1653063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200" dirty="0">
                <a:solidFill>
                  <a:schemeClr val="bg1"/>
                </a:solidFill>
              </a:rPr>
              <a:t>In STEP-1 trial, </a:t>
            </a:r>
            <a:r>
              <a:rPr lang="en-US" b="0" i="0" dirty="0">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From week 0 to week 68, mean weight loss was 17.3% with </a:t>
            </a:r>
            <a:r>
              <a:rPr lang="en-US" b="0" i="0" dirty="0" err="1">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semaglutide</a:t>
            </a:r>
            <a:r>
              <a:rPr lang="en-US" b="0" i="0" dirty="0">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 and 2.0% with placebo. Following treatment withdrawal, </a:t>
            </a:r>
            <a:r>
              <a:rPr lang="en-US" b="0" i="0" dirty="0" err="1">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semaglutide</a:t>
            </a:r>
            <a:r>
              <a:rPr lang="en-US" b="0" i="0" dirty="0">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 and placebo participants regained 11.6% and 1.9% of lost weight, respectively. One year after withdrawal of </a:t>
            </a:r>
            <a:r>
              <a:rPr lang="en-US" b="0" i="0" dirty="0" err="1">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semaglutide</a:t>
            </a:r>
            <a:r>
              <a:rPr lang="en-US" b="0" i="0" dirty="0">
                <a:solidFill>
                  <a:srgbClr val="1C1D1E"/>
                </a:solidFill>
                <a:effectLst/>
                <a:latin typeface="Apis For Office" panose="020B0504010101010104" pitchFamily="34" charset="0"/>
                <a:ea typeface="Apis For Office" panose="020B0504010101010104" pitchFamily="34" charset="0"/>
                <a:cs typeface="Apis For Office" panose="020B0504010101010104" pitchFamily="34" charset="0"/>
              </a:rPr>
              <a:t> 2.4 mg and lifestyle intervention, participants regained two-thirds of their prior weight loss, with similar changes in cardiometabolic variabl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dirty="0">
                <a:solidFill>
                  <a:schemeClr val="bg1"/>
                </a:solidFill>
              </a:rPr>
              <a:t>These results reaffirm </a:t>
            </a:r>
            <a:r>
              <a:rPr lang="da-DK" sz="1200" b="1" dirty="0">
                <a:solidFill>
                  <a:schemeClr val="bg1"/>
                </a:solidFill>
              </a:rPr>
              <a:t>obesity</a:t>
            </a:r>
            <a:r>
              <a:rPr lang="da-DK" sz="1200" dirty="0">
                <a:solidFill>
                  <a:schemeClr val="bg1"/>
                </a:solidFill>
              </a:rPr>
              <a:t> as a </a:t>
            </a:r>
            <a:r>
              <a:rPr lang="da-DK" sz="1200" b="1" dirty="0">
                <a:solidFill>
                  <a:schemeClr val="bg1"/>
                </a:solidFill>
              </a:rPr>
              <a:t>chronic disease. </a:t>
            </a:r>
            <a:r>
              <a:rPr lang="da-DK" sz="1200" dirty="0">
                <a:solidFill>
                  <a:schemeClr val="bg1"/>
                </a:solidFill>
              </a:rPr>
              <a:t>Like in other chronic diseases, such as hypertension or diabetes, patients with obesity require </a:t>
            </a:r>
            <a:r>
              <a:rPr lang="da-DK" sz="1200" b="1" dirty="0">
                <a:solidFill>
                  <a:schemeClr val="bg1"/>
                </a:solidFill>
              </a:rPr>
              <a:t>ongoing treatment</a:t>
            </a:r>
            <a:r>
              <a:rPr lang="da-DK" sz="1200" dirty="0">
                <a:solidFill>
                  <a:schemeClr val="bg1"/>
                </a:solidFill>
              </a:rPr>
              <a:t> in order to </a:t>
            </a:r>
            <a:r>
              <a:rPr lang="da-DK" sz="1200" b="1" dirty="0">
                <a:solidFill>
                  <a:schemeClr val="bg1"/>
                </a:solidFill>
              </a:rPr>
              <a:t>sustain weight loss and other health benefits.</a:t>
            </a:r>
            <a:endParaRPr lang="da-DK" sz="1200"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panose="020B05040101010101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0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3319966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3751414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go onto the mechanisms undelaying obesity , we need to understand the very essence of the condition and that is the often-misrepresented</a:t>
            </a:r>
          </a:p>
          <a:p>
            <a:endParaRPr lang="en-US" dirty="0"/>
          </a:p>
          <a:p>
            <a:endParaRPr lang="en-US" dirty="0"/>
          </a:p>
          <a:p>
            <a:r>
              <a:rPr lang="en-US" dirty="0"/>
              <a:t>Ant this is looking at Adipose tissue (know as fat) and its import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493298-6094-4361-B311-891E531296F6}" type="slidenum">
              <a:rPr kumimoji="0" lang="de-CH"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32861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8593">
              <a:defRPr/>
            </a:pP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40913387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814434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5274C7-3C95-4AD2-8A35-8F8F3ED72724}"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32783340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This data challenges the notion of 'healthy obesity’ or even “metabolically healthy </a:t>
            </a:r>
            <a:r>
              <a:rPr lang="en-GB" sz="1200" b="0" i="0" kern="1200" dirty="0" err="1">
                <a:solidFill>
                  <a:schemeClr val="tx1"/>
                </a:solidFill>
                <a:effectLst/>
                <a:latin typeface="+mn-lt"/>
                <a:ea typeface="+mn-ea"/>
                <a:cs typeface="+mn-cs"/>
              </a:rPr>
              <a:t>obesiy”by</a:t>
            </a:r>
            <a:r>
              <a:rPr lang="en-GB" sz="1200" b="0" i="0" kern="1200" dirty="0">
                <a:solidFill>
                  <a:schemeClr val="tx1"/>
                </a:solidFill>
                <a:effectLst/>
                <a:latin typeface="+mn-lt"/>
                <a:ea typeface="+mn-ea"/>
                <a:cs typeface="+mn-cs"/>
              </a:rPr>
              <a:t> emphasizing that excess weight alone—without any other metabolic issues—is a critical, standalone driver of cardiovascular risk. It underscores the importance of weight management as a key intervention for reducing CV events, even in people who might appear 'metabolically healthy.’”</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Using data from 3.5 million UK adults, we can see that individuals classified as </a:t>
            </a:r>
            <a:r>
              <a:rPr lang="en-GB" sz="1200" b="1" i="0" kern="1200" dirty="0">
                <a:solidFill>
                  <a:schemeClr val="tx1"/>
                </a:solidFill>
                <a:effectLst/>
                <a:latin typeface="+mn-lt"/>
                <a:ea typeface="+mn-ea"/>
                <a:cs typeface="+mn-cs"/>
              </a:rPr>
              <a:t>overweight</a:t>
            </a:r>
            <a:r>
              <a:rPr lang="en-GB" sz="1200" b="0" i="0" kern="1200" dirty="0">
                <a:solidFill>
                  <a:schemeClr val="tx1"/>
                </a:solidFill>
                <a:effectLst/>
                <a:latin typeface="+mn-lt"/>
                <a:ea typeface="+mn-ea"/>
                <a:cs typeface="+mn-cs"/>
              </a:rPr>
              <a:t> or </a:t>
            </a:r>
            <a:r>
              <a:rPr lang="en-GB" sz="1200" b="1" i="0" kern="1200" dirty="0">
                <a:solidFill>
                  <a:schemeClr val="tx1"/>
                </a:solidFill>
                <a:effectLst/>
                <a:latin typeface="+mn-lt"/>
                <a:ea typeface="+mn-ea"/>
                <a:cs typeface="+mn-cs"/>
              </a:rPr>
              <a:t>obese</a:t>
            </a:r>
            <a:r>
              <a:rPr lang="en-GB" sz="1200" b="0" i="0" kern="1200" dirty="0">
                <a:solidFill>
                  <a:schemeClr val="tx1"/>
                </a:solidFill>
                <a:effectLst/>
                <a:latin typeface="+mn-lt"/>
                <a:ea typeface="+mn-ea"/>
                <a:cs typeface="+mn-cs"/>
              </a:rPr>
              <a:t> have a higher adjusted hazard ratio (HR) for major CV events—including coronary heart disease, cerebrovascular disease, and heart failure—compared to those with a normal weight. Notably, this increased risk is independent of traditional metabolic risk factors.</a:t>
            </a:r>
            <a:endParaRPr lang="en-GB" dirty="0"/>
          </a:p>
        </p:txBody>
      </p:sp>
    </p:spTree>
    <p:extLst>
      <p:ext uri="{BB962C8B-B14F-4D97-AF65-F5344CB8AC3E}">
        <p14:creationId xmlns:p14="http://schemas.microsoft.com/office/powerpoint/2010/main" val="2948104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Notes Placeholder 3"/>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29083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3 </a:t>
            </a:r>
            <a:r>
              <a:rPr lang="en-GB" dirty="0" err="1"/>
              <a:t>obecviy</a:t>
            </a:r>
            <a:r>
              <a:rPr lang="en-GB" dirty="0"/>
              <a:t> 4 million , his </a:t>
            </a:r>
          </a:p>
        </p:txBody>
      </p:sp>
    </p:spTree>
    <p:extLst>
      <p:ext uri="{BB962C8B-B14F-4D97-AF65-F5344CB8AC3E}">
        <p14:creationId xmlns:p14="http://schemas.microsoft.com/office/powerpoint/2010/main" val="14343644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4977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3674"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pis For Office" panose="020B0504010101010104" pitchFamily="34" charset="0"/>
                <a:ea typeface="+mn-ea"/>
                <a:cs typeface="+mn-cs"/>
              </a:rPr>
              <a:pPr marL="0" marR="0" lvl="0" indent="0" algn="r" defTabSz="913674"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1955839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rPr>
              <a:t>Date</a:t>
            </a:r>
          </a:p>
        </p:txBody>
      </p:sp>
    </p:spTree>
    <p:extLst>
      <p:ext uri="{BB962C8B-B14F-4D97-AF65-F5344CB8AC3E}">
        <p14:creationId xmlns:p14="http://schemas.microsoft.com/office/powerpoint/2010/main" val="23830233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SPEAK ABAOUT SA GUIDELINES</a:t>
            </a:r>
          </a:p>
          <a:p>
            <a:endParaRPr lang="en-GB" dirty="0"/>
          </a:p>
          <a:p>
            <a:r>
              <a:rPr lang="en-GB" dirty="0"/>
              <a:t>Obesity is classed as a non-communicable disease.</a:t>
            </a:r>
            <a:r>
              <a:rPr lang="en-GB" baseline="30000" dirty="0"/>
              <a:t>1</a:t>
            </a:r>
            <a:endParaRPr lang="en-GB" dirty="0"/>
          </a:p>
          <a:p>
            <a:pPr marL="0" indent="0">
              <a:buNone/>
            </a:pPr>
            <a:r>
              <a:rPr lang="en-GB" dirty="0"/>
              <a:t>These definitions for obesity are similar in that they highlight the chronic and progressive nature of this condition:</a:t>
            </a:r>
            <a:endParaRPr lang="en-US" dirty="0"/>
          </a:p>
          <a:p>
            <a:pPr marL="531441" lvl="2" indent="-171450">
              <a:buChar char="•"/>
            </a:pPr>
            <a:r>
              <a:rPr lang="en-GB" dirty="0"/>
              <a:t>The AMA (American Medical Association) definition presents this condition as a public health problem</a:t>
            </a:r>
            <a:r>
              <a:rPr lang="en-GB" baseline="30000" dirty="0"/>
              <a:t>2</a:t>
            </a:r>
            <a:endParaRPr lang="en-GB" dirty="0"/>
          </a:p>
          <a:p>
            <a:pPr marL="531441" lvl="2" indent="-171450">
              <a:buFont typeface="Arial" panose="020B0604020202020204" pitchFamily="34" charset="0"/>
              <a:buChar char="•"/>
            </a:pPr>
            <a:r>
              <a:rPr lang="en-GB" dirty="0"/>
              <a:t>The Royal College of Physicians' definition includes factors other than lifestyle choice such as health inequities, genetic influences, and social factors</a:t>
            </a:r>
            <a:r>
              <a:rPr lang="en-GB" baseline="30000" dirty="0"/>
              <a:t>3</a:t>
            </a:r>
            <a:endParaRPr lang="en-GB" dirty="0"/>
          </a:p>
          <a:p>
            <a:pPr marL="531441" lvl="2" indent="-171450">
              <a:buChar char="•"/>
            </a:pPr>
            <a:r>
              <a:rPr lang="en-GB" dirty="0"/>
              <a:t>The European Commission and EAS definitions illustrate obesity as a gateway to other non-communicable diseases such as diabetes and cancer</a:t>
            </a:r>
            <a:r>
              <a:rPr lang="en-GB" baseline="30000" dirty="0"/>
              <a:t>4</a:t>
            </a:r>
            <a:endParaRPr lang="en-GB" dirty="0"/>
          </a:p>
          <a:p>
            <a:pPr marL="531441" lvl="2" indent="-171450">
              <a:buChar char="•"/>
            </a:pPr>
            <a:r>
              <a:rPr lang="en-GB" dirty="0"/>
              <a:t>Academy of Nutrition and Dietetics definition mentions the role of qualified practitioners such as registered dietitians and nutritionists in treating this condition</a:t>
            </a:r>
            <a:r>
              <a:rPr lang="en-GB" baseline="30000" dirty="0"/>
              <a:t>5</a:t>
            </a:r>
          </a:p>
          <a:p>
            <a:pPr marL="359991" lvl="2" indent="0">
              <a:buNone/>
            </a:pPr>
            <a:endParaRPr lang="en-GB" baseline="30000" dirty="0"/>
          </a:p>
          <a:p>
            <a:pPr marL="171441"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a:t>EASO: </a:t>
            </a:r>
            <a:r>
              <a:rPr kumimoji="0" lang="en-GB" sz="1200" b="0" i="0" u="none" strike="noStrike" kern="1200" cap="none" spc="0" normalizeH="0" baseline="0" noProof="0" dirty="0">
                <a:ln>
                  <a:noFill/>
                </a:ln>
                <a:solidFill>
                  <a:srgbClr val="005AD2"/>
                </a:solidFill>
                <a:effectLst/>
                <a:uLnTx/>
                <a:uFillTx/>
                <a:latin typeface="Apis For Office"/>
                <a:ea typeface="+mn-ea"/>
                <a:cs typeface="+mn-cs"/>
              </a:rPr>
              <a:t>European Association for the Study of Obesity</a:t>
            </a:r>
          </a:p>
          <a:p>
            <a:pPr marL="171441"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5AD2"/>
                </a:solidFill>
                <a:effectLst/>
                <a:uLnTx/>
                <a:uFillTx/>
                <a:latin typeface="Apis For Office"/>
                <a:ea typeface="+mn-ea"/>
                <a:cs typeface="+mn-cs"/>
              </a:rPr>
              <a:t>WO: World Obesity Federation</a:t>
            </a:r>
          </a:p>
          <a:p>
            <a:pPr marL="171441"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5AD2"/>
                </a:solidFill>
                <a:effectLst/>
                <a:uLnTx/>
                <a:uFillTx/>
                <a:latin typeface="Apis For Office"/>
                <a:ea typeface="+mn-ea"/>
                <a:cs typeface="+mn-cs"/>
              </a:rPr>
              <a:t>AOASO: Asia Oceania Association for the Study of Obesity</a:t>
            </a:r>
            <a:endParaRPr kumimoji="0" lang="en-GB" sz="1200" b="0" i="0" u="none" strike="noStrike" kern="1200" cap="none" spc="0" normalizeH="0" baseline="30000" noProof="0" dirty="0">
              <a:ln>
                <a:noFill/>
              </a:ln>
              <a:solidFill>
                <a:srgbClr val="005AD2"/>
              </a:solidFill>
              <a:effectLst/>
              <a:uLnTx/>
              <a:uFillTx/>
              <a:latin typeface="Apis For Office"/>
              <a:ea typeface="+mn-ea"/>
              <a:cs typeface="+mn-cs"/>
            </a:endParaRPr>
          </a:p>
          <a:p>
            <a:pPr marL="171441"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a:buNone/>
            </a:pPr>
            <a:endParaRPr lang="en-GB" dirty="0"/>
          </a:p>
          <a:p>
            <a:r>
              <a:rPr lang="en-GB" dirty="0"/>
              <a:t>1. Burki T. Lancet Diabetes-</a:t>
            </a:r>
            <a:r>
              <a:rPr lang="en-GB" dirty="0" err="1"/>
              <a:t>endocrinol</a:t>
            </a:r>
            <a:r>
              <a:rPr lang="en-GB" dirty="0"/>
              <a:t>. In Focus. 2021;9:418. </a:t>
            </a:r>
          </a:p>
          <a:p>
            <a:r>
              <a:rPr lang="en-GB" sz="800" dirty="0">
                <a:solidFill>
                  <a:srgbClr val="001965"/>
                </a:solidFill>
              </a:rPr>
              <a:t>2. AMA resolutions. June 2012. Available </a:t>
            </a:r>
            <a:r>
              <a:rPr lang="en-US" sz="800" dirty="0">
                <a:solidFill>
                  <a:srgbClr val="001965"/>
                </a:solidFill>
              </a:rPr>
              <a:t>at https://www.ama-assn.org/sites/ama-assn.org/files/corp/media-browser/public/hod/a12-resolutions_0.pdf. Accessed June 2024.</a:t>
            </a:r>
          </a:p>
          <a:p>
            <a:r>
              <a:rPr lang="en-US" sz="800" dirty="0">
                <a:solidFill>
                  <a:srgbClr val="001965"/>
                </a:solidFill>
              </a:rPr>
              <a:t>3. </a:t>
            </a:r>
            <a:r>
              <a:rPr lang="en-GB" sz="800" dirty="0">
                <a:solidFill>
                  <a:srgbClr val="001965"/>
                </a:solidFill>
              </a:rPr>
              <a:t>Royal College of Physicians. Anon. BMJ 2019;364:l45.</a:t>
            </a:r>
          </a:p>
          <a:p>
            <a:r>
              <a:rPr lang="en-GB" sz="800" dirty="0">
                <a:solidFill>
                  <a:srgbClr val="001965"/>
                </a:solidFill>
              </a:rPr>
              <a:t>4. </a:t>
            </a:r>
            <a:r>
              <a:rPr lang="en-CA" sz="800" dirty="0">
                <a:solidFill>
                  <a:srgbClr val="001965"/>
                </a:solidFill>
              </a:rPr>
              <a:t>European Commission. </a:t>
            </a:r>
            <a:r>
              <a:rPr lang="en-US" sz="800" dirty="0">
                <a:solidFill>
                  <a:srgbClr val="001965"/>
                </a:solidFill>
              </a:rPr>
              <a:t>Obesity prevention</a:t>
            </a:r>
            <a:r>
              <a:rPr lang="en-GB" sz="800" dirty="0">
                <a:solidFill>
                  <a:srgbClr val="001965"/>
                </a:solidFill>
              </a:rPr>
              <a:t>. Available from https://knowledge4policy.ec.europa.eu/health-promotion-knowledge-gateway/obesity_en. Accessed June 2024.</a:t>
            </a:r>
          </a:p>
          <a:p>
            <a:r>
              <a:rPr lang="en-GB" sz="800" dirty="0">
                <a:solidFill>
                  <a:srgbClr val="001965"/>
                </a:solidFill>
              </a:rPr>
              <a:t>5. Raynor et al. J </a:t>
            </a:r>
            <a:r>
              <a:rPr lang="en-GB" sz="800" dirty="0" err="1">
                <a:solidFill>
                  <a:srgbClr val="001965"/>
                </a:solidFill>
              </a:rPr>
              <a:t>Acad</a:t>
            </a:r>
            <a:r>
              <a:rPr lang="en-GB" sz="800" dirty="0">
                <a:solidFill>
                  <a:srgbClr val="001965"/>
                </a:solidFill>
              </a:rPr>
              <a:t> </a:t>
            </a:r>
            <a:r>
              <a:rPr lang="en-GB" sz="800" dirty="0" err="1">
                <a:solidFill>
                  <a:srgbClr val="001965"/>
                </a:solidFill>
              </a:rPr>
              <a:t>Nutr</a:t>
            </a:r>
            <a:r>
              <a:rPr lang="en-GB" sz="800" dirty="0">
                <a:solidFill>
                  <a:srgbClr val="001965"/>
                </a:solidFill>
              </a:rPr>
              <a:t> Diet 2016;116:129‒47.</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932918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000" b="0" i="0" u="none" strike="noStrike" kern="1200" cap="none" spc="0" normalizeH="0" baseline="0" noProof="0" dirty="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3424311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According to World Obesity Atlas 2022, the global prevalence of obesity is expected to reach 1 billion people by 2030</a:t>
            </a:r>
            <a:endParaRPr lang="en-US" dirty="0"/>
          </a:p>
          <a:p>
            <a:pPr marL="171450" indent="-171450">
              <a:buFont typeface="Arial" panose="020B0604020202020204" pitchFamily="34" charset="0"/>
              <a:buChar char="•"/>
            </a:pPr>
            <a:r>
              <a:rPr lang="en-GB" dirty="0"/>
              <a:t>17.5% of adults are expected to have BMI≥30kg/m</a:t>
            </a:r>
            <a:r>
              <a:rPr lang="en-GB" baseline="30000" dirty="0"/>
              <a:t>2</a:t>
            </a:r>
            <a:r>
              <a:rPr lang="en-GB" dirty="0"/>
              <a:t> by 2030</a:t>
            </a:r>
          </a:p>
          <a:p>
            <a:pPr marL="171450" indent="-171450">
              <a:buFont typeface="Arial" panose="020B0604020202020204" pitchFamily="34" charset="0"/>
              <a:buChar char="•"/>
            </a:pPr>
            <a:r>
              <a:rPr lang="en-GB" dirty="0"/>
              <a:t>5.7% of adults are expected to have BMI ≥35kg/m</a:t>
            </a:r>
            <a:r>
              <a:rPr lang="en-GB" baseline="30000" dirty="0"/>
              <a:t>2 </a:t>
            </a:r>
            <a:r>
              <a:rPr lang="en-GB" dirty="0"/>
              <a:t>by 2030</a:t>
            </a:r>
          </a:p>
          <a:p>
            <a:pPr marL="171450" indent="-171450">
              <a:buFont typeface="Arial" panose="020B0604020202020204" pitchFamily="34" charset="0"/>
              <a:buChar char="•"/>
            </a:pPr>
            <a:r>
              <a:rPr lang="en-GB" dirty="0"/>
              <a:t>And 1.9% of adults are expected to have BMI ≥40kg/m</a:t>
            </a:r>
            <a:r>
              <a:rPr lang="en-GB" baseline="30000" dirty="0"/>
              <a:t>2</a:t>
            </a:r>
            <a:r>
              <a:rPr lang="en-GB" dirty="0"/>
              <a:t> by 2030</a:t>
            </a:r>
          </a:p>
          <a:p>
            <a:pPr marL="171450" indent="-171450">
              <a:buFont typeface="Wingdings" panose="020B0604020202020204" pitchFamily="34" charset="0"/>
              <a:buChar char="§"/>
            </a:pPr>
            <a:endParaRPr lang="en-GB" dirty="0"/>
          </a:p>
          <a:p>
            <a:pPr>
              <a:buNone/>
            </a:pPr>
            <a:r>
              <a:rPr lang="en-GB" b="1" dirty="0"/>
              <a:t>References:</a:t>
            </a:r>
            <a:endParaRPr lang="en-GB" dirty="0"/>
          </a:p>
          <a:p>
            <a:pPr marL="228600" indent="-228600">
              <a:buAutoNum type="arabicPeriod"/>
            </a:pPr>
            <a:r>
              <a:rPr lang="en-US" i="0" dirty="0"/>
              <a:t>World Obesity Federation: World Obesity Atlas, 2022. Available from: https://s3-eu-west-1.amazonaws.com/wof-files/World_Obesity_Atlas_2022.pdf. Accessed October 2022</a:t>
            </a:r>
          </a:p>
          <a:p>
            <a:pPr marL="228600" indent="-228600">
              <a:buAutoNum type="arabicPeriod"/>
            </a:pPr>
            <a:r>
              <a:rPr lang="en-ZA" b="0" i="0" dirty="0">
                <a:solidFill>
                  <a:srgbClr val="303030"/>
                </a:solidFill>
                <a:effectLst/>
                <a:latin typeface="Cambria" panose="02040503050406030204" pitchFamily="18" charset="0"/>
              </a:rPr>
              <a:t>1. </a:t>
            </a:r>
            <a:r>
              <a:rPr lang="en-ZA" b="0" i="0" dirty="0" err="1">
                <a:solidFill>
                  <a:srgbClr val="303030"/>
                </a:solidFill>
                <a:effectLst/>
                <a:latin typeface="Cambria" panose="02040503050406030204" pitchFamily="18" charset="0"/>
              </a:rPr>
              <a:t>Lobstein</a:t>
            </a:r>
            <a:r>
              <a:rPr lang="en-ZA" b="0" i="0" dirty="0">
                <a:solidFill>
                  <a:srgbClr val="303030"/>
                </a:solidFill>
                <a:effectLst/>
                <a:latin typeface="Cambria" panose="02040503050406030204" pitchFamily="18" charset="0"/>
              </a:rPr>
              <a:t> T, </a:t>
            </a:r>
            <a:r>
              <a:rPr lang="en-ZA" b="0" i="0" dirty="0" err="1">
                <a:solidFill>
                  <a:srgbClr val="303030"/>
                </a:solidFill>
                <a:effectLst/>
                <a:latin typeface="Cambria" panose="02040503050406030204" pitchFamily="18" charset="0"/>
              </a:rPr>
              <a:t>Brinsden</a:t>
            </a:r>
            <a:r>
              <a:rPr lang="en-ZA" b="0" i="0" dirty="0">
                <a:solidFill>
                  <a:srgbClr val="303030"/>
                </a:solidFill>
                <a:effectLst/>
                <a:latin typeface="Cambria" panose="02040503050406030204" pitchFamily="18" charset="0"/>
              </a:rPr>
              <a:t> H. Obesity: Missing the 2025 global targets – Trends, costs and country reports. [cited 2020 March]. Available from </a:t>
            </a:r>
            <a:r>
              <a:rPr lang="en-ZA" b="0" i="0" u="sng" dirty="0">
                <a:solidFill>
                  <a:srgbClr val="376FAA"/>
                </a:solidFill>
                <a:effectLst/>
                <a:latin typeface="Cambria" panose="02040503050406030204" pitchFamily="18" charset="0"/>
                <a:hlinkClick r:id="rId3"/>
              </a:rPr>
              <a:t>http://s3-eu-west-1.amazonaws.com/wof-files/WOF_Missing_the_2025_Global_Targets_Report_FINAL_WEB.pdf</a:t>
            </a:r>
            <a:r>
              <a:rPr lang="en-ZA" b="0" i="0" dirty="0">
                <a:solidFill>
                  <a:srgbClr val="303030"/>
                </a:solidFill>
                <a:effectLst/>
                <a:latin typeface="Cambria" panose="02040503050406030204" pitchFamily="18" charset="0"/>
              </a:rPr>
              <a:t> [</a:t>
            </a:r>
            <a:r>
              <a:rPr lang="en-ZA" b="0" i="0" u="sng" dirty="0">
                <a:solidFill>
                  <a:srgbClr val="376FAA"/>
                </a:solidFill>
                <a:effectLst/>
                <a:latin typeface="Cambria" panose="02040503050406030204" pitchFamily="18" charset="0"/>
                <a:hlinkClick r:id="rId4"/>
              </a:rPr>
              <a:t>Ref list</a:t>
            </a:r>
            <a:r>
              <a:rPr lang="en-ZA" b="0" i="0" dirty="0">
                <a:solidFill>
                  <a:srgbClr val="303030"/>
                </a:solidFill>
                <a:effectLst/>
                <a:latin typeface="Cambria" panose="02040503050406030204" pitchFamily="18" charset="0"/>
              </a:rPr>
              <a:t>]</a:t>
            </a:r>
            <a:endParaRPr lang="en-GB" i="0" dirty="0"/>
          </a:p>
          <a:p>
            <a:pPr>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20855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err="1"/>
              <a:t>asdfsadfasdfsdf</a:t>
            </a:r>
            <a:endParaRPr lang="en-ZA" sz="1200"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005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2900" lvl="0" indent="-342900">
              <a:lnSpc>
                <a:spcPct val="107000"/>
              </a:lnSpc>
              <a:spcAft>
                <a:spcPts val="0"/>
              </a:spcAft>
              <a:buFont typeface="Arial" panose="020B0604020202020204" pitchFamily="34" charset="0"/>
              <a:buChar char="•"/>
            </a:pP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Obesity has a major impact on life expectancy</a:t>
            </a:r>
          </a:p>
          <a:p>
            <a:pPr marL="342900" lvl="0" indent="-342900">
              <a:lnSpc>
                <a:spcPct val="107000"/>
              </a:lnSpc>
              <a:spcAft>
                <a:spcPts val="0"/>
              </a:spcAft>
              <a:buFont typeface="Arial" panose="020B0604020202020204" pitchFamily="34" charset="0"/>
              <a:buChar char="•"/>
            </a:pP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It is estimated that almost 80% of people in the normal BMI range at age 35 will reach 70 years of age. However, this falls to approximately 70% for those with a BMI of 30–35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62% for a BMI of 35–40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and ~50% for a BMI of 40–50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endParaRPr lang="en-GB" sz="1000" dirty="0">
              <a:latin typeface="Apis For Office" panose="020B0504010101010104" pitchFamily="34" charset="0"/>
              <a:ea typeface="Apis For Office" panose="020B0504010101010104" pitchFamily="34" charset="0"/>
              <a:cs typeface="Apis For Office" panose="020B0504010101010104" pitchFamily="34" charset="0"/>
            </a:endParaRPr>
          </a:p>
          <a:p>
            <a:pPr marL="342900" lvl="0" indent="-342900">
              <a:lnSpc>
                <a:spcPct val="107000"/>
              </a:lnSpc>
              <a:spcAft>
                <a:spcPts val="0"/>
              </a:spcAft>
              <a:buFont typeface="Arial" panose="020B0604020202020204" pitchFamily="34" charset="0"/>
              <a:buChar char="•"/>
            </a:pP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This equates to an increase in mortality of around 30% for every 5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increase in BMI (hazard ratio: 1.29 per 5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95% CI 1.27-1.32]), and at 30–35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median survival is reduced by 2–4 years, which increases to 8–10 years with a BMI of 40–45 kg/m</a:t>
            </a:r>
            <a:r>
              <a:rPr lang="en-GB" sz="10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2</a:t>
            </a:r>
            <a:endParaRPr lang="en-GB" sz="1000" dirty="0">
              <a:latin typeface="Apis For Office" panose="020B0504010101010104" pitchFamily="34" charset="0"/>
              <a:ea typeface="Apis For Office" panose="020B0504010101010104" pitchFamily="34" charset="0"/>
              <a:cs typeface="Apis For Office" panose="020B0504010101010104" pitchFamily="34" charset="0"/>
            </a:endParaRPr>
          </a:p>
          <a:p>
            <a:pPr>
              <a:lnSpc>
                <a:spcPct val="107000"/>
              </a:lnSpc>
              <a:spcAft>
                <a:spcPts val="0"/>
              </a:spcAft>
            </a:pP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endParaRPr lang="en-GB" sz="1000" dirty="0">
              <a:latin typeface="Apis For Office" panose="020B0504010101010104" pitchFamily="34" charset="0"/>
              <a:ea typeface="Apis For Office" panose="020B0504010101010104" pitchFamily="34" charset="0"/>
              <a:cs typeface="Apis For Office" panose="020B0504010101010104" pitchFamily="34" charset="0"/>
            </a:endParaRPr>
          </a:p>
          <a:p>
            <a:pPr>
              <a:lnSpc>
                <a:spcPct val="107000"/>
              </a:lnSpc>
              <a:spcAft>
                <a:spcPts val="0"/>
              </a:spcAft>
            </a:pPr>
            <a:r>
              <a:rPr lang="en-GB" sz="1000"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References:</a:t>
            </a:r>
            <a:endParaRPr lang="en-GB" sz="1000" dirty="0">
              <a:latin typeface="Apis For Office" panose="020B0504010101010104" pitchFamily="34" charset="0"/>
              <a:ea typeface="Apis For Office" panose="020B0504010101010104" pitchFamily="34" charset="0"/>
              <a:cs typeface="Apis For Office" panose="020B0504010101010104" pitchFamily="34" charset="0"/>
            </a:endParaRPr>
          </a:p>
          <a:p>
            <a:pPr marL="171450" indent="-171450">
              <a:lnSpc>
                <a:spcPct val="107000"/>
              </a:lnSpc>
              <a:spcAft>
                <a:spcPts val="0"/>
              </a:spcAft>
              <a:buFont typeface="Arial" panose="020B0604020202020204" pitchFamily="34" charset="0"/>
              <a:buChar char="•"/>
            </a:pP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Prospective Studies Collaboration, Whitlock G, et al. Body-mass index and cause-specific mortality in 900 000 adults: collaborative analyses of 57 prospective studies. </a:t>
            </a:r>
            <a:r>
              <a:rPr lang="en-GB" sz="1000" i="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Lancet</a:t>
            </a:r>
            <a:r>
              <a:rPr lang="en-GB"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2009;373:1083–96.</a:t>
            </a:r>
            <a:endParaRPr lang="en-GB" sz="10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 name="Slide Number Placeholder 5"/>
          <p:cNvSpPr txBox="1">
            <a:spLocks/>
          </p:cNvSpPr>
          <p:nvPr/>
        </p:nvSpPr>
        <p:spPr>
          <a:xfrm>
            <a:off x="3744378" y="10057157"/>
            <a:ext cx="2864517" cy="53125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rPr>
              <a:t>14</a:t>
            </a:r>
          </a:p>
        </p:txBody>
      </p:sp>
    </p:spTree>
    <p:extLst>
      <p:ext uri="{BB962C8B-B14F-4D97-AF65-F5344CB8AC3E}">
        <p14:creationId xmlns:p14="http://schemas.microsoft.com/office/powerpoint/2010/main" val="4104435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684" indent="-172684" defTabSz="920980">
              <a:buFont typeface="Arial" panose="020B0604020202020204" pitchFamily="34" charset="0"/>
              <a:buChar char="•"/>
              <a:defRPr/>
            </a:pPr>
            <a:r>
              <a:rPr lang="en-GB" sz="1050" kern="1200" dirty="0">
                <a:solidFill>
                  <a:srgbClr val="001965"/>
                </a:solidFill>
                <a:latin typeface="+mn-lt"/>
                <a:ea typeface="+mn-ea"/>
                <a:cs typeface="+mn-cs"/>
              </a:rPr>
              <a:t>Not only is obesity associated with increased mortality, it is also associated with significantly increased morbidity, which can affect almost every organ system</a:t>
            </a:r>
          </a:p>
          <a:p>
            <a:pPr marL="172684" indent="-172684" defTabSz="920980">
              <a:buFont typeface="Arial" panose="020B0604020202020204" pitchFamily="34" charset="0"/>
              <a:buChar char="•"/>
              <a:defRPr/>
            </a:pPr>
            <a:r>
              <a:rPr lang="en-GB" sz="1050" kern="1200" dirty="0">
                <a:solidFill>
                  <a:srgbClr val="001965"/>
                </a:solidFill>
                <a:latin typeface="+mn-lt"/>
                <a:ea typeface="+mn-ea"/>
                <a:cs typeface="+mn-cs"/>
              </a:rPr>
              <a:t>The organs affected by obesity can be broadly grouped into three classes: metabolic </a:t>
            </a:r>
            <a:r>
              <a:rPr lang="en-GB" sz="1050" i="1" kern="1200" dirty="0">
                <a:solidFill>
                  <a:srgbClr val="001965"/>
                </a:solidFill>
                <a:latin typeface="+mn-lt"/>
                <a:ea typeface="+mn-ea"/>
                <a:cs typeface="+mn-cs"/>
              </a:rPr>
              <a:t>[click]</a:t>
            </a:r>
            <a:r>
              <a:rPr lang="en-GB" sz="1050" kern="1200" dirty="0">
                <a:solidFill>
                  <a:srgbClr val="001965"/>
                </a:solidFill>
                <a:latin typeface="+mn-lt"/>
                <a:ea typeface="+mn-ea"/>
                <a:cs typeface="+mn-cs"/>
              </a:rPr>
              <a:t>, mechanical </a:t>
            </a:r>
            <a:r>
              <a:rPr lang="en-GB" sz="1050" i="1" kern="1200" dirty="0">
                <a:solidFill>
                  <a:srgbClr val="001965"/>
                </a:solidFill>
                <a:latin typeface="+mn-lt"/>
                <a:ea typeface="+mn-ea"/>
                <a:cs typeface="+mn-cs"/>
              </a:rPr>
              <a:t>[click], </a:t>
            </a:r>
            <a:r>
              <a:rPr lang="en-GB" sz="1050" kern="1200" dirty="0">
                <a:solidFill>
                  <a:srgbClr val="001965"/>
                </a:solidFill>
                <a:latin typeface="+mn-lt"/>
                <a:ea typeface="+mn-ea"/>
                <a:cs typeface="+mn-cs"/>
              </a:rPr>
              <a:t>and mental </a:t>
            </a:r>
            <a:r>
              <a:rPr lang="en-GB" sz="1050" i="1" kern="1200" dirty="0">
                <a:solidFill>
                  <a:srgbClr val="001965"/>
                </a:solidFill>
                <a:latin typeface="+mn-lt"/>
                <a:ea typeface="+mn-ea"/>
                <a:cs typeface="+mn-cs"/>
              </a:rPr>
              <a:t>[click]</a:t>
            </a:r>
          </a:p>
          <a:p>
            <a:endParaRPr lang="en-GB" sz="1050" dirty="0"/>
          </a:p>
        </p:txBody>
      </p:sp>
    </p:spTree>
    <p:extLst>
      <p:ext uri="{BB962C8B-B14F-4D97-AF65-F5344CB8AC3E}">
        <p14:creationId xmlns:p14="http://schemas.microsoft.com/office/powerpoint/2010/main" val="2762765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Notes Placeholder 2"/>
          <p:cNvSpPr>
            <a:spLocks noGrp="1"/>
          </p:cNvSpPr>
          <p:nvPr>
            <p:ph type="body" idx="1"/>
          </p:nvPr>
        </p:nvSpPr>
        <p:spPr bwMode="auto">
          <a:xfrm>
            <a:off x="389327" y="5773257"/>
            <a:ext cx="6229221" cy="583722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66526" eaLnBrk="0" fontAlgn="base" hangingPunct="0">
              <a:spcBef>
                <a:spcPct val="30000"/>
              </a:spcBef>
              <a:spcAft>
                <a:spcPct val="0"/>
              </a:spcAft>
              <a:defRPr/>
            </a:pPr>
            <a:r>
              <a:rPr lang="en-GB" dirty="0"/>
              <a:t>There are significant gaps in obesity treatment. </a:t>
            </a:r>
          </a:p>
          <a:p>
            <a:pPr defTabSz="966526" eaLnBrk="0" fontAlgn="base" hangingPunct="0">
              <a:spcBef>
                <a:spcPct val="30000"/>
              </a:spcBef>
              <a:spcAft>
                <a:spcPct val="0"/>
              </a:spcAft>
              <a:defRPr/>
            </a:pPr>
            <a:endParaRPr lang="en-GB" dirty="0"/>
          </a:p>
          <a:p>
            <a:pPr defTabSz="966526" eaLnBrk="0" fontAlgn="base" hangingPunct="0">
              <a:spcBef>
                <a:spcPct val="30000"/>
              </a:spcBef>
              <a:spcAft>
                <a:spcPct val="0"/>
              </a:spcAft>
              <a:defRPr/>
            </a:pPr>
            <a:r>
              <a:rPr lang="en-GB" dirty="0"/>
              <a:t>It is estimated that 37.9% of the US adult population has obesity.</a:t>
            </a:r>
            <a:r>
              <a:rPr lang="en-GB" baseline="30000" dirty="0"/>
              <a:t>1,2</a:t>
            </a:r>
            <a:r>
              <a:rPr lang="en-GB" baseline="30000" dirty="0">
                <a:solidFill>
                  <a:srgbClr val="FF0000"/>
                </a:solidFill>
              </a:rPr>
              <a:t> </a:t>
            </a:r>
            <a:r>
              <a:rPr lang="en-GB" dirty="0"/>
              <a:t>Despite this high prevalence, less than 30% of patients with obesity actually received a formal diagnosis.</a:t>
            </a:r>
            <a:r>
              <a:rPr lang="en-GB" baseline="30000" dirty="0"/>
              <a:t>3</a:t>
            </a:r>
            <a:r>
              <a:rPr lang="en-GB" dirty="0"/>
              <a:t> Compounding this problem, even fewer patients are being treated with an evidence-based anti-obesity treatment.</a:t>
            </a:r>
            <a:r>
              <a:rPr lang="en-GB" baseline="30000" dirty="0"/>
              <a:t>4,5</a:t>
            </a:r>
          </a:p>
          <a:p>
            <a:pPr defTabSz="966526" eaLnBrk="0" fontAlgn="base" hangingPunct="0">
              <a:spcBef>
                <a:spcPct val="30000"/>
              </a:spcBef>
              <a:spcAft>
                <a:spcPct val="0"/>
              </a:spcAft>
              <a:defRPr/>
            </a:pPr>
            <a:endParaRPr lang="en-GB" b="1" baseline="30000" dirty="0"/>
          </a:p>
          <a:p>
            <a:pPr defTabSz="966526" eaLnBrk="0" fontAlgn="base" hangingPunct="0">
              <a:spcBef>
                <a:spcPct val="30000"/>
              </a:spcBef>
              <a:spcAft>
                <a:spcPct val="0"/>
              </a:spcAft>
              <a:defRPr/>
            </a:pPr>
            <a:r>
              <a:rPr lang="en-GB" b="1" dirty="0"/>
              <a:t>References</a:t>
            </a:r>
          </a:p>
          <a:p>
            <a:pPr marL="228600" indent="-228600">
              <a:buAutoNum type="arabicPeriod"/>
            </a:pPr>
            <a:r>
              <a:rPr lang="en-GB" dirty="0">
                <a:solidFill>
                  <a:srgbClr val="002060"/>
                </a:solidFill>
              </a:rPr>
              <a:t>Colby SL and Ortman JM. Projections of the Size and Composition of the U.S. Population: 2014 to 2060</a:t>
            </a:r>
            <a:r>
              <a:rPr lang="en-GB" i="1" dirty="0">
                <a:solidFill>
                  <a:srgbClr val="002060"/>
                </a:solidFill>
              </a:rPr>
              <a:t>, Current Population Reports</a:t>
            </a:r>
            <a:r>
              <a:rPr lang="en-GB" dirty="0">
                <a:solidFill>
                  <a:srgbClr val="002060"/>
                </a:solidFill>
              </a:rPr>
              <a:t>, P25-1143, U.S. Census Bureau, Washington, DC, 2014.</a:t>
            </a:r>
            <a:r>
              <a:rPr lang="en-GB" dirty="0">
                <a:solidFill>
                  <a:srgbClr val="002060"/>
                </a:solidFill>
                <a:ea typeface="Apis For Office" panose="020B0504010101010104" pitchFamily="34" charset="0"/>
                <a:cs typeface="Apis For Office" panose="020B0504010101010104" pitchFamily="34" charset="0"/>
              </a:rPr>
              <a:t> </a:t>
            </a:r>
            <a:r>
              <a:rPr lang="en-GB" altLang="en-US" dirty="0">
                <a:solidFill>
                  <a:srgbClr val="002060"/>
                </a:solidFill>
              </a:rPr>
              <a:t>https://www.census.gov/content/dam/Census/library/publications/2015/demo/p25-1143.pdf. </a:t>
            </a:r>
          </a:p>
          <a:p>
            <a:pPr marL="228600" indent="-228600">
              <a:buAutoNum type="arabicPeriod"/>
            </a:pPr>
            <a:r>
              <a:rPr lang="en-GB" altLang="en-US" dirty="0" err="1">
                <a:solidFill>
                  <a:srgbClr val="002060"/>
                </a:solidFill>
              </a:rPr>
              <a:t>Centers</a:t>
            </a:r>
            <a:r>
              <a:rPr lang="en-GB" altLang="en-US" dirty="0">
                <a:solidFill>
                  <a:srgbClr val="002060"/>
                </a:solidFill>
              </a:rPr>
              <a:t> for Disease Control and Prevention. Obesity and Overweight. https://www.cdc.gov/nchs/fastats/obesity-overweight.htm. Last updated on June 13, 2016. Accessed October 2022</a:t>
            </a:r>
            <a:endParaRPr lang="en-GB" altLang="en-US" dirty="0">
              <a:solidFill>
                <a:srgbClr val="002060"/>
              </a:solidFill>
              <a:ea typeface="Apis For Office" panose="020B0504010101010104" pitchFamily="34" charset="0"/>
              <a:cs typeface="Apis For Office" panose="020B0504010101010104" pitchFamily="34" charset="0"/>
            </a:endParaRPr>
          </a:p>
          <a:p>
            <a:pPr marL="228600" indent="-228600">
              <a:buAutoNum type="arabicPeriod"/>
            </a:pPr>
            <a:r>
              <a:rPr lang="en-GB" altLang="en-US" dirty="0">
                <a:solidFill>
                  <a:srgbClr val="002060"/>
                </a:solidFill>
                <a:ea typeface="Apis For Office" panose="020B0504010101010104" pitchFamily="34" charset="0"/>
                <a:cs typeface="Apis For Office" panose="020B0504010101010104" pitchFamily="34" charset="0"/>
              </a:rPr>
              <a:t>Ma J, Xiao L, Stafford R. Adult Obesity and Office-based Quality of Care in the U.S. </a:t>
            </a:r>
            <a:r>
              <a:rPr lang="en-GB" i="1" dirty="0">
                <a:solidFill>
                  <a:srgbClr val="002060"/>
                </a:solidFill>
              </a:rPr>
              <a:t>Obesity (Silver Spring)</a:t>
            </a:r>
            <a:r>
              <a:rPr lang="en-GB" dirty="0">
                <a:solidFill>
                  <a:srgbClr val="002060"/>
                </a:solidFill>
              </a:rPr>
              <a:t>. 2009;17(5):1077–85.</a:t>
            </a:r>
            <a:r>
              <a:rPr lang="en-GB" altLang="en-US" dirty="0">
                <a:solidFill>
                  <a:srgbClr val="002060"/>
                </a:solidFill>
                <a:ea typeface="Apis For Office" panose="020B0504010101010104" pitchFamily="34" charset="0"/>
                <a:cs typeface="Apis For Office" panose="020B0504010101010104" pitchFamily="34" charset="0"/>
              </a:rPr>
              <a:t> 4</a:t>
            </a:r>
            <a:r>
              <a:rPr lang="en-GB" dirty="0">
                <a:solidFill>
                  <a:srgbClr val="002060"/>
                </a:solidFill>
              </a:rPr>
              <a:t>. IMS </a:t>
            </a:r>
            <a:r>
              <a:rPr lang="en-GB" dirty="0" err="1">
                <a:solidFill>
                  <a:srgbClr val="002060"/>
                </a:solidFill>
              </a:rPr>
              <a:t>Xponent</a:t>
            </a:r>
            <a:r>
              <a:rPr lang="en-GB" dirty="0">
                <a:solidFill>
                  <a:srgbClr val="002060"/>
                </a:solidFill>
              </a:rPr>
              <a:t> Dec-15. </a:t>
            </a:r>
          </a:p>
          <a:p>
            <a:pPr marL="228600" indent="-228600">
              <a:buAutoNum type="arabicPeriod"/>
            </a:pPr>
            <a:r>
              <a:rPr lang="en-GB" dirty="0">
                <a:solidFill>
                  <a:srgbClr val="002060"/>
                </a:solidFill>
              </a:rPr>
              <a:t>Caterson et al. </a:t>
            </a:r>
            <a:r>
              <a:rPr lang="en-US" dirty="0">
                <a:solidFill>
                  <a:srgbClr val="002060"/>
                </a:solidFill>
              </a:rPr>
              <a:t>Gaps to bridge: Misalignment between perception, reality and actions in obesity. </a:t>
            </a:r>
            <a:r>
              <a:rPr lang="en-GB" dirty="0">
                <a:solidFill>
                  <a:srgbClr val="002060"/>
                </a:solidFill>
              </a:rPr>
              <a:t>Diabetes </a:t>
            </a:r>
            <a:r>
              <a:rPr lang="en-GB" dirty="0" err="1">
                <a:solidFill>
                  <a:srgbClr val="002060"/>
                </a:solidFill>
              </a:rPr>
              <a:t>Obes</a:t>
            </a:r>
            <a:r>
              <a:rPr lang="en-GB" dirty="0">
                <a:solidFill>
                  <a:srgbClr val="002060"/>
                </a:solidFill>
              </a:rPr>
              <a:t> </a:t>
            </a:r>
            <a:r>
              <a:rPr lang="en-GB" dirty="0" err="1">
                <a:solidFill>
                  <a:srgbClr val="002060"/>
                </a:solidFill>
              </a:rPr>
              <a:t>Metab</a:t>
            </a:r>
            <a:r>
              <a:rPr lang="en-GB" dirty="0">
                <a:solidFill>
                  <a:srgbClr val="002060"/>
                </a:solidFill>
              </a:rPr>
              <a:t> 2019; 21:1914–24.</a:t>
            </a:r>
          </a:p>
          <a:p>
            <a:pPr marL="228600" indent="-228600">
              <a:buAutoNum type="arabicPeriod"/>
            </a:pPr>
            <a:r>
              <a:rPr lang="en-GB" dirty="0">
                <a:solidFill>
                  <a:srgbClr val="002060"/>
                </a:solidFill>
              </a:rPr>
              <a:t>Saxon et al. </a:t>
            </a:r>
            <a:r>
              <a:rPr lang="en-US" dirty="0" err="1">
                <a:solidFill>
                  <a:srgbClr val="002060"/>
                </a:solidFill>
              </a:rPr>
              <a:t>Antiobesity</a:t>
            </a:r>
            <a:r>
              <a:rPr lang="en-US" dirty="0">
                <a:solidFill>
                  <a:srgbClr val="002060"/>
                </a:solidFill>
              </a:rPr>
              <a:t> Medication Use in 2.2 Million Adults Across Eight Large Health Care Organizations: 2009-2015. </a:t>
            </a:r>
            <a:r>
              <a:rPr lang="en-GB" dirty="0">
                <a:solidFill>
                  <a:srgbClr val="002060"/>
                </a:solidFill>
              </a:rPr>
              <a:t>Obesity (Silver Spring, Md.) vol. 27,12 (2019)</a:t>
            </a:r>
          </a:p>
          <a:p>
            <a:pPr marL="228600" indent="-228600">
              <a:buAutoNum type="arabicPeriod"/>
            </a:pPr>
            <a:r>
              <a:rPr lang="en-ZA" b="0" i="0" dirty="0" err="1">
                <a:solidFill>
                  <a:srgbClr val="212121"/>
                </a:solidFill>
                <a:effectLst/>
                <a:latin typeface="BlinkMacSystemFont"/>
              </a:rPr>
              <a:t>Gasoyan</a:t>
            </a:r>
            <a:r>
              <a:rPr lang="en-ZA" b="0" i="0" dirty="0">
                <a:solidFill>
                  <a:srgbClr val="212121"/>
                </a:solidFill>
                <a:effectLst/>
                <a:latin typeface="BlinkMacSystemFont"/>
              </a:rPr>
              <a:t> H, </a:t>
            </a:r>
            <a:r>
              <a:rPr lang="en-ZA" b="0" i="0" dirty="0" err="1">
                <a:solidFill>
                  <a:srgbClr val="212121"/>
                </a:solidFill>
                <a:effectLst/>
                <a:latin typeface="BlinkMacSystemFont"/>
              </a:rPr>
              <a:t>Pfoh</a:t>
            </a:r>
            <a:r>
              <a:rPr lang="en-ZA" b="0" i="0" dirty="0">
                <a:solidFill>
                  <a:srgbClr val="212121"/>
                </a:solidFill>
                <a:effectLst/>
                <a:latin typeface="BlinkMacSystemFont"/>
              </a:rPr>
              <a:t> ER, Schulte R, Sullivan E, Le P, Rothberg MB. Association of patient characteristics and insurance type with anti-obesity medications prescribing and fills. Diabetes </a:t>
            </a:r>
            <a:r>
              <a:rPr lang="en-ZA" b="0" i="0" dirty="0" err="1">
                <a:solidFill>
                  <a:srgbClr val="212121"/>
                </a:solidFill>
                <a:effectLst/>
                <a:latin typeface="BlinkMacSystemFont"/>
              </a:rPr>
              <a:t>Obes</a:t>
            </a:r>
            <a:r>
              <a:rPr lang="en-ZA" b="0" i="0" dirty="0">
                <a:solidFill>
                  <a:srgbClr val="212121"/>
                </a:solidFill>
                <a:effectLst/>
                <a:latin typeface="BlinkMacSystemFont"/>
              </a:rPr>
              <a:t> </a:t>
            </a:r>
            <a:r>
              <a:rPr lang="en-ZA" b="0" i="0" dirty="0" err="1">
                <a:solidFill>
                  <a:srgbClr val="212121"/>
                </a:solidFill>
                <a:effectLst/>
                <a:latin typeface="BlinkMacSystemFont"/>
              </a:rPr>
              <a:t>Metab</a:t>
            </a:r>
            <a:r>
              <a:rPr lang="en-ZA" b="0" i="0" dirty="0">
                <a:solidFill>
                  <a:srgbClr val="212121"/>
                </a:solidFill>
                <a:effectLst/>
                <a:latin typeface="BlinkMacSystemFont"/>
              </a:rPr>
              <a:t>. 2024 May;26(5):1687-1696. </a:t>
            </a:r>
            <a:r>
              <a:rPr lang="en-ZA" b="0" i="0" dirty="0" err="1">
                <a:solidFill>
                  <a:srgbClr val="212121"/>
                </a:solidFill>
                <a:effectLst/>
                <a:latin typeface="BlinkMacSystemFont"/>
              </a:rPr>
              <a:t>doi</a:t>
            </a:r>
            <a:r>
              <a:rPr lang="en-ZA" b="0" i="0" dirty="0">
                <a:solidFill>
                  <a:srgbClr val="212121"/>
                </a:solidFill>
                <a:effectLst/>
                <a:latin typeface="BlinkMacSystemFont"/>
              </a:rPr>
              <a:t>: 10.1111/dom.15473. </a:t>
            </a:r>
            <a:r>
              <a:rPr lang="en-ZA" b="0" i="0" dirty="0" err="1">
                <a:solidFill>
                  <a:srgbClr val="212121"/>
                </a:solidFill>
                <a:effectLst/>
                <a:latin typeface="BlinkMacSystemFont"/>
              </a:rPr>
              <a:t>Epub</a:t>
            </a:r>
            <a:r>
              <a:rPr lang="en-ZA" b="0" i="0" dirty="0">
                <a:solidFill>
                  <a:srgbClr val="212121"/>
                </a:solidFill>
                <a:effectLst/>
                <a:latin typeface="BlinkMacSystemFont"/>
              </a:rPr>
              <a:t> 2024 Jan 29. PMID: 38287140; PMCID: PMC11001528.</a:t>
            </a:r>
            <a:endParaRPr lang="en-GB" dirty="0">
              <a:solidFill>
                <a:srgbClr val="002060"/>
              </a:solidFill>
            </a:endParaRPr>
          </a:p>
        </p:txBody>
      </p:sp>
      <p:sp>
        <p:nvSpPr>
          <p:cNvPr id="2" name="Date Placeholder 1"/>
          <p:cNvSpPr>
            <a:spLocks noGrp="1"/>
          </p:cNvSpPr>
          <p:nvPr>
            <p:ph type="dt"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02342F4-B299-4D97-AACC-A98E553E7903}" type="datetime1">
              <a:rPr kumimoji="0" lang="en-GB" sz="1200" b="0" i="0" u="none" strike="noStrike" kern="1200" cap="none" spc="0" normalizeH="0" baseline="0" noProof="0" smtClean="0">
                <a:ln>
                  <a:noFill/>
                </a:ln>
                <a:solidFill>
                  <a:prstClr val="black"/>
                </a:solidFill>
                <a:effectLst/>
                <a:uLnTx/>
                <a:uFillTx/>
                <a:latin typeface="Apis For Office"/>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04/2026</a:t>
            </a:fld>
            <a:endParaRPr kumimoji="0" lang="en-GB" sz="1200" b="0" i="0" u="none" strike="noStrike" kern="1200" cap="none" spc="0" normalizeH="0" baseline="0" noProof="0">
              <a:ln>
                <a:noFill/>
              </a:ln>
              <a:solidFill>
                <a:prstClr val="black"/>
              </a:solidFill>
              <a:effectLst/>
              <a:uLnTx/>
              <a:uFillTx/>
              <a:latin typeface="Apis For Office"/>
              <a:ea typeface="+mn-ea"/>
              <a:cs typeface="+mn-cs"/>
            </a:endParaRPr>
          </a:p>
        </p:txBody>
      </p:sp>
    </p:spTree>
    <p:extLst>
      <p:ext uri="{BB962C8B-B14F-4D97-AF65-F5344CB8AC3E}">
        <p14:creationId xmlns:p14="http://schemas.microsoft.com/office/powerpoint/2010/main" val="3298791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go onto the mechanisms undelaying obesity , we need to understand the very essence of the condition and that is the often-misrepresented Adipose tissue (know as f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493298-6094-4361-B311-891E531296F6}" type="slidenum">
              <a:rPr kumimoji="0" lang="de-CH"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CH"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984057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9.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slideMaster" Target="../slideMasters/slideMaster3.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5" Type="http://schemas.openxmlformats.org/officeDocument/2006/relationships/tags" Target="../tags/tag182.xml"/><Relationship Id="rId4" Type="http://schemas.openxmlformats.org/officeDocument/2006/relationships/tags" Target="../tags/tag18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12201452"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9" name="Title 8"/>
          <p:cNvSpPr>
            <a:spLocks noGrp="1"/>
          </p:cNvSpPr>
          <p:nvPr>
            <p:ph type="ctrTitle"/>
          </p:nvPr>
        </p:nvSpPr>
        <p:spPr>
          <a:xfrm>
            <a:off x="914400" y="1752602"/>
            <a:ext cx="103632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17" name="Subtitle 16"/>
          <p:cNvSpPr>
            <a:spLocks noGrp="1"/>
          </p:cNvSpPr>
          <p:nvPr>
            <p:ph type="subTitle" idx="1"/>
          </p:nvPr>
        </p:nvSpPr>
        <p:spPr>
          <a:xfrm>
            <a:off x="914400" y="3611607"/>
            <a:ext cx="103632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a:t>Click to edit Master subtitle style</a:t>
            </a:r>
          </a:p>
        </p:txBody>
      </p:sp>
      <p:grpSp>
        <p:nvGrpSpPr>
          <p:cNvPr id="2" name="Group 1"/>
          <p:cNvGrpSpPr/>
          <p:nvPr/>
        </p:nvGrpSpPr>
        <p:grpSpPr>
          <a:xfrm>
            <a:off x="-5019" y="4953000"/>
            <a:ext cx="12197020"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eaLnBrk="1" latinLnBrk="0" hangingPunct="1"/>
              <a:endParaRPr kumimoji="0" lang="en-US" sz="1800"/>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D08AA6BE-C031-46DF-91AD-ACBD1C94D749}" type="datetimeFigureOut">
              <a:rPr lang="en-US" smtClean="0"/>
              <a:pPr/>
              <a:t>4/17/2026</a:t>
            </a:fld>
            <a:endParaRPr lang="en-US"/>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E5ED949D-EB89-4B16-9822-620BE1538A3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a:xfrm>
            <a:off x="609600" y="1481330"/>
            <a:ext cx="10972800" cy="4386071"/>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08AA6BE-C031-46DF-91AD-ACBD1C94D749}" type="datetimeFigureOut">
              <a:rPr lang="en-US" smtClean="0"/>
              <a:pPr/>
              <a:t>4/1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949D-EB89-4B16-9822-620BE1538A3C}" type="slidenum">
              <a:rPr lang="en-US" smtClean="0"/>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5" y="647701"/>
            <a:ext cx="8902835" cy="5562300"/>
          </a:xfrm>
        </p:spPr>
        <p:txBody>
          <a:bodyPr anchor="ctr">
            <a:noAutofit/>
          </a:bodyPr>
          <a:lstStyle>
            <a:lvl1pPr marL="0" indent="0">
              <a:buNone/>
              <a:defRPr sz="41299">
                <a:solidFill>
                  <a:srgbClr val="EBE8E5"/>
                </a:solidFill>
              </a:defRPr>
            </a:lvl1pPr>
          </a:lstStyle>
          <a:p>
            <a:pPr lvl="0"/>
            <a:r>
              <a:rPr lang="en-GB"/>
              <a:t>01</a:t>
            </a:r>
          </a:p>
        </p:txBody>
      </p:sp>
      <p:sp>
        <p:nvSpPr>
          <p:cNvPr id="2" name="Title 1"/>
          <p:cNvSpPr>
            <a:spLocks noGrp="1"/>
          </p:cNvSpPr>
          <p:nvPr>
            <p:ph type="ctrTitle" hasCustomPrompt="1"/>
          </p:nvPr>
        </p:nvSpPr>
        <p:spPr>
          <a:xfrm>
            <a:off x="1623602" y="648000"/>
            <a:ext cx="7675975" cy="5562000"/>
          </a:xfrm>
        </p:spPr>
        <p:txBody>
          <a:bodyPr anchor="ctr"/>
          <a:lstStyle>
            <a:lvl1pPr algn="l">
              <a:defRPr sz="4400" b="1">
                <a:solidFill>
                  <a:schemeClr val="tx2"/>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1050" i="1">
                <a:solidFill>
                  <a:schemeClr val="tx2"/>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C8F78926-2726-4A4B-BCEE-7212C00D101D}" type="datetime3">
              <a:rPr lang="en-US" smtClean="0"/>
              <a:t>17 April 2026</a:t>
            </a:fld>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6" name="image" descr="{&quot;templafy&quot;:{&quot;id&quot;:&quot;9433047f-ea94-4519-a42d-b39ba80dce8c&quot;}}" title="Form.PLogoChoice.PLogoInsertion">
            <a:extLst>
              <a:ext uri="{FF2B5EF4-FFF2-40B4-BE49-F238E27FC236}">
                <a16:creationId xmlns:a16="http://schemas.microsoft.com/office/drawing/2014/main" id="{8C259898-72ED-48AD-B8DB-354C87B7C69D}"/>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40048809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33647216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9756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5FA96055-F41A-411B-AC3E-55CE92C9BB48}"/>
              </a:ext>
            </a:extLst>
          </p:cNvPr>
          <p:cNvSpPr>
            <a:spLocks noGrp="1"/>
          </p:cNvSpPr>
          <p:nvPr>
            <p:ph type="body" sz="quarter" idx="14" hasCustomPrompt="1"/>
          </p:nvPr>
        </p:nvSpPr>
        <p:spPr>
          <a:xfrm>
            <a:off x="648001" y="1630133"/>
            <a:ext cx="10896001" cy="324000"/>
          </a:xfrm>
        </p:spPr>
        <p:txBody>
          <a:bodyPr/>
          <a:lstStyle>
            <a:lvl1pPr marL="0" indent="0">
              <a:buNone/>
              <a:defRPr sz="1400" b="1" cap="all" baseline="0"/>
            </a:lvl1pPr>
          </a:lstStyle>
          <a:p>
            <a:pPr lvl="0"/>
            <a:r>
              <a:rPr lang="en-GB"/>
              <a:t>Click to add SUBTITLE</a:t>
            </a:r>
          </a:p>
        </p:txBody>
      </p:sp>
      <p:sp>
        <p:nvSpPr>
          <p:cNvPr id="12" name="Text Placeholder 4">
            <a:extLst>
              <a:ext uri="{FF2B5EF4-FFF2-40B4-BE49-F238E27FC236}">
                <a16:creationId xmlns:a16="http://schemas.microsoft.com/office/drawing/2014/main" id="{CBF855ED-BC42-4DA9-85C2-E890883A6DFD}"/>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26717243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406E89B-F1B0-48A4-8827-107446FBFBCE}"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8001" y="648000"/>
            <a:ext cx="10896001" cy="324000"/>
          </a:xfrm>
        </p:spPr>
        <p:txBody>
          <a:bodyPr/>
          <a:lstStyle>
            <a:lvl1pPr marL="0" indent="0">
              <a:buNone/>
              <a:defRPr sz="1400" b="1" cap="all" baseline="0"/>
            </a:lvl1pPr>
          </a:lstStyle>
          <a:p>
            <a:pPr lvl="0"/>
            <a:r>
              <a:rPr lang="en-GB"/>
              <a:t>Click to add trumpet</a:t>
            </a:r>
          </a:p>
        </p:txBody>
      </p:sp>
      <p:sp>
        <p:nvSpPr>
          <p:cNvPr id="11" name="Text Placeholder 4">
            <a:extLst>
              <a:ext uri="{FF2B5EF4-FFF2-40B4-BE49-F238E27FC236}">
                <a16:creationId xmlns:a16="http://schemas.microsoft.com/office/drawing/2014/main" id="{9805D299-7B7E-438A-BAF1-BFA5F522FA7E}"/>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5814910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7 April 2026</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9" name="Text Placeholder 4">
            <a:extLst>
              <a:ext uri="{FF2B5EF4-FFF2-40B4-BE49-F238E27FC236}">
                <a16:creationId xmlns:a16="http://schemas.microsoft.com/office/drawing/2014/main" id="{CD1BF59D-D728-4475-A970-AD382B7F554C}"/>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4586159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F5F94F3-4245-4644-F9BA-D4FE377A74D2}"/>
              </a:ext>
            </a:extLst>
          </p:cNvPr>
          <p:cNvGrpSpPr/>
          <p:nvPr userDrawn="1"/>
        </p:nvGrpSpPr>
        <p:grpSpPr>
          <a:xfrm>
            <a:off x="0" y="0"/>
            <a:ext cx="10896280" cy="2425700"/>
            <a:chOff x="0" y="2073430"/>
            <a:chExt cx="12192567" cy="2714276"/>
          </a:xfrm>
        </p:grpSpPr>
        <p:sp>
          <p:nvSpPr>
            <p:cNvPr id="11" name="Freeform: Shape 10">
              <a:extLst>
                <a:ext uri="{FF2B5EF4-FFF2-40B4-BE49-F238E27FC236}">
                  <a16:creationId xmlns:a16="http://schemas.microsoft.com/office/drawing/2014/main" id="{87DDC19D-DFFB-19F1-2A23-EAD07DB67D2F}"/>
                </a:ext>
              </a:extLst>
            </p:cNvPr>
            <p:cNvSpPr/>
            <p:nvPr/>
          </p:nvSpPr>
          <p:spPr>
            <a:xfrm>
              <a:off x="0" y="2073431"/>
              <a:ext cx="12053440" cy="2001497"/>
            </a:xfrm>
            <a:custGeom>
              <a:avLst/>
              <a:gdLst>
                <a:gd name="connsiteX0" fmla="*/ 12053440 w 12053440"/>
                <a:gd name="connsiteY0" fmla="*/ 0 h 2001497"/>
                <a:gd name="connsiteX1" fmla="*/ 11034247 w 12053440"/>
                <a:gd name="connsiteY1" fmla="*/ 663336 h 2001497"/>
                <a:gd name="connsiteX2" fmla="*/ 9540361 w 12053440"/>
                <a:gd name="connsiteY2" fmla="*/ 932258 h 2001497"/>
                <a:gd name="connsiteX3" fmla="*/ 8670282 w 12053440"/>
                <a:gd name="connsiteY3" fmla="*/ 928605 h 2001497"/>
                <a:gd name="connsiteX4" fmla="*/ 7320882 w 12053440"/>
                <a:gd name="connsiteY4" fmla="*/ 823569 h 2001497"/>
                <a:gd name="connsiteX5" fmla="*/ 5675044 w 12053440"/>
                <a:gd name="connsiteY5" fmla="*/ 980636 h 2001497"/>
                <a:gd name="connsiteX6" fmla="*/ 5149862 w 12053440"/>
                <a:gd name="connsiteY6" fmla="*/ 1116599 h 2001497"/>
                <a:gd name="connsiteX7" fmla="*/ 4566399 w 12053440"/>
                <a:gd name="connsiteY7" fmla="*/ 1303781 h 2001497"/>
                <a:gd name="connsiteX8" fmla="*/ 2552690 w 12053440"/>
                <a:gd name="connsiteY8" fmla="*/ 1949502 h 2001497"/>
                <a:gd name="connsiteX9" fmla="*/ 145947 w 12053440"/>
                <a:gd name="connsiteY9" fmla="*/ 1738537 h 2001497"/>
                <a:gd name="connsiteX10" fmla="*/ 0 w 12053440"/>
                <a:gd name="connsiteY10" fmla="*/ 1693649 h 2001497"/>
                <a:gd name="connsiteX11" fmla="*/ 0 w 12053440"/>
                <a:gd name="connsiteY11" fmla="*/ 0 h 2001497"/>
                <a:gd name="connsiteX12" fmla="*/ 12053440 w 12053440"/>
                <a:gd name="connsiteY12" fmla="*/ 0 h 200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53440" h="2001497">
                  <a:moveTo>
                    <a:pt x="12053440" y="0"/>
                  </a:moveTo>
                  <a:cubicBezTo>
                    <a:pt x="11756920" y="277607"/>
                    <a:pt x="11409991" y="507729"/>
                    <a:pt x="11034247" y="663336"/>
                  </a:cubicBezTo>
                  <a:cubicBezTo>
                    <a:pt x="10563938" y="864236"/>
                    <a:pt x="10044844" y="904822"/>
                    <a:pt x="9540361" y="932258"/>
                  </a:cubicBezTo>
                  <a:cubicBezTo>
                    <a:pt x="9253988" y="946544"/>
                    <a:pt x="8957549" y="947193"/>
                    <a:pt x="8670282" y="928605"/>
                  </a:cubicBezTo>
                  <a:cubicBezTo>
                    <a:pt x="8217506" y="896461"/>
                    <a:pt x="7763999" y="820971"/>
                    <a:pt x="7320882" y="823569"/>
                  </a:cubicBezTo>
                  <a:cubicBezTo>
                    <a:pt x="6768508" y="820890"/>
                    <a:pt x="6214755" y="863262"/>
                    <a:pt x="5675044" y="980636"/>
                  </a:cubicBezTo>
                  <a:cubicBezTo>
                    <a:pt x="5500281" y="1018056"/>
                    <a:pt x="5320972" y="1065136"/>
                    <a:pt x="5149862" y="1116599"/>
                  </a:cubicBezTo>
                  <a:cubicBezTo>
                    <a:pt x="4954887" y="1175124"/>
                    <a:pt x="4758371" y="1237220"/>
                    <a:pt x="4566399" y="1303781"/>
                  </a:cubicBezTo>
                  <a:cubicBezTo>
                    <a:pt x="3902333" y="1530656"/>
                    <a:pt x="3258722" y="1849580"/>
                    <a:pt x="2552690" y="1949502"/>
                  </a:cubicBezTo>
                  <a:cubicBezTo>
                    <a:pt x="1744706" y="2072396"/>
                    <a:pt x="920813" y="1967604"/>
                    <a:pt x="145947" y="1738537"/>
                  </a:cubicBezTo>
                  <a:cubicBezTo>
                    <a:pt x="97163" y="1724088"/>
                    <a:pt x="48541" y="1709153"/>
                    <a:pt x="0" y="1693649"/>
                  </a:cubicBezTo>
                  <a:lnTo>
                    <a:pt x="0" y="0"/>
                  </a:lnTo>
                  <a:lnTo>
                    <a:pt x="12053440" y="0"/>
                  </a:lnTo>
                  <a:close/>
                </a:path>
              </a:pathLst>
            </a:custGeom>
            <a:solidFill>
              <a:schemeClr val="accent5">
                <a:lumMod val="20000"/>
                <a:lumOff val="80000"/>
                <a:alpha val="37000"/>
              </a:schemeClr>
            </a:solidFill>
            <a:ln w="8117" cap="flat">
              <a:noFill/>
              <a:prstDash val="solid"/>
              <a:miter/>
            </a:ln>
          </p:spPr>
          <p:txBody>
            <a:bodyPr rtlCol="0" anchor="ctr"/>
            <a:lstStyle/>
            <a:p>
              <a:endParaRPr lang="en-CA"/>
            </a:p>
          </p:txBody>
        </p:sp>
        <p:sp>
          <p:nvSpPr>
            <p:cNvPr id="12" name="Freeform: Shape 11">
              <a:extLst>
                <a:ext uri="{FF2B5EF4-FFF2-40B4-BE49-F238E27FC236}">
                  <a16:creationId xmlns:a16="http://schemas.microsoft.com/office/drawing/2014/main" id="{16B550A7-2355-B8A4-3770-7AFD5BF45A40}"/>
                </a:ext>
              </a:extLst>
            </p:cNvPr>
            <p:cNvSpPr/>
            <p:nvPr/>
          </p:nvSpPr>
          <p:spPr>
            <a:xfrm>
              <a:off x="0" y="2073430"/>
              <a:ext cx="12192567" cy="2714276"/>
            </a:xfrm>
            <a:custGeom>
              <a:avLst/>
              <a:gdLst>
                <a:gd name="connsiteX0" fmla="*/ 12192568 w 12192567"/>
                <a:gd name="connsiteY0" fmla="*/ 0 h 2714276"/>
                <a:gd name="connsiteX1" fmla="*/ 10780829 w 12192567"/>
                <a:gd name="connsiteY1" fmla="*/ 962454 h 2714276"/>
                <a:gd name="connsiteX2" fmla="*/ 10346154 w 12192567"/>
                <a:gd name="connsiteY2" fmla="*/ 1103936 h 2714276"/>
                <a:gd name="connsiteX3" fmla="*/ 8984335 w 12192567"/>
                <a:gd name="connsiteY3" fmla="*/ 1291443 h 2714276"/>
                <a:gd name="connsiteX4" fmla="*/ 8527501 w 12192567"/>
                <a:gd name="connsiteY4" fmla="*/ 1275939 h 2714276"/>
                <a:gd name="connsiteX5" fmla="*/ 7623572 w 12192567"/>
                <a:gd name="connsiteY5" fmla="*/ 1254672 h 2714276"/>
                <a:gd name="connsiteX6" fmla="*/ 6843430 w 12192567"/>
                <a:gd name="connsiteY6" fmla="*/ 1266198 h 2714276"/>
                <a:gd name="connsiteX7" fmla="*/ 5017227 w 12192567"/>
                <a:gd name="connsiteY7" fmla="*/ 1714348 h 2714276"/>
                <a:gd name="connsiteX8" fmla="*/ 4599031 w 12192567"/>
                <a:gd name="connsiteY8" fmla="*/ 1880587 h 2714276"/>
                <a:gd name="connsiteX9" fmla="*/ 3777247 w 12192567"/>
                <a:gd name="connsiteY9" fmla="*/ 2245130 h 2714276"/>
                <a:gd name="connsiteX10" fmla="*/ 2887037 w 12192567"/>
                <a:gd name="connsiteY10" fmla="*/ 2553826 h 2714276"/>
                <a:gd name="connsiteX11" fmla="*/ 1003040 w 12192567"/>
                <a:gd name="connsiteY11" fmla="*/ 2672175 h 2714276"/>
                <a:gd name="connsiteX12" fmla="*/ 427775 w 12192567"/>
                <a:gd name="connsiteY12" fmla="*/ 2574363 h 2714276"/>
                <a:gd name="connsiteX13" fmla="*/ 0 w 12192567"/>
                <a:gd name="connsiteY13" fmla="*/ 2479229 h 2714276"/>
                <a:gd name="connsiteX14" fmla="*/ 0 w 12192567"/>
                <a:gd name="connsiteY14" fmla="*/ 1914193 h 2714276"/>
                <a:gd name="connsiteX15" fmla="*/ 647994 w 12192567"/>
                <a:gd name="connsiteY15" fmla="*/ 2089361 h 2714276"/>
                <a:gd name="connsiteX16" fmla="*/ 1933106 w 12192567"/>
                <a:gd name="connsiteY16" fmla="*/ 2242127 h 2714276"/>
                <a:gd name="connsiteX17" fmla="*/ 3214808 w 12192567"/>
                <a:gd name="connsiteY17" fmla="*/ 2034083 h 2714276"/>
                <a:gd name="connsiteX18" fmla="*/ 4043572 w 12192567"/>
                <a:gd name="connsiteY18" fmla="*/ 1715322 h 2714276"/>
                <a:gd name="connsiteX19" fmla="*/ 4687995 w 12192567"/>
                <a:gd name="connsiteY19" fmla="*/ 1475784 h 2714276"/>
                <a:gd name="connsiteX20" fmla="*/ 5570251 w 12192567"/>
                <a:gd name="connsiteY20" fmla="*/ 1206943 h 2714276"/>
                <a:gd name="connsiteX21" fmla="*/ 7175666 w 12192567"/>
                <a:gd name="connsiteY21" fmla="*/ 1011319 h 2714276"/>
                <a:gd name="connsiteX22" fmla="*/ 8538540 w 12192567"/>
                <a:gd name="connsiteY22" fmla="*/ 1091192 h 2714276"/>
                <a:gd name="connsiteX23" fmla="*/ 8986608 w 12192567"/>
                <a:gd name="connsiteY23" fmla="*/ 1124960 h 2714276"/>
                <a:gd name="connsiteX24" fmla="*/ 10480899 w 12192567"/>
                <a:gd name="connsiteY24" fmla="*/ 954499 h 2714276"/>
                <a:gd name="connsiteX25" fmla="*/ 12162048 w 12192567"/>
                <a:gd name="connsiteY25" fmla="*/ 0 h 2714276"/>
                <a:gd name="connsiteX26" fmla="*/ 12192568 w 12192567"/>
                <a:gd name="connsiteY26" fmla="*/ 0 h 271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567" h="2714276">
                  <a:moveTo>
                    <a:pt x="12192568" y="0"/>
                  </a:moveTo>
                  <a:cubicBezTo>
                    <a:pt x="11813983" y="433051"/>
                    <a:pt x="11324111" y="768940"/>
                    <a:pt x="10780829" y="962454"/>
                  </a:cubicBezTo>
                  <a:cubicBezTo>
                    <a:pt x="10637804" y="1014891"/>
                    <a:pt x="10492425" y="1061889"/>
                    <a:pt x="10346154" y="1103936"/>
                  </a:cubicBezTo>
                  <a:cubicBezTo>
                    <a:pt x="9903524" y="1230808"/>
                    <a:pt x="9443848" y="1282027"/>
                    <a:pt x="8984335" y="1291443"/>
                  </a:cubicBezTo>
                  <a:cubicBezTo>
                    <a:pt x="8853243" y="1292579"/>
                    <a:pt x="8660379" y="1280809"/>
                    <a:pt x="8527501" y="1275939"/>
                  </a:cubicBezTo>
                  <a:cubicBezTo>
                    <a:pt x="8270186" y="1265062"/>
                    <a:pt x="7886000" y="1259055"/>
                    <a:pt x="7623572" y="1254672"/>
                  </a:cubicBezTo>
                  <a:cubicBezTo>
                    <a:pt x="7362361" y="1252075"/>
                    <a:pt x="7102530" y="1244282"/>
                    <a:pt x="6843430" y="1266198"/>
                  </a:cubicBezTo>
                  <a:cubicBezTo>
                    <a:pt x="6216703" y="1324317"/>
                    <a:pt x="5604667" y="1490557"/>
                    <a:pt x="5017227" y="1714348"/>
                  </a:cubicBezTo>
                  <a:cubicBezTo>
                    <a:pt x="4881995" y="1766216"/>
                    <a:pt x="4734100" y="1825878"/>
                    <a:pt x="4599031" y="1880587"/>
                  </a:cubicBezTo>
                  <a:cubicBezTo>
                    <a:pt x="4318338" y="1992929"/>
                    <a:pt x="4053718" y="2117203"/>
                    <a:pt x="3777247" y="2245130"/>
                  </a:cubicBezTo>
                  <a:cubicBezTo>
                    <a:pt x="3496312" y="2376385"/>
                    <a:pt x="3189239" y="2479798"/>
                    <a:pt x="2887037" y="2553826"/>
                  </a:cubicBezTo>
                  <a:cubicBezTo>
                    <a:pt x="2274108" y="2710407"/>
                    <a:pt x="1630741" y="2757649"/>
                    <a:pt x="1003040" y="2672175"/>
                  </a:cubicBezTo>
                  <a:cubicBezTo>
                    <a:pt x="807984" y="2647174"/>
                    <a:pt x="617636" y="2611783"/>
                    <a:pt x="427775" y="2574363"/>
                  </a:cubicBezTo>
                  <a:cubicBezTo>
                    <a:pt x="284507" y="2546440"/>
                    <a:pt x="141807" y="2514864"/>
                    <a:pt x="0" y="2479229"/>
                  </a:cubicBezTo>
                  <a:lnTo>
                    <a:pt x="0" y="1914193"/>
                  </a:lnTo>
                  <a:cubicBezTo>
                    <a:pt x="213319" y="1982052"/>
                    <a:pt x="429642" y="2040415"/>
                    <a:pt x="647994" y="2089361"/>
                  </a:cubicBezTo>
                  <a:cubicBezTo>
                    <a:pt x="1071467" y="2191313"/>
                    <a:pt x="1498025" y="2254627"/>
                    <a:pt x="1933106" y="2242127"/>
                  </a:cubicBezTo>
                  <a:cubicBezTo>
                    <a:pt x="2365914" y="2230844"/>
                    <a:pt x="2799533" y="2153730"/>
                    <a:pt x="3214808" y="2034083"/>
                  </a:cubicBezTo>
                  <a:cubicBezTo>
                    <a:pt x="3497935" y="1951207"/>
                    <a:pt x="3765640" y="1825797"/>
                    <a:pt x="4043572" y="1715322"/>
                  </a:cubicBezTo>
                  <a:cubicBezTo>
                    <a:pt x="4254294" y="1630173"/>
                    <a:pt x="4473539" y="1551193"/>
                    <a:pt x="4687995" y="1475784"/>
                  </a:cubicBezTo>
                  <a:cubicBezTo>
                    <a:pt x="4976641" y="1373020"/>
                    <a:pt x="5271133" y="1277562"/>
                    <a:pt x="5570251" y="1206943"/>
                  </a:cubicBezTo>
                  <a:cubicBezTo>
                    <a:pt x="6093565" y="1077636"/>
                    <a:pt x="6635306" y="991757"/>
                    <a:pt x="7175666" y="1011319"/>
                  </a:cubicBezTo>
                  <a:cubicBezTo>
                    <a:pt x="7614399" y="1028365"/>
                    <a:pt x="8101268" y="1057993"/>
                    <a:pt x="8538540" y="1091192"/>
                  </a:cubicBezTo>
                  <a:cubicBezTo>
                    <a:pt x="8661028" y="1101257"/>
                    <a:pt x="8864445" y="1120657"/>
                    <a:pt x="8986608" y="1124960"/>
                  </a:cubicBezTo>
                  <a:cubicBezTo>
                    <a:pt x="9488818" y="1135837"/>
                    <a:pt x="9996222" y="1091760"/>
                    <a:pt x="10480899" y="954499"/>
                  </a:cubicBezTo>
                  <a:cubicBezTo>
                    <a:pt x="11132465" y="792074"/>
                    <a:pt x="11708947" y="472663"/>
                    <a:pt x="12162048" y="0"/>
                  </a:cubicBezTo>
                  <a:lnTo>
                    <a:pt x="12192568" y="0"/>
                  </a:lnTo>
                  <a:close/>
                </a:path>
              </a:pathLst>
            </a:custGeom>
            <a:solidFill>
              <a:schemeClr val="accent5">
                <a:lumMod val="40000"/>
                <a:lumOff val="60000"/>
                <a:alpha val="34000"/>
              </a:schemeClr>
            </a:solidFill>
            <a:ln w="8117" cap="flat">
              <a:noFill/>
              <a:prstDash val="solid"/>
              <a:miter/>
            </a:ln>
          </p:spPr>
          <p:txBody>
            <a:bodyPr rtlCol="0" anchor="ctr"/>
            <a:lstStyle/>
            <a:p>
              <a:endParaRPr lang="en-CA"/>
            </a:p>
          </p:txBody>
        </p:sp>
      </p:grpSp>
      <p:sp>
        <p:nvSpPr>
          <p:cNvPr id="2" name="Title 1"/>
          <p:cNvSpPr>
            <a:spLocks noGrp="1"/>
          </p:cNvSpPr>
          <p:nvPr>
            <p:ph type="title" hasCustomPrompt="1"/>
          </p:nvPr>
        </p:nvSpPr>
        <p:spPr>
          <a:xfrm>
            <a:off x="432100" y="324000"/>
            <a:ext cx="10896000" cy="1296000"/>
          </a:xfrm>
        </p:spPr>
        <p:txBody>
          <a:bodyPr/>
          <a:lstStyle>
            <a:lvl1pPr>
              <a:defRPr sz="3200">
                <a:latin typeface="Apis For Office Light" panose="020B0404010101010104" pitchFamily="34" charset="0"/>
                <a:ea typeface="Apis For Office Light" panose="020B0404010101010104" pitchFamily="34" charset="0"/>
                <a:cs typeface="Apis For Office Light" panose="020B0404010101010104" pitchFamily="34" charset="0"/>
              </a:defRPr>
            </a:lvl1pPr>
          </a:lstStyle>
          <a:p>
            <a:r>
              <a:rPr lang="en-GB" noProof="0"/>
              <a:t>Click to add title</a:t>
            </a:r>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432099" y="6210000"/>
            <a:ext cx="11351913" cy="324000"/>
          </a:xfrm>
        </p:spPr>
        <p:txBody>
          <a:bodyPr vert="horz" lIns="0" tIns="0" rIns="0" bIns="0" rtlCol="0" anchor="b">
            <a:noAutofit/>
          </a:bodyPr>
          <a:lstStyle>
            <a:lvl1pPr marL="0" indent="0">
              <a:buNone/>
              <a:defRPr lang="en-GB" sz="800" i="1" dirty="0">
                <a:solidFill>
                  <a:srgbClr val="939AA7"/>
                </a:solidFill>
              </a:defRPr>
            </a:lvl1pPr>
          </a:lstStyle>
          <a:p>
            <a:pPr marL="269993" lvl="0" indent="-269993"/>
            <a:r>
              <a:rPr lang="en-GB"/>
              <a:t>Insert notes</a:t>
            </a:r>
          </a:p>
        </p:txBody>
      </p:sp>
    </p:spTree>
    <p:extLst>
      <p:ext uri="{BB962C8B-B14F-4D97-AF65-F5344CB8AC3E}">
        <p14:creationId xmlns:p14="http://schemas.microsoft.com/office/powerpoint/2010/main" val="2736932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66D121A7-F4E2-460A-A8FB-942CCEE5185E}" type="datetime3">
              <a:rPr lang="en-US" smtClean="0"/>
              <a:t>17 April 2026</a:t>
            </a:fld>
            <a:endParaRPr lang="en-GB"/>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9" name="Text Placeholder 4">
            <a:extLst>
              <a:ext uri="{FF2B5EF4-FFF2-40B4-BE49-F238E27FC236}">
                <a16:creationId xmlns:a16="http://schemas.microsoft.com/office/drawing/2014/main" id="{5AEB20A7-190E-485D-98DC-56B0D48A8284}"/>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25448921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0565"/>
            <a:ext cx="6408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5"/>
            <a:ext cx="4164000" cy="42696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D222D8C-AA3D-4B88-B15C-7C22689DAE44}"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59FBA6F5-42D5-4224-8758-445BF948788F}"/>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23389965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5"/>
            <a:ext cx="4164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D8DC46D-D10D-4B61-A892-8C0001048907}"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6001" y="324000"/>
            <a:ext cx="6732001" cy="6210000"/>
          </a:xfrm>
          <a:solidFill>
            <a:schemeClr val="bg1"/>
          </a:solidFill>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accent6"/>
                </a:solidFill>
              </a:defRPr>
            </a:lvl1pPr>
          </a:lstStyle>
          <a:p>
            <a:pPr lvl="0"/>
            <a:r>
              <a:rPr lang="en-GB"/>
              <a:t>Insert picture text</a:t>
            </a:r>
          </a:p>
        </p:txBody>
      </p:sp>
      <p:sp>
        <p:nvSpPr>
          <p:cNvPr id="4" name="Tagline" descr="{&quot;templafy&quot;:{&quot;id&quot;:&quot;173913be-1100-48d2-aff0-9c93648545a2&quot;}}" title="Form.PLogoChoice.PLogoInsertion">
            <a:extLst>
              <a:ext uri="{FF2B5EF4-FFF2-40B4-BE49-F238E27FC236}">
                <a16:creationId xmlns:a16="http://schemas.microsoft.com/office/drawing/2014/main" id="{AD76CD6D-257F-451B-A84B-5F86799B060C}"/>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15704776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5"/>
            <a:ext cx="4164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6526C65-69A1-4E8E-9984-0D6109B4BEC2}"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accent6"/>
                </a:solidFill>
              </a:defRPr>
            </a:lvl1pPr>
          </a:lstStyle>
          <a:p>
            <a:pPr lvl="0"/>
            <a:r>
              <a:rPr lang="en-GB"/>
              <a:t>Insert picture text</a:t>
            </a:r>
          </a:p>
        </p:txBody>
      </p:sp>
    </p:spTree>
    <p:extLst>
      <p:ext uri="{BB962C8B-B14F-4D97-AF65-F5344CB8AC3E}">
        <p14:creationId xmlns:p14="http://schemas.microsoft.com/office/powerpoint/2010/main" val="1034330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25351" y="274641"/>
            <a:ext cx="2369960" cy="5592761"/>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274641"/>
            <a:ext cx="8432800" cy="5592760"/>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08AA6BE-C031-46DF-91AD-ACBD1C94D749}" type="datetimeFigureOut">
              <a:rPr lang="en-US" smtClean="0"/>
              <a:pPr/>
              <a:t>4/1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949D-EB89-4B16-9822-620BE1538A3C}" type="slidenum">
              <a:rPr lang="en-US" smtClean="0"/>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1" y="647700"/>
            <a:ext cx="10895015" cy="1292867"/>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5" y="1944000"/>
            <a:ext cx="5286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27EE2340-579E-4220-A93B-3AFD39A8D022}" type="datetime3">
              <a:rPr lang="en-US" smtClean="0"/>
              <a:t>17 April 2026</a:t>
            </a:fld>
            <a:endParaRPr lang="en-GB"/>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a:p>
        </p:txBody>
      </p:sp>
      <p:sp>
        <p:nvSpPr>
          <p:cNvPr id="10" name="Text Placeholder 4">
            <a:extLst>
              <a:ext uri="{FF2B5EF4-FFF2-40B4-BE49-F238E27FC236}">
                <a16:creationId xmlns:a16="http://schemas.microsoft.com/office/drawing/2014/main" id="{AFC41F91-AFCD-41AB-8885-C909432955C9}"/>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38167068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1" y="647700"/>
            <a:ext cx="10895015" cy="1292867"/>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buNone/>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buNone/>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9CC65D2-4706-45DF-B68A-6AB31D8D1B2D}"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653F4E38-94FD-4303-93E2-4CAD4F1F79E1}"/>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18981857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5"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C052468-20E3-462E-9717-778AD7EDB57C}"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5" name="Text Placeholder 4">
            <a:extLst>
              <a:ext uri="{FF2B5EF4-FFF2-40B4-BE49-F238E27FC236}">
                <a16:creationId xmlns:a16="http://schemas.microsoft.com/office/drawing/2014/main" id="{45EA0AE0-35D1-469F-9CA2-47B0195CFAFE}"/>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18907923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498E64CA-2304-4E9B-B28D-1697778C23C7}"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5cd6002f-a44d-4a74-9c30-f14b301bd1f0&quot;}}" title="Form.PLogoChoice.PLogoInsertionWhite">
            <a:extLst>
              <a:ext uri="{FF2B5EF4-FFF2-40B4-BE49-F238E27FC236}">
                <a16:creationId xmlns:a16="http://schemas.microsoft.com/office/drawing/2014/main" id="{44E7C209-74AB-4928-B52F-1ED3C6CFC5A2}"/>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22276183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F39B2FB7-971C-405A-8476-7CE32CE49AEA}"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73ab4220-910a-45d7-9ebd-62ed5a896302&quot;}}" title="Form.PLogoChoice.PLogoInsertionWhite">
            <a:extLst>
              <a:ext uri="{FF2B5EF4-FFF2-40B4-BE49-F238E27FC236}">
                <a16:creationId xmlns:a16="http://schemas.microsoft.com/office/drawing/2014/main" id="{E3FA8B5C-51AE-4CBF-B3D5-16E4AB91FC04}"/>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31955496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1" y="648000"/>
            <a:ext cx="8652001" cy="5562000"/>
          </a:xfrm>
        </p:spPr>
        <p:txBody>
          <a:bodyPr anchor="ctr"/>
          <a:lstStyle>
            <a:lvl1pPr>
              <a:lnSpc>
                <a:spcPct val="120000"/>
              </a:lnSpc>
              <a:defRPr sz="96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C6CB76A8-40B8-40AD-BBF9-1424EB95FF77}"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f485d35e-b57e-4dfb-8ebc-8055fa293c3a&quot;}}" title="Form.PLogoChoice.PLogoInsertionWhite">
            <a:extLst>
              <a:ext uri="{FF2B5EF4-FFF2-40B4-BE49-F238E27FC236}">
                <a16:creationId xmlns:a16="http://schemas.microsoft.com/office/drawing/2014/main" id="{152DA9A1-3FA7-4BC8-9172-644A881C6F4B}"/>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49579245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2647E0DD-2C7D-48C1-B2F5-8560EDCA454D}"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357fc858-2926-4ccb-86bf-1d3b3fbf302c&quot;}}" title="Form.PLogoChoice.PLogoInsertionWhite">
            <a:extLst>
              <a:ext uri="{FF2B5EF4-FFF2-40B4-BE49-F238E27FC236}">
                <a16:creationId xmlns:a16="http://schemas.microsoft.com/office/drawing/2014/main" id="{B6E51AD8-D258-457C-9483-72C95483B714}"/>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29703094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4001"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1" y="648000"/>
            <a:ext cx="8652001" cy="3105000"/>
          </a:xfrm>
        </p:spPr>
        <p:txBody>
          <a:bodyPr anchor="b"/>
          <a:lstStyle>
            <a:lvl1pPr>
              <a:lnSpc>
                <a:spcPct val="100000"/>
              </a:lnSpc>
              <a:defRPr sz="4400" b="0"/>
            </a:lvl1pPr>
          </a:lstStyle>
          <a:p>
            <a:r>
              <a:rPr lang="en-GB" noProof="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600" i="1">
                <a:solidFill>
                  <a:schemeClr val="tx2"/>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2D752CB-4586-4ED8-8DDC-9B3317D94291}"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903042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2"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44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A05D3A1-1237-4E3F-81F8-A718F0128939}"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784458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6001"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4400" b="0"/>
            </a:lvl1pPr>
          </a:lstStyle>
          <a:p>
            <a:r>
              <a:rPr lang="en-GB" noProof="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DE1F3AB-868B-4293-B3DE-7B045891B11B}"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1614793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1" y="1962814"/>
            <a:ext cx="8652001" cy="1871629"/>
          </a:xfrm>
        </p:spPr>
        <p:txBody>
          <a:bodyPr tIns="91440" bIns="91440" anchor="b" anchorCtr="0"/>
          <a:lstStyle>
            <a:lvl1pPr algn="l">
              <a:lnSpc>
                <a:spcPct val="100000"/>
              </a:lnSpc>
              <a:defRPr sz="4400">
                <a:solidFill>
                  <a:schemeClr val="tx2"/>
                </a:solidFill>
                <a:latin typeface="+mj-lt"/>
              </a:defRPr>
            </a:lvl1pPr>
          </a:lstStyle>
          <a:p>
            <a:r>
              <a:rPr lang="en-GB"/>
              <a:t>Click to add title</a:t>
            </a:r>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a:p>
        </p:txBody>
      </p:sp>
      <p:sp>
        <p:nvSpPr>
          <p:cNvPr id="5" name="Text Placeholder 4">
            <a:extLst>
              <a:ext uri="{FF2B5EF4-FFF2-40B4-BE49-F238E27FC236}">
                <a16:creationId xmlns:a16="http://schemas.microsoft.com/office/drawing/2014/main" id="{E6F71D66-8A8E-4C10-A476-314785641A0A}"/>
              </a:ext>
            </a:extLst>
          </p:cNvPr>
          <p:cNvSpPr>
            <a:spLocks noGrp="1"/>
          </p:cNvSpPr>
          <p:nvPr>
            <p:ph type="body" sz="quarter" idx="17"/>
          </p:nvPr>
        </p:nvSpPr>
        <p:spPr>
          <a:xfrm>
            <a:off x="647701" y="3941233"/>
            <a:ext cx="8652001" cy="940659"/>
          </a:xfrm>
        </p:spPr>
        <p:txBody>
          <a:bodyPr/>
          <a:lstStyle>
            <a:lvl1pPr marL="0" indent="0">
              <a:buNone/>
              <a:defRPr>
                <a:solidFill>
                  <a:schemeClr val="accent5"/>
                </a:solidFill>
                <a:latin typeface="+mj-lt"/>
              </a:defRPr>
            </a:lvl1pPr>
            <a:lvl2pPr marL="269993" indent="0">
              <a:buNone/>
              <a:defRPr/>
            </a:lvl2pPr>
          </a:lstStyle>
          <a:p>
            <a:pPr lvl="0"/>
            <a:r>
              <a:rPr lang="en-US"/>
              <a:t>Click to edit Master text styles</a:t>
            </a:r>
          </a:p>
        </p:txBody>
      </p:sp>
      <p:sp>
        <p:nvSpPr>
          <p:cNvPr id="15" name="Date Placeholder 6">
            <a:extLst>
              <a:ext uri="{FF2B5EF4-FFF2-40B4-BE49-F238E27FC236}">
                <a16:creationId xmlns:a16="http://schemas.microsoft.com/office/drawing/2014/main" id="{AA4298F5-860C-4CD1-BA18-36787A8004F4}"/>
              </a:ext>
            </a:extLst>
          </p:cNvPr>
          <p:cNvSpPr>
            <a:spLocks noGrp="1"/>
          </p:cNvSpPr>
          <p:nvPr>
            <p:ph type="dt" sz="half" idx="10"/>
          </p:nvPr>
        </p:nvSpPr>
        <p:spPr>
          <a:xfrm>
            <a:off x="2892000" y="324000"/>
            <a:ext cx="1920000" cy="125851"/>
          </a:xfrm>
        </p:spPr>
        <p:txBody>
          <a:bodyPr/>
          <a:lstStyle/>
          <a:p>
            <a:fld id="{3406E89B-F1B0-48A4-8827-107446FBFBCE}" type="datetime3">
              <a:rPr lang="en-US" smtClean="0"/>
              <a:t>17 April 2026</a:t>
            </a:fld>
            <a:endParaRPr lang="en-GB"/>
          </a:p>
        </p:txBody>
      </p:sp>
      <p:sp>
        <p:nvSpPr>
          <p:cNvPr id="9" name="Text Placeholder 8">
            <a:extLst>
              <a:ext uri="{FF2B5EF4-FFF2-40B4-BE49-F238E27FC236}">
                <a16:creationId xmlns:a16="http://schemas.microsoft.com/office/drawing/2014/main" id="{2EA2B237-553D-4D16-B830-94B4CC58C931}"/>
              </a:ext>
            </a:extLst>
          </p:cNvPr>
          <p:cNvSpPr>
            <a:spLocks noGrp="1"/>
          </p:cNvSpPr>
          <p:nvPr>
            <p:ph type="body" sz="quarter" idx="18"/>
          </p:nvPr>
        </p:nvSpPr>
        <p:spPr>
          <a:xfrm>
            <a:off x="647700" y="4974329"/>
            <a:ext cx="8652933" cy="690033"/>
          </a:xfrm>
        </p:spPr>
        <p:txBody>
          <a:bodyPr/>
          <a:lstStyle>
            <a:lvl1pPr marL="0" indent="0">
              <a:buNone/>
              <a:defRPr sz="1600">
                <a:solidFill>
                  <a:schemeClr val="accent3"/>
                </a:solidFill>
                <a:latin typeface="+mj-lt"/>
              </a:defRPr>
            </a:lvl1pPr>
            <a:lvl2pPr marL="269993" indent="0">
              <a:buNone/>
              <a:defRPr/>
            </a:lvl2pPr>
          </a:lstStyle>
          <a:p>
            <a:pPr lvl="0"/>
            <a:r>
              <a:rPr lang="en-US"/>
              <a:t>Click to edit Master text styles</a:t>
            </a:r>
          </a:p>
        </p:txBody>
      </p:sp>
    </p:spTree>
    <p:extLst>
      <p:ext uri="{BB962C8B-B14F-4D97-AF65-F5344CB8AC3E}">
        <p14:creationId xmlns:p14="http://schemas.microsoft.com/office/powerpoint/2010/main" val="42669559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2"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D809F60-422C-4C04-9CED-A5F24267A70F}"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6001" y="648000"/>
            <a:ext cx="6408001" cy="31050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7001"/>
            <a:ext cx="4164000" cy="2133001"/>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27740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bwMode="white">
          <a:xfrm>
            <a:off x="430214" y="656825"/>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5" y="3325227"/>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5"/>
            <a:ext cx="10152347"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5"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Tree>
    <p:extLst>
      <p:ext uri="{BB962C8B-B14F-4D97-AF65-F5344CB8AC3E}">
        <p14:creationId xmlns:p14="http://schemas.microsoft.com/office/powerpoint/2010/main" val="36254801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1296000"/>
          </a:xfrm>
        </p:spPr>
        <p:txBody>
          <a:bodyPr/>
          <a:lstStyle>
            <a:lvl1pPr>
              <a:defRPr sz="3200"/>
            </a:lvl1p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10897200" cy="324000"/>
          </a:xfrm>
        </p:spPr>
        <p:txBody>
          <a:bodyPr anchor="b"/>
          <a:lstStyle>
            <a:lvl1pPr marL="0" indent="0">
              <a:buNone/>
              <a:defRPr sz="800" i="1">
                <a:solidFill>
                  <a:schemeClr val="tx2"/>
                </a:solidFill>
              </a:defRPr>
            </a:lvl1pPr>
          </a:lstStyle>
          <a:p>
            <a:pPr lvl="0"/>
            <a:r>
              <a:rPr lang="en-GB"/>
              <a:t>Insert notes</a:t>
            </a:r>
          </a:p>
        </p:txBody>
      </p:sp>
    </p:spTree>
    <p:extLst>
      <p:ext uri="{BB962C8B-B14F-4D97-AF65-F5344CB8AC3E}">
        <p14:creationId xmlns:p14="http://schemas.microsoft.com/office/powerpoint/2010/main" val="8579114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4295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1296000"/>
          </a:xfrm>
        </p:spPr>
        <p:txBody>
          <a:bodyPr/>
          <a:lstStyle>
            <a:lvl1pPr>
              <a:defRPr sz="3400"/>
            </a:lvl1pPr>
          </a:lstStyle>
          <a:p>
            <a:r>
              <a:rPr lang="en-US" noProof="0"/>
              <a:t>Click to add title</a:t>
            </a:r>
            <a:endParaRPr lang="en-US"/>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892712" y="323850"/>
            <a:ext cx="4162138" cy="126000"/>
          </a:xfrm>
        </p:spPr>
        <p:txBody>
          <a:bodyPr/>
          <a:lstStyle/>
          <a:p>
            <a:endParaRPr lang="en-US"/>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210000"/>
            <a:ext cx="9821461" cy="324000"/>
          </a:xfrm>
        </p:spPr>
        <p:txBody>
          <a:bodyPr anchor="b"/>
          <a:lstStyle>
            <a:lvl1pPr marL="0" indent="0">
              <a:spcBef>
                <a:spcPts val="0"/>
              </a:spcBef>
              <a:spcAft>
                <a:spcPts val="0"/>
              </a:spcAft>
              <a:buNone/>
              <a:defRPr sz="700" i="1">
                <a:solidFill>
                  <a:schemeClr val="tx2"/>
                </a:solidFill>
              </a:defRPr>
            </a:lvl1pPr>
          </a:lstStyle>
          <a:p>
            <a:pPr lvl="0"/>
            <a:r>
              <a:rPr lang="en-US"/>
              <a:t>Insert notes</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648000" y="323850"/>
            <a:ext cx="164025" cy="125850"/>
          </a:xfrm>
        </p:spPr>
        <p:txBody>
          <a:bodyPr/>
          <a:lstStyle>
            <a:lvl1pPr algn="l">
              <a:defRPr>
                <a:solidFill>
                  <a:schemeClr val="tx2"/>
                </a:solid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23681105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446A0-6813-8797-A0A4-500784390E28}"/>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74D1EEFA-7A8C-1B75-6C86-1CD240F735A7}"/>
              </a:ext>
            </a:extLst>
          </p:cNvPr>
          <p:cNvSpPr>
            <a:spLocks noGrp="1"/>
          </p:cNvSpPr>
          <p:nvPr>
            <p:ph type="dt" sz="half" idx="10"/>
          </p:nvPr>
        </p:nvSpPr>
        <p:spPr/>
        <p:txBody>
          <a:bodyPr/>
          <a:lstStyle/>
          <a:p>
            <a:fld id="{B43E043E-FEFA-401B-8A68-D15904FCD981}" type="datetimeFigureOut">
              <a:rPr lang="en-ZA" smtClean="0"/>
              <a:t>17-Apr-2026</a:t>
            </a:fld>
            <a:endParaRPr lang="en-ZA"/>
          </a:p>
        </p:txBody>
      </p:sp>
      <p:sp>
        <p:nvSpPr>
          <p:cNvPr id="4" name="Footer Placeholder 3">
            <a:extLst>
              <a:ext uri="{FF2B5EF4-FFF2-40B4-BE49-F238E27FC236}">
                <a16:creationId xmlns:a16="http://schemas.microsoft.com/office/drawing/2014/main" id="{F80E4ABC-9044-AD2C-21ED-3823FA797434}"/>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C8A5A7A2-7C03-3981-E7BD-66D87B7DD6AE}"/>
              </a:ext>
            </a:extLst>
          </p:cNvPr>
          <p:cNvSpPr>
            <a:spLocks noGrp="1"/>
          </p:cNvSpPr>
          <p:nvPr>
            <p:ph type="sldNum" sz="quarter" idx="12"/>
          </p:nvPr>
        </p:nvSpPr>
        <p:spPr/>
        <p:txBody>
          <a:bodyPr/>
          <a:lstStyle/>
          <a:p>
            <a:fld id="{BE4206ED-D557-455E-94E6-8B071297D629}" type="slidenum">
              <a:rPr lang="en-ZA" smtClean="0"/>
              <a:t>‹#›</a:t>
            </a:fld>
            <a:endParaRPr lang="en-ZA"/>
          </a:p>
        </p:txBody>
      </p:sp>
    </p:spTree>
    <p:extLst>
      <p:ext uri="{BB962C8B-B14F-4D97-AF65-F5344CB8AC3E}">
        <p14:creationId xmlns:p14="http://schemas.microsoft.com/office/powerpoint/2010/main" val="28394465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a:t>Click to edit Master title style</a:t>
            </a:r>
            <a:endParaRPr lang="en-GB" noProof="0" dirty="0"/>
          </a:p>
        </p:txBody>
      </p:sp>
    </p:spTree>
    <p:extLst>
      <p:ext uri="{BB962C8B-B14F-4D97-AF65-F5344CB8AC3E}">
        <p14:creationId xmlns:p14="http://schemas.microsoft.com/office/powerpoint/2010/main" val="2690837526"/>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US" dirty="0"/>
              <a:t>Click here and insert picture via Templafy</a:t>
            </a:r>
          </a:p>
        </p:txBody>
      </p:sp>
      <p:sp>
        <p:nvSpPr>
          <p:cNvPr id="2" name="Title 1"/>
          <p:cNvSpPr>
            <a:spLocks noGrp="1"/>
          </p:cNvSpPr>
          <p:nvPr>
            <p:ph type="ctrTitle" hasCustomPrompt="1"/>
          </p:nvPr>
        </p:nvSpPr>
        <p:spPr bwMode="auto">
          <a:xfrm>
            <a:off x="648000" y="648000"/>
            <a:ext cx="8652000" cy="3104850"/>
          </a:xfrm>
        </p:spPr>
        <p:txBody>
          <a:bodyPr bIns="144000" anchor="b"/>
          <a:lstStyle>
            <a:lvl1pPr algn="l">
              <a:lnSpc>
                <a:spcPct val="100000"/>
              </a:lnSpc>
              <a:defRPr sz="4400">
                <a:solidFill>
                  <a:schemeClr val="bg1"/>
                </a:solidFill>
              </a:defRPr>
            </a:lvl1pPr>
          </a:lstStyle>
          <a:p>
            <a:r>
              <a:rPr lang="en-US" dirty="0"/>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US" dirty="0"/>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US"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US"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US"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3" name="dynamic logo whit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13011699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 name="Title 1"/>
          <p:cNvSpPr>
            <a:spLocks noGrp="1"/>
          </p:cNvSpPr>
          <p:nvPr>
            <p:ph type="ctrTitle" hasCustomPrompt="1"/>
          </p:nvPr>
        </p:nvSpPr>
        <p:spPr>
          <a:xfrm>
            <a:off x="647999" y="648000"/>
            <a:ext cx="8652001" cy="3104850"/>
          </a:xfrm>
        </p:spPr>
        <p:txBody>
          <a:bodyPr bIns="144000" anchor="b"/>
          <a:lstStyle>
            <a:lvl1pPr algn="l">
              <a:lnSpc>
                <a:spcPct val="100000"/>
              </a:lnSpc>
              <a:defRPr sz="4400">
                <a:solidFill>
                  <a:schemeClr val="bg1"/>
                </a:solidFill>
              </a:defRPr>
            </a:lvl1pPr>
          </a:lstStyle>
          <a:p>
            <a:r>
              <a:rPr lang="en-US"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US"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3913"/>
            <a:ext cx="1920001" cy="154800"/>
          </a:xfrm>
        </p:spPr>
        <p:txBody>
          <a:bodyPr/>
          <a:lstStyle>
            <a:lvl1pPr>
              <a:defRPr sz="1000" b="1">
                <a:solidFill>
                  <a:schemeClr val="bg1"/>
                </a:solidFill>
              </a:defRPr>
            </a:lvl1pPr>
          </a:lstStyle>
          <a:p>
            <a:endParaRPr lang="en-US"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US" dirty="0"/>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5" name="dynamic logo whit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85986361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3105000"/>
          </a:xfrm>
        </p:spPr>
        <p:txBody>
          <a:bodyPr bIns="144000" anchor="b"/>
          <a:lstStyle>
            <a:lvl1pPr algn="l">
              <a:lnSpc>
                <a:spcPct val="100000"/>
              </a:lnSpc>
              <a:defRPr sz="4400">
                <a:solidFill>
                  <a:schemeClr val="tx2"/>
                </a:solidFill>
              </a:defRPr>
            </a:lvl1pPr>
          </a:lstStyle>
          <a:p>
            <a:r>
              <a:rPr lang="en-US"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US"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7999" y="6055882"/>
            <a:ext cx="1920001" cy="154800"/>
          </a:xfrm>
        </p:spPr>
        <p:txBody>
          <a:bodyPr/>
          <a:lstStyle>
            <a:lvl1pPr>
              <a:defRPr sz="1000" b="1">
                <a:solidFill>
                  <a:schemeClr val="tx2"/>
                </a:solidFill>
              </a:defRPr>
            </a:lvl1pPr>
          </a:lstStyle>
          <a:p>
            <a:endParaRPr lang="en-US"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tx2"/>
                </a:solidFill>
                <a:latin typeface="+mj-lt"/>
              </a:defRPr>
            </a:lvl1pPr>
          </a:lstStyle>
          <a:p>
            <a:pPr lvl="0"/>
            <a:r>
              <a:rPr lang="en-US" dirty="0"/>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3" name="dynamic logo whit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1E4501D4-80DD-6712-25F4-A6D515CAB8F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2855177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2" y="1962816"/>
            <a:ext cx="8652001" cy="1871629"/>
          </a:xfrm>
        </p:spPr>
        <p:txBody>
          <a:bodyPr tIns="91440" bIns="91440" anchor="b" anchorCtr="0"/>
          <a:lstStyle>
            <a:lvl1pPr algn="l">
              <a:lnSpc>
                <a:spcPct val="100000"/>
              </a:lnSpc>
              <a:defRPr sz="3300">
                <a:solidFill>
                  <a:schemeClr val="tx2"/>
                </a:solidFill>
                <a:latin typeface="+mj-lt"/>
              </a:defRPr>
            </a:lvl1pPr>
          </a:lstStyle>
          <a:p>
            <a:r>
              <a:rPr lang="en-GB"/>
              <a:t>Click to add title</a:t>
            </a:r>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525">
                <a:solidFill>
                  <a:schemeClr val="tx2"/>
                </a:solidFill>
              </a:defRPr>
            </a:lvl1pPr>
          </a:lstStyle>
          <a:p>
            <a:fld id="{23AA811B-2EBD-4900-905E-5BE206449611}" type="slidenum">
              <a:rPr lang="en-GB" smtClean="0"/>
              <a:pPr/>
              <a:t>‹#›</a:t>
            </a:fld>
            <a:endParaRPr lang="en-GB"/>
          </a:p>
        </p:txBody>
      </p:sp>
      <p:sp>
        <p:nvSpPr>
          <p:cNvPr id="5" name="Text Placeholder 4">
            <a:extLst>
              <a:ext uri="{FF2B5EF4-FFF2-40B4-BE49-F238E27FC236}">
                <a16:creationId xmlns:a16="http://schemas.microsoft.com/office/drawing/2014/main" id="{E6F71D66-8A8E-4C10-A476-314785641A0A}"/>
              </a:ext>
            </a:extLst>
          </p:cNvPr>
          <p:cNvSpPr>
            <a:spLocks noGrp="1"/>
          </p:cNvSpPr>
          <p:nvPr>
            <p:ph type="body" sz="quarter" idx="17"/>
          </p:nvPr>
        </p:nvSpPr>
        <p:spPr>
          <a:xfrm>
            <a:off x="647702" y="3941235"/>
            <a:ext cx="8652001" cy="940659"/>
          </a:xfrm>
        </p:spPr>
        <p:txBody>
          <a:bodyPr/>
          <a:lstStyle>
            <a:lvl1pPr marL="0" indent="0">
              <a:buNone/>
              <a:defRPr>
                <a:solidFill>
                  <a:schemeClr val="accent5"/>
                </a:solidFill>
                <a:latin typeface="+mj-lt"/>
              </a:defRPr>
            </a:lvl1pPr>
            <a:lvl2pPr marL="202495" indent="0">
              <a:buNone/>
              <a:defRPr/>
            </a:lvl2pPr>
          </a:lstStyle>
          <a:p>
            <a:pPr lvl="0"/>
            <a:r>
              <a:rPr lang="en-US"/>
              <a:t>Click to edit Master text styles</a:t>
            </a:r>
          </a:p>
        </p:txBody>
      </p:sp>
      <p:sp>
        <p:nvSpPr>
          <p:cNvPr id="15" name="Date Placeholder 6">
            <a:extLst>
              <a:ext uri="{FF2B5EF4-FFF2-40B4-BE49-F238E27FC236}">
                <a16:creationId xmlns:a16="http://schemas.microsoft.com/office/drawing/2014/main" id="{AA4298F5-860C-4CD1-BA18-36787A8004F4}"/>
              </a:ext>
            </a:extLst>
          </p:cNvPr>
          <p:cNvSpPr>
            <a:spLocks noGrp="1"/>
          </p:cNvSpPr>
          <p:nvPr>
            <p:ph type="dt" sz="half" idx="10"/>
          </p:nvPr>
        </p:nvSpPr>
        <p:spPr>
          <a:xfrm>
            <a:off x="2892000" y="324002"/>
            <a:ext cx="1920000" cy="125851"/>
          </a:xfrm>
        </p:spPr>
        <p:txBody>
          <a:bodyPr/>
          <a:lstStyle/>
          <a:p>
            <a:fld id="{3406E89B-F1B0-48A4-8827-107446FBFBCE}" type="datetime3">
              <a:rPr lang="en-US" smtClean="0"/>
              <a:t>17 April 2026</a:t>
            </a:fld>
            <a:endParaRPr lang="en-GB"/>
          </a:p>
        </p:txBody>
      </p:sp>
      <p:sp>
        <p:nvSpPr>
          <p:cNvPr id="9" name="Text Placeholder 8">
            <a:extLst>
              <a:ext uri="{FF2B5EF4-FFF2-40B4-BE49-F238E27FC236}">
                <a16:creationId xmlns:a16="http://schemas.microsoft.com/office/drawing/2014/main" id="{2EA2B237-553D-4D16-B830-94B4CC58C931}"/>
              </a:ext>
            </a:extLst>
          </p:cNvPr>
          <p:cNvSpPr>
            <a:spLocks noGrp="1"/>
          </p:cNvSpPr>
          <p:nvPr>
            <p:ph type="body" sz="quarter" idx="18"/>
          </p:nvPr>
        </p:nvSpPr>
        <p:spPr>
          <a:xfrm>
            <a:off x="647700" y="4974331"/>
            <a:ext cx="8652933" cy="690033"/>
          </a:xfrm>
        </p:spPr>
        <p:txBody>
          <a:bodyPr/>
          <a:lstStyle>
            <a:lvl1pPr marL="0" indent="0">
              <a:buNone/>
              <a:defRPr sz="1200">
                <a:solidFill>
                  <a:schemeClr val="accent3"/>
                </a:solidFill>
                <a:latin typeface="+mj-lt"/>
              </a:defRPr>
            </a:lvl1pPr>
            <a:lvl2pPr marL="202495" indent="0">
              <a:buNone/>
              <a:defRPr/>
            </a:lvl2pPr>
          </a:lstStyle>
          <a:p>
            <a:pPr lvl="0"/>
            <a:r>
              <a:rPr lang="en-US"/>
              <a:t>Click to edit Master text styles</a:t>
            </a:r>
          </a:p>
        </p:txBody>
      </p:sp>
    </p:spTree>
    <p:extLst>
      <p:ext uri="{BB962C8B-B14F-4D97-AF65-F5344CB8AC3E}">
        <p14:creationId xmlns:p14="http://schemas.microsoft.com/office/powerpoint/2010/main" val="11332296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US"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799507"/>
            <a:ext cx="1920000" cy="154800"/>
          </a:xfrm>
        </p:spPr>
        <p:txBody>
          <a:bodyPr anchor="b"/>
          <a:lstStyle>
            <a:lvl1pPr marL="0" indent="0">
              <a:buNone/>
              <a:defRPr sz="1000" b="1">
                <a:solidFill>
                  <a:schemeClr val="tx2"/>
                </a:solidFill>
              </a:defRPr>
            </a:lvl1pPr>
          </a:lstStyle>
          <a:p>
            <a:pPr lvl="0"/>
            <a:r>
              <a:rPr lang="en-US" dirty="0"/>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5136000" y="6055200"/>
            <a:ext cx="1920001" cy="154800"/>
          </a:xfrm>
        </p:spPr>
        <p:txBody>
          <a:bodyPr/>
          <a:lstStyle>
            <a:lvl1pPr>
              <a:defRPr sz="1000" b="1">
                <a:solidFill>
                  <a:schemeClr val="tx2"/>
                </a:solidFill>
              </a:defRPr>
            </a:lvl1pPr>
          </a:lstStyle>
          <a:p>
            <a:endParaRPr lang="en-US"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3" name="dynamic logo whit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6031507D-6644-A3B6-BBED-4B812C95A40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6421430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noProof="0" dirty="0"/>
              <a:t>01 Agenda poi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US" smtClean="0"/>
              <a:pPr/>
              <a:t>‹#›</a:t>
            </a:fld>
            <a:endParaRPr lang="en-US"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US"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5" name="dynamic logo whit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39201205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noProof="0" dirty="0"/>
              <a:t>01 Agenda poi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3" name="dynamic logo whit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97129AA5-5F6C-4D56-9FE7-7F7D411655B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93106138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anded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C2AD94F7-3470-4EDF-8360-C604BB358116}" type="datetime3">
              <a:rPr lang="en-US" smtClean="0"/>
              <a:t>17 April 2026</a:t>
            </a:fld>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3" name="dynamic logo whit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289874BE-970D-D4C8-9E09-95F2102C6FC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162215729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lnSpc>
                <a:spcPts val="2600"/>
              </a:lnSpc>
              <a:spcBef>
                <a:spcPts val="0"/>
              </a:spcBef>
              <a:spcAft>
                <a:spcPts val="0"/>
              </a:spcAft>
              <a:buFont typeface="Arial" panose="020B0604020202020204" pitchFamily="34" charset="0"/>
              <a:buChar char="​"/>
              <a:tabLst/>
              <a:defRPr>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US" noProof="0" dirty="0"/>
              <a:t>Agenda point</a:t>
            </a:r>
          </a:p>
          <a:p>
            <a:pPr lvl="1"/>
            <a:r>
              <a:rPr lang="en-US" noProof="0" dirty="0"/>
              <a:t>Second level</a:t>
            </a:r>
          </a:p>
          <a:p>
            <a:pPr lvl="2"/>
            <a:r>
              <a:rPr lang="en-US" noProof="0"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noProof="0" dirty="0"/>
              <a:t>Fourth level</a:t>
            </a:r>
          </a:p>
          <a:p>
            <a:pPr lvl="4"/>
            <a:r>
              <a:rPr lang="en-US" noProof="0"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noProof="0" dirty="0"/>
              <a:t>6</a:t>
            </a:r>
          </a:p>
          <a:p>
            <a:pPr lvl="6"/>
            <a:r>
              <a:rPr lang="en-US" noProof="0"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noProof="0" dirty="0"/>
              <a:t>8</a:t>
            </a:r>
          </a:p>
          <a:p>
            <a:pPr lvl="8"/>
            <a:r>
              <a:rPr lang="en-US"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lnSpc>
                <a:spcPts val="2600"/>
              </a:lnSpc>
              <a:spcBef>
                <a:spcPts val="0"/>
              </a:spcBef>
              <a:spcAft>
                <a:spcPts val="0"/>
              </a:spcAft>
              <a:buFont typeface="Arial" panose="020B0604020202020204" pitchFamily="34" charset="0"/>
              <a:buChar char="​"/>
              <a:defRPr sz="2000">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dirty="0"/>
              <a:t>Fourth level</a:t>
            </a:r>
          </a:p>
          <a:p>
            <a:pPr lvl="4"/>
            <a:r>
              <a:rPr lang="en-US"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dirty="0"/>
              <a:t>6</a:t>
            </a:r>
          </a:p>
          <a:p>
            <a:pPr lvl="6"/>
            <a:r>
              <a:rPr lang="en-US"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dirty="0"/>
              <a:t>8</a:t>
            </a:r>
          </a:p>
          <a:p>
            <a:pPr lvl="8"/>
            <a:r>
              <a:rPr lang="en-US"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US" smtClean="0"/>
              <a:pPr/>
              <a:t>‹#›</a:t>
            </a:fld>
            <a:endParaRPr lang="en-US"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2" name="dynamic logo"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51093488-6AB7-37A0-89EA-AB79F453A22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37103009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US" noProof="0" dirty="0"/>
              <a:t>Click to add title</a:t>
            </a:r>
            <a:endParaRPr lang="en-US"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US"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US" smtClean="0"/>
              <a:pPr/>
              <a:t>‹#›</a:t>
            </a:fld>
            <a:endParaRPr lang="en-US" dirty="0"/>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6" name="dynamic logo whit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351051426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US"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US" noProof="0" dirty="0"/>
              <a:t>Click to add title</a:t>
            </a:r>
            <a:endParaRPr lang="en-US"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US"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US"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US"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6" name="dynamic logo"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F5E8B261-EC29-2FF5-230F-CD67CBFA525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182835038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US"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US"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15953272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0" y="3429000"/>
            <a:ext cx="11543999" cy="3104999"/>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US"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US" dirty="0"/>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68300799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US" dirty="0"/>
              <a:t>Click to add trumpet</a:t>
            </a:r>
          </a:p>
        </p:txBody>
      </p:sp>
    </p:spTree>
    <p:extLst>
      <p:ext uri="{BB962C8B-B14F-4D97-AF65-F5344CB8AC3E}">
        <p14:creationId xmlns:p14="http://schemas.microsoft.com/office/powerpoint/2010/main" val="34563471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8" y="2163600"/>
            <a:ext cx="6408844" cy="2379600"/>
          </a:xfrm>
        </p:spPr>
        <p:txBody>
          <a:bodyPr anchor="ctr"/>
          <a:lstStyle>
            <a:lvl1pPr algn="l">
              <a:lnSpc>
                <a:spcPct val="100000"/>
              </a:lnSpc>
              <a:defRPr sz="3300">
                <a:solidFill>
                  <a:schemeClr val="tx2"/>
                </a:solidFill>
                <a:latin typeface="+mj-lt"/>
              </a:defRPr>
            </a:lvl1pPr>
          </a:lstStyle>
          <a:p>
            <a:r>
              <a:rPr lang="en-GB"/>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750" b="1">
                <a:solidFill>
                  <a:schemeClr val="tx2"/>
                </a:solidFill>
                <a:latin typeface="+mj-lt"/>
              </a:defRPr>
            </a:lvl1pPr>
          </a:lstStyle>
          <a:p>
            <a:pPr lvl="0"/>
            <a:r>
              <a:rPr lang="en-GB"/>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750" b="0">
                <a:solidFill>
                  <a:schemeClr val="tx2"/>
                </a:solidFill>
                <a:latin typeface="+mj-lt"/>
              </a:defRPr>
            </a:lvl1pPr>
          </a:lstStyle>
          <a:p>
            <a:pPr lvl="0"/>
            <a:r>
              <a:rPr lang="en-GB"/>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750" b="0">
                <a:solidFill>
                  <a:schemeClr val="tx2"/>
                </a:solidFill>
                <a:latin typeface="+mj-lt"/>
              </a:defRPr>
            </a:lvl1pPr>
          </a:lstStyle>
          <a:p>
            <a:pPr lvl="0"/>
            <a:r>
              <a:rPr lang="en-GB"/>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7" y="5644800"/>
            <a:ext cx="1920001" cy="154800"/>
          </a:xfrm>
        </p:spPr>
        <p:txBody>
          <a:bodyPr/>
          <a:lstStyle>
            <a:lvl1pPr>
              <a:defRPr sz="750" b="1">
                <a:solidFill>
                  <a:schemeClr val="tx2"/>
                </a:solidFill>
                <a:latin typeface="+mj-lt"/>
              </a:defRPr>
            </a:lvl1pPr>
          </a:lstStyle>
          <a:p>
            <a:fld id="{3F25DEB1-9082-41D4-925C-113F57199754}" type="datetime3">
              <a:rPr lang="en-US" smtClean="0"/>
              <a:pPr/>
              <a:t>17 April 2026</a:t>
            </a:fld>
            <a:endParaRPr lang="en-GB"/>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050"/>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22"/>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013"/>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403"/>
            <a:ext cx="1919288" cy="308313"/>
          </a:xfrm>
          <a:prstGeom prst="rect">
            <a:avLst/>
          </a:prstGeom>
        </p:spPr>
        <p:txBody>
          <a:bodyPr vert="horz" lIns="0" tIns="0" rIns="0" bIns="0" rtlCol="0" anchor="t"/>
          <a:lstStyle>
            <a:lvl1pPr algn="l">
              <a:defRPr sz="750">
                <a:solidFill>
                  <a:schemeClr val="tx2"/>
                </a:solidFill>
                <a:latin typeface="+mj-lt"/>
              </a:defRPr>
            </a:lvl1pPr>
          </a:lstStyle>
          <a:p>
            <a:endParaRPr lang="en-GB"/>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525">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9104563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34528015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6408000" cy="4266166"/>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0"/>
            <a:ext cx="4164000" cy="4266166"/>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23222067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4163713" cy="42660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0"/>
            <a:ext cx="4164000" cy="4265999"/>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855644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9789802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0"/>
            <a:ext cx="4488000" cy="5886299"/>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19091347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6732001" cy="58863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69908536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4164001"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9193529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647700"/>
            <a:ext cx="1920000"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81793459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0"/>
            <a:ext cx="5286220" cy="1651119"/>
          </a:xfrm>
        </p:spPr>
        <p:txBody>
          <a:bodyPr anchor="t"/>
          <a:lstStyle>
            <a:lvl1pPr>
              <a:lnSpc>
                <a:spcPct val="100000"/>
              </a:lnSpc>
              <a:defRPr sz="3600" b="0"/>
            </a:lvl1pPr>
          </a:lstStyle>
          <a:p>
            <a:r>
              <a:rPr lang="en-US" noProof="0" dirty="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0" y="2488123"/>
            <a:ext cx="5286375" cy="3713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2" y="647700"/>
            <a:ext cx="5610217" cy="5886300"/>
          </a:xfrm>
          <a:solidFill>
            <a:srgbClr val="D8EAF8"/>
          </a:solidFill>
        </p:spPr>
        <p:txBody>
          <a:bodyPr/>
          <a:lstStyle>
            <a:lvl1pPr marL="0" indent="0">
              <a:buNone/>
              <a:defRPr sz="100">
                <a:no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0" y="968516"/>
            <a:ext cx="4965401" cy="5241483"/>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Tree>
    <p:extLst>
      <p:ext uri="{BB962C8B-B14F-4D97-AF65-F5344CB8AC3E}">
        <p14:creationId xmlns:p14="http://schemas.microsoft.com/office/powerpoint/2010/main" val="30708614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US"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US"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0309922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3"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05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3300">
                <a:solidFill>
                  <a:schemeClr val="bg1"/>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750" b="1">
                <a:solidFill>
                  <a:schemeClr val="bg1"/>
                </a:solidFill>
              </a:defRPr>
            </a:lvl1pPr>
          </a:lstStyle>
          <a:p>
            <a:pPr lvl="0"/>
            <a:r>
              <a:rPr lang="en-GB"/>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750" b="0">
                <a:solidFill>
                  <a:schemeClr val="bg1"/>
                </a:solidFill>
              </a:defRPr>
            </a:lvl1pPr>
          </a:lstStyle>
          <a:p>
            <a:pPr lvl="0"/>
            <a:r>
              <a:rPr lang="en-GB"/>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750" b="0">
                <a:solidFill>
                  <a:schemeClr val="bg1"/>
                </a:solidFill>
              </a:defRPr>
            </a:lvl1pPr>
          </a:lstStyle>
          <a:p>
            <a:pPr lvl="0"/>
            <a:r>
              <a:rPr lang="en-GB"/>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2001" y="5652000"/>
            <a:ext cx="1920001" cy="154800"/>
          </a:xfrm>
        </p:spPr>
        <p:txBody>
          <a:bodyPr/>
          <a:lstStyle>
            <a:lvl1pPr>
              <a:defRPr sz="750" b="1">
                <a:solidFill>
                  <a:schemeClr val="bg1"/>
                </a:solidFill>
              </a:defRPr>
            </a:lvl1pPr>
          </a:lstStyle>
          <a:p>
            <a:fld id="{7B858949-D512-4872-BBCD-5659279A21E8}" type="datetime3">
              <a:rPr lang="en-US" smtClean="0"/>
              <a:t>17 April 2026</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1"/>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525">
                <a:solidFill>
                  <a:schemeClr val="bg1"/>
                </a:solidFill>
              </a:defRPr>
            </a:lvl1pPr>
          </a:lstStyle>
          <a:p>
            <a:fld id="{23AA811B-2EBD-4900-905E-5BE206449611}" type="slidenum">
              <a:rPr lang="en-GB" smtClean="0"/>
              <a:pPr/>
              <a:t>‹#›</a:t>
            </a:fld>
            <a:endParaRPr lang="en-GB"/>
          </a:p>
        </p:txBody>
      </p:sp>
      <p:sp>
        <p:nvSpPr>
          <p:cNvPr id="3" name="Tagline" descr="{&quot;templafy&quot;:{&quot;id&quot;:&quot;6e4d522e-d4e2-4af1-98ae-a9c35f4d2b82&quot;}}" title="Form.PLogoChoice.PLogoInsertionWhite">
            <a:extLst>
              <a:ext uri="{FF2B5EF4-FFF2-40B4-BE49-F238E27FC236}">
                <a16:creationId xmlns:a16="http://schemas.microsoft.com/office/drawing/2014/main" id="{CC218D6D-FEFB-46D0-8813-C99976F4CA16}"/>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1829302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9948868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1565897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37056479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US"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33492208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US"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7191718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US"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3814251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US"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78902936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US"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9080143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endParaRPr lang="en-US"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256363036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US" smtClean="0"/>
              <a:t>‹#›</a:t>
            </a:fld>
            <a:endParaRPr lang="en-US" dirty="0"/>
          </a:p>
        </p:txBody>
      </p:sp>
    </p:spTree>
    <p:extLst>
      <p:ext uri="{BB962C8B-B14F-4D97-AF65-F5344CB8AC3E}">
        <p14:creationId xmlns:p14="http://schemas.microsoft.com/office/powerpoint/2010/main" val="37313050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
        <p:nvSpPr>
          <p:cNvPr id="2" name="Title 1"/>
          <p:cNvSpPr>
            <a:spLocks noGrp="1"/>
          </p:cNvSpPr>
          <p:nvPr>
            <p:ph type="ctrTitle" hasCustomPrompt="1"/>
          </p:nvPr>
        </p:nvSpPr>
        <p:spPr>
          <a:xfrm>
            <a:off x="648002" y="648000"/>
            <a:ext cx="8652001" cy="5562000"/>
          </a:xfrm>
        </p:spPr>
        <p:txBody>
          <a:bodyPr bIns="144000" anchor="ctr"/>
          <a:lstStyle>
            <a:lvl1pPr algn="l">
              <a:lnSpc>
                <a:spcPct val="100000"/>
              </a:lnSpc>
              <a:defRPr sz="3300">
                <a:solidFill>
                  <a:schemeClr val="bg1"/>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750" b="1">
                <a:solidFill>
                  <a:schemeClr val="bg1"/>
                </a:solidFill>
              </a:defRPr>
            </a:lvl1pPr>
          </a:lstStyle>
          <a:p>
            <a:pPr lvl="0"/>
            <a:r>
              <a:rPr lang="en-GB"/>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750" b="0">
                <a:solidFill>
                  <a:schemeClr val="bg1"/>
                </a:solidFill>
              </a:defRPr>
            </a:lvl1pPr>
          </a:lstStyle>
          <a:p>
            <a:pPr lvl="0"/>
            <a:r>
              <a:rPr lang="en-GB"/>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750" b="0">
                <a:solidFill>
                  <a:schemeClr val="bg1"/>
                </a:solidFill>
              </a:defRPr>
            </a:lvl1pPr>
          </a:lstStyle>
          <a:p>
            <a:pPr lvl="0"/>
            <a:r>
              <a:rPr lang="en-GB"/>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2001" y="5652000"/>
            <a:ext cx="1920001" cy="154800"/>
          </a:xfrm>
        </p:spPr>
        <p:txBody>
          <a:bodyPr/>
          <a:lstStyle>
            <a:lvl1pPr>
              <a:defRPr sz="750" b="1">
                <a:solidFill>
                  <a:schemeClr val="bg1"/>
                </a:solidFill>
              </a:defRPr>
            </a:lvl1pPr>
          </a:lstStyle>
          <a:p>
            <a:fld id="{A96FA12F-F025-4B95-888A-37270D121E6F}" type="datetime3">
              <a:rPr lang="en-US" smtClean="0"/>
              <a:t>17 April 2026</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22"/>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013"/>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525">
                <a:solidFill>
                  <a:schemeClr val="bg1"/>
                </a:solidFill>
              </a:defRPr>
            </a:lvl1pPr>
          </a:lstStyle>
          <a:p>
            <a:fld id="{23AA811B-2EBD-4900-905E-5BE206449611}" type="slidenum">
              <a:rPr lang="en-GB" smtClean="0"/>
              <a:pPr/>
              <a:t>‹#›</a:t>
            </a:fld>
            <a:endParaRPr lang="en-GB"/>
          </a:p>
        </p:txBody>
      </p:sp>
      <p:sp>
        <p:nvSpPr>
          <p:cNvPr id="5" name="Tagline" descr="{&quot;templafy&quot;:{&quot;id&quot;:&quot;e4f6bce7-501b-43d5-add4-96cf351eca04&quot;}}" title="Form.PLogoChoice.PLogoInsertionWhite">
            <a:extLst>
              <a:ext uri="{FF2B5EF4-FFF2-40B4-BE49-F238E27FC236}">
                <a16:creationId xmlns:a16="http://schemas.microsoft.com/office/drawing/2014/main" id="{9CE848CF-6894-4564-ABE3-C9ED24818DCD}"/>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12957386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00">
                <a:noFill/>
              </a:defRPr>
            </a:lvl1pPr>
          </a:lstStyle>
          <a:p>
            <a:endParaRPr lang="en-US" sz="100" dirty="0"/>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00">
                <a:noFill/>
              </a:defRPr>
            </a:lvl1pPr>
          </a:lstStyle>
          <a:p>
            <a:endParaRPr lang="en-US" sz="100" dirty="0"/>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US" smtClean="0"/>
              <a:pPr/>
              <a:t>‹#›</a:t>
            </a:fld>
            <a:endParaRPr lang="en-US" sz="100" dirty="0"/>
          </a:p>
        </p:txBody>
      </p:sp>
    </p:spTree>
    <p:extLst>
      <p:ext uri="{BB962C8B-B14F-4D97-AF65-F5344CB8AC3E}">
        <p14:creationId xmlns:p14="http://schemas.microsoft.com/office/powerpoint/2010/main" val="127119577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00">
                <a:noFill/>
              </a:defRPr>
            </a:lvl1pPr>
          </a:lstStyle>
          <a:p>
            <a:endParaRPr lang="en-US" sz="100" dirty="0"/>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00">
                <a:noFill/>
              </a:defRPr>
            </a:lvl1pPr>
          </a:lstStyle>
          <a:p>
            <a:endParaRPr lang="en-US" sz="100" dirty="0"/>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US" smtClean="0"/>
              <a:pPr/>
              <a:t>‹#›</a:t>
            </a:fld>
            <a:endParaRPr lang="en-US" sz="100" dirty="0"/>
          </a:p>
        </p:txBody>
      </p:sp>
    </p:spTree>
    <p:extLst>
      <p:ext uri="{BB962C8B-B14F-4D97-AF65-F5344CB8AC3E}">
        <p14:creationId xmlns:p14="http://schemas.microsoft.com/office/powerpoint/2010/main" val="27702342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PICTURES</a:t>
            </a:r>
            <a:br>
              <a:rPr lang="en-US" sz="900" dirty="0">
                <a:latin typeface="+mn-lt"/>
                <a:cs typeface="Arial" panose="020B0604020202020204" pitchFamily="34" charset="0"/>
              </a:rPr>
            </a:br>
            <a:r>
              <a:rPr lang="en-US" sz="900" b="1" noProof="1">
                <a:solidFill>
                  <a:schemeClr val="tx1"/>
                </a:solidFill>
                <a:latin typeface="+mn-lt"/>
                <a:cs typeface="Arial" panose="020B0604020202020204" pitchFamily="34" charset="0"/>
              </a:rPr>
              <a:t>Insert corporate picture from Templafy</a:t>
            </a: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panose="020B0604020202020204" pitchFamily="34" charset="0"/>
              </a:rPr>
              <a:t>1.</a:t>
            </a:r>
            <a:r>
              <a:rPr lang="en-US" altLang="da-DK" sz="900" b="0" noProof="1">
                <a:solidFill>
                  <a:schemeClr val="tx1"/>
                </a:solidFill>
                <a:latin typeface="+mn-lt"/>
                <a:cs typeface="Arial" panose="020B0604020202020204" pitchFamily="34" charset="0"/>
              </a:rPr>
              <a:t> Click the blue </a:t>
            </a:r>
            <a:r>
              <a:rPr lang="en-US" altLang="da-DK" sz="900" b="1" baseline="0" noProof="1">
                <a:solidFill>
                  <a:schemeClr val="tx1"/>
                </a:solidFill>
                <a:latin typeface="+mn-lt"/>
                <a:cs typeface="Arial" panose="020B0604020202020204" pitchFamily="34" charset="0"/>
              </a:rPr>
              <a:t>Templafy </a:t>
            </a:r>
            <a:r>
              <a:rPr lang="en-US"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2. </a:t>
            </a:r>
            <a:r>
              <a:rPr lang="en-US" altLang="da-DK" sz="900" b="0" baseline="0" noProof="1">
                <a:solidFill>
                  <a:schemeClr val="tx1"/>
                </a:solidFill>
                <a:latin typeface="+mn-lt"/>
                <a:cs typeface="Arial" panose="020B0604020202020204" pitchFamily="34" charset="0"/>
              </a:rPr>
              <a:t>In the dropdown, click </a:t>
            </a:r>
            <a:r>
              <a:rPr lang="en-US" altLang="da-DK" sz="900" b="1" baseline="0" noProof="1">
                <a:solidFill>
                  <a:schemeClr val="tx1"/>
                </a:solidFill>
                <a:latin typeface="+mn-lt"/>
                <a:cs typeface="Arial" panose="020B0604020202020204" pitchFamily="34" charset="0"/>
              </a:rPr>
              <a:t>Images</a:t>
            </a:r>
            <a:r>
              <a:rPr lang="en-US" altLang="da-DK" sz="900" b="0" baseline="0" noProof="1">
                <a:solidFill>
                  <a:schemeClr val="tx1"/>
                </a:solidFill>
                <a:latin typeface="+mn-lt"/>
                <a:cs typeface="Arial" panose="020B0604020202020204" pitchFamily="34" charset="0"/>
              </a:rPr>
              <a:t>, </a:t>
            </a:r>
            <a:br>
              <a:rPr lang="en-US"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or click the </a:t>
            </a:r>
            <a:r>
              <a:rPr lang="en-US" altLang="da-DK" sz="900" b="1" baseline="0" noProof="1">
                <a:solidFill>
                  <a:schemeClr val="tx1"/>
                </a:solidFill>
                <a:latin typeface="+mn-lt"/>
                <a:cs typeface="Arial" panose="020B0604020202020204" pitchFamily="34" charset="0"/>
              </a:rPr>
              <a:t>Images </a:t>
            </a:r>
            <a:r>
              <a:rPr lang="en-US" altLang="da-DK" sz="900" b="0" i="0" baseline="0" noProof="1">
                <a:solidFill>
                  <a:schemeClr val="tx1"/>
                </a:solidFill>
                <a:latin typeface="+mn-lt"/>
                <a:cs typeface="Arial" panose="020B0604020202020204" pitchFamily="34" charset="0"/>
              </a:rPr>
              <a:t>button</a:t>
            </a:r>
            <a:r>
              <a:rPr lang="en-US" altLang="da-DK" sz="900" b="0" baseline="0" noProof="1">
                <a:solidFill>
                  <a:schemeClr val="tx1"/>
                </a:solidFill>
                <a:latin typeface="+mn-lt"/>
                <a:cs typeface="Arial" panose="020B0604020202020204" pitchFamily="34" charset="0"/>
              </a:rPr>
              <a:t> in the Templafy pane on the right side of the screen</a:t>
            </a:r>
            <a:endParaRPr lang="en-US"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placeholder, click on the icon and choose </a:t>
            </a:r>
            <a:r>
              <a:rPr lang="en-US"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rop picture</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dragging the corners of the pictur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nsert a new one, the picture may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lie in front of the text or graphic.</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f this happens, select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TEXT STYLES</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levels. Click </a:t>
            </a:r>
            <a:r>
              <a:rPr lang="en-US" altLang="da-DK" sz="900" b="1" baseline="0" noProof="1">
                <a:solidFill>
                  <a:schemeClr val="tx1"/>
                </a:solidFill>
                <a:latin typeface="+mn-lt"/>
                <a:cs typeface="Arial" panose="020B0604020202020204" pitchFamily="34" charset="0"/>
              </a:rPr>
              <a:t>ENTER</a:t>
            </a:r>
            <a:r>
              <a:rPr lang="en-US" altLang="da-DK" sz="900" b="0" baseline="0" noProof="1">
                <a:solidFill>
                  <a:schemeClr val="tx1"/>
                </a:solidFill>
                <a:latin typeface="+mn-lt"/>
                <a:cs typeface="Arial" panose="020B0604020202020204" pitchFamily="34" charset="0"/>
              </a:rPr>
              <a:t>, then </a:t>
            </a:r>
            <a:r>
              <a:rPr lang="en-US" altLang="da-DK" sz="900" b="1" baseline="0" noProof="1">
                <a:solidFill>
                  <a:schemeClr val="tx1"/>
                </a:solidFill>
                <a:latin typeface="+mn-lt"/>
                <a:cs typeface="Arial" panose="020B0604020202020204" pitchFamily="34" charset="0"/>
              </a:rPr>
              <a:t>TAB</a:t>
            </a:r>
            <a:r>
              <a:rPr lang="en-US"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 </a:t>
            </a:r>
            <a:r>
              <a:rPr lang="en-US" sz="900" b="1" baseline="0" noProof="1">
                <a:solidFill>
                  <a:schemeClr val="tx1"/>
                </a:solidFill>
                <a:latin typeface="+mn-lt"/>
                <a:cs typeface="Arial" panose="020B0604020202020204" pitchFamily="34" charset="0"/>
              </a:rPr>
              <a:t>Decrease</a:t>
            </a:r>
            <a:br>
              <a:rPr lang="en-US" sz="900" b="1" baseline="0" noProof="1">
                <a:solidFill>
                  <a:schemeClr val="tx1"/>
                </a:solidFill>
                <a:latin typeface="+mn-lt"/>
                <a:cs typeface="Arial" panose="020B0604020202020204" pitchFamily="34" charset="0"/>
              </a:rPr>
            </a:br>
            <a:r>
              <a:rPr lang="en-US"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US" sz="900" baseline="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Delete bullet for regular text.</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tx1"/>
                </a:solidFill>
                <a:latin typeface="+mn-lt"/>
                <a:cs typeface="Arial" panose="020B0604020202020204" pitchFamily="34" charset="0"/>
              </a:rPr>
            </a:br>
            <a:r>
              <a:rPr lang="en-US" sz="1600" dirty="0">
                <a:latin typeface="+mn-lt"/>
                <a:cs typeface="Arial" panose="020B0604020202020204" pitchFamily="34" charset="0"/>
              </a:rPr>
              <a:t>SLIDES &amp; LAYOUTS</a:t>
            </a:r>
            <a:br>
              <a:rPr lang="en-US" altLang="da-DK" sz="900" b="1" noProof="1">
                <a:solidFill>
                  <a:schemeClr val="tx1"/>
                </a:solidFill>
                <a:latin typeface="+mn-lt"/>
                <a:cs typeface="Arial" panose="020B0604020202020204" pitchFamily="34" charset="0"/>
              </a:rPr>
            </a:br>
            <a:br>
              <a:rPr lang="en-US" altLang="da-DK" sz="900" b="1"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menu </a:t>
            </a:r>
            <a:r>
              <a:rPr lang="en-US" altLang="da-DK" sz="900" b="1" noProof="1">
                <a:solidFill>
                  <a:schemeClr val="tx1"/>
                </a:solidFill>
                <a:latin typeface="+mn-lt"/>
                <a:cs typeface="Arial" panose="020B0604020202020204" pitchFamily="34" charset="0"/>
              </a:rPr>
              <a:t>New Slide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Home</a:t>
            </a:r>
            <a:r>
              <a:rPr lang="en-US" altLang="da-DK" sz="900" b="0" noProof="1">
                <a:solidFill>
                  <a:schemeClr val="tx1"/>
                </a:solidFill>
                <a:latin typeface="+mn-lt"/>
                <a:cs typeface="Arial" panose="020B0604020202020204" pitchFamily="34" charset="0"/>
              </a:rPr>
              <a:t> tab to insert a new slide</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900" dirty="0">
                <a:solidFill>
                  <a:srgbClr val="000000"/>
                </a:solidFill>
                <a:latin typeface="+mn-lt"/>
                <a:ea typeface="Arial" panose="020B0604020202020204" pitchFamily="34" charset="0"/>
                <a:cs typeface="Arial" panose="020B0604020202020204" pitchFamily="34" charset="0"/>
              </a:rPr>
              <a:t>Click on the arrow next to </a:t>
            </a:r>
            <a:r>
              <a:rPr lang="en-US" sz="900" b="1" dirty="0">
                <a:solidFill>
                  <a:srgbClr val="000000"/>
                </a:solidFill>
                <a:latin typeface="+mn-lt"/>
                <a:ea typeface="Arial" panose="020B0604020202020204" pitchFamily="34" charset="0"/>
                <a:cs typeface="Arial" panose="020B0604020202020204" pitchFamily="34" charset="0"/>
              </a:rPr>
              <a:t>Layout</a:t>
            </a:r>
            <a:br>
              <a:rPr lang="en-US" sz="900" b="1" dirty="0">
                <a:solidFill>
                  <a:srgbClr val="000000"/>
                </a:solidFill>
                <a:latin typeface="+mn-lt"/>
                <a:ea typeface="Arial" panose="020B0604020202020204" pitchFamily="34" charset="0"/>
                <a:cs typeface="Arial" panose="020B0604020202020204" pitchFamily="34" charset="0"/>
              </a:rPr>
            </a:br>
            <a:r>
              <a:rPr lang="en-US"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US" altLang="da-DK" sz="900" b="0" baseline="0" noProof="1">
                <a:solidFill>
                  <a:schemeClr val="tx1"/>
                </a:solidFill>
                <a:latin typeface="+mn-lt"/>
                <a:cs typeface="Arial" panose="020B0604020202020204" pitchFamily="34" charset="0"/>
              </a:rPr>
            </a:br>
            <a:br>
              <a:rPr lang="en-US" altLang="da-DK" sz="900" b="0" baseline="0" noProof="1">
                <a:solidFill>
                  <a:schemeClr val="tx1"/>
                </a:solidFill>
                <a:latin typeface="+mn-lt"/>
                <a:cs typeface="Arial" panose="020B0604020202020204" pitchFamily="34" charset="0"/>
              </a:rPr>
            </a:br>
            <a:r>
              <a:rPr lang="en-US"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tx1"/>
                </a:solidFill>
                <a:latin typeface="+mn-lt"/>
                <a:cs typeface="Arial" panose="020B0604020202020204" pitchFamily="34" charset="0"/>
              </a:rPr>
              <a:t>Click the </a:t>
            </a:r>
            <a:r>
              <a:rPr lang="en-US" altLang="da-DK" sz="900" b="1" baseline="0" noProof="1">
                <a:solidFill>
                  <a:schemeClr val="tx1"/>
                </a:solidFill>
                <a:latin typeface="+mn-lt"/>
                <a:cs typeface="Arial" panose="020B0604020202020204" pitchFamily="34" charset="0"/>
              </a:rPr>
              <a:t>Reset </a:t>
            </a:r>
            <a:r>
              <a:rPr lang="en-US" altLang="da-DK" sz="900" noProof="1">
                <a:solidFill>
                  <a:schemeClr val="tx1"/>
                </a:solidFill>
                <a:latin typeface="+mn-lt"/>
                <a:cs typeface="Arial" panose="020B0604020202020204" pitchFamily="34" charset="0"/>
              </a:rPr>
              <a:t>menu to reset position, size</a:t>
            </a:r>
            <a:r>
              <a:rPr lang="en-US" altLang="da-DK" sz="900" baseline="0" noProof="1">
                <a:solidFill>
                  <a:schemeClr val="tx1"/>
                </a:solidFill>
                <a:latin typeface="+mn-lt"/>
                <a:cs typeface="Arial" panose="020B0604020202020204" pitchFamily="34" charset="0"/>
              </a:rPr>
              <a:t> and formatting of the </a:t>
            </a:r>
            <a:br>
              <a:rPr lang="en-US" altLang="da-DK" sz="900" baseline="0" noProof="1">
                <a:solidFill>
                  <a:schemeClr val="tx1"/>
                </a:solidFill>
                <a:latin typeface="+mn-lt"/>
                <a:cs typeface="Arial" panose="020B0604020202020204" pitchFamily="34" charset="0"/>
              </a:rPr>
            </a:br>
            <a:r>
              <a:rPr lang="en-US" altLang="da-DK" sz="900" baseline="0" noProof="1">
                <a:solidFill>
                  <a:schemeClr val="tx1"/>
                </a:solidFill>
                <a:latin typeface="+mn-lt"/>
                <a:cs typeface="Arial" panose="020B0604020202020204" pitchFamily="34" charset="0"/>
              </a:rPr>
              <a:t>slide placeholders to their default settings</a:t>
            </a:r>
            <a:endParaRPr lang="en-US" altLang="da-DK" sz="900" noProof="1">
              <a:solidFill>
                <a:schemeClr val="tx1"/>
              </a:solidFill>
              <a:latin typeface="+mn-lt"/>
              <a:cs typeface="Arial" panose="020B0604020202020204" pitchFamily="34" charset="0"/>
            </a:endParaRPr>
          </a:p>
          <a:p>
            <a:pPr eaLnBrk="1" hangingPunct="1">
              <a:spcAft>
                <a:spcPts val="600"/>
              </a:spcAft>
              <a:defRPr/>
            </a:pPr>
            <a:endParaRPr lang="en-US"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HEADER &amp; FOOTER</a:t>
            </a:r>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nd Footer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Insert</a:t>
            </a:r>
            <a:r>
              <a:rPr lang="en-US"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GRIDLINES</a:t>
            </a:r>
            <a:endParaRPr lang="en-US" sz="16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View</a:t>
            </a:r>
            <a:r>
              <a:rPr lang="en-US" altLang="da-DK" sz="900" b="0" noProof="1">
                <a:solidFill>
                  <a:schemeClr val="tx1"/>
                </a:solidFill>
                <a:latin typeface="+mn-lt"/>
                <a:cs typeface="Arial" panose="020B0604020202020204" pitchFamily="34" charset="0"/>
              </a:rPr>
              <a:t> tab and set tick mark next to </a:t>
            </a:r>
            <a:r>
              <a:rPr lang="en-US" altLang="da-DK" sz="900" b="1" noProof="1">
                <a:solidFill>
                  <a:schemeClr val="tx1"/>
                </a:solidFill>
                <a:latin typeface="+mn-lt"/>
                <a:cs typeface="Arial" panose="020B0604020202020204" pitchFamily="34" charset="0"/>
              </a:rPr>
              <a:t>Guides</a:t>
            </a: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lt + F9 </a:t>
            </a:r>
            <a:r>
              <a:rPr lang="en-US"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Insert predefined slides and elements from the Templafy button. Choose </a:t>
            </a:r>
            <a:r>
              <a:rPr lang="en-US" altLang="da-DK" sz="900" b="1" noProof="1">
                <a:solidFill>
                  <a:schemeClr val="tx1"/>
                </a:solidFill>
                <a:latin typeface="+mn-lt"/>
                <a:cs typeface="Arial" panose="020B0604020202020204" pitchFamily="34" charset="0"/>
              </a:rPr>
              <a:t>Slides</a:t>
            </a:r>
            <a:r>
              <a:rPr lang="en-US" altLang="da-DK" sz="900" b="0" noProof="1">
                <a:solidFill>
                  <a:schemeClr val="tx1"/>
                </a:solidFill>
                <a:latin typeface="+mn-lt"/>
                <a:cs typeface="Arial" panose="020B0604020202020204" pitchFamily="34" charset="0"/>
              </a:rPr>
              <a:t> and </a:t>
            </a:r>
            <a:r>
              <a:rPr lang="en-US" altLang="da-DK" sz="900" b="1" noProof="1">
                <a:solidFill>
                  <a:schemeClr val="tx1"/>
                </a:solidFill>
                <a:latin typeface="+mn-lt"/>
                <a:cs typeface="Arial" panose="020B0604020202020204" pitchFamily="34" charset="0"/>
              </a:rPr>
              <a:t>Slide elements </a:t>
            </a:r>
            <a:r>
              <a:rPr lang="en-US"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US"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endParaRPr lang="en-US"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US"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350478202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bg1"/>
                </a:solidFill>
              </a:rPr>
              <a:t>If you see any </a:t>
            </a:r>
            <a:r>
              <a:rPr lang="en-US" sz="4400" b="1" i="1" noProof="0" dirty="0">
                <a:solidFill>
                  <a:schemeClr val="bg1"/>
                </a:solidFill>
              </a:rPr>
              <a:t>layouts after this </a:t>
            </a:r>
            <a:r>
              <a:rPr lang="en-US" sz="4400" b="0" i="0" noProof="0" dirty="0">
                <a:solidFill>
                  <a:schemeClr val="bg1"/>
                </a:solidFill>
              </a:rPr>
              <a:t>one</a:t>
            </a:r>
            <a:r>
              <a:rPr lang="en-US" sz="4400" b="1" i="1" noProof="0" dirty="0">
                <a:solidFill>
                  <a:schemeClr val="bg1"/>
                </a:solidFill>
              </a:rPr>
              <a:t>,</a:t>
            </a:r>
            <a:br>
              <a:rPr lang="en-US" sz="4400" b="0" i="0" noProof="0" dirty="0">
                <a:solidFill>
                  <a:schemeClr val="bg1"/>
                </a:solidFill>
              </a:rPr>
            </a:br>
            <a:r>
              <a:rPr lang="en-US" sz="4400" b="0" noProof="0" dirty="0">
                <a:solidFill>
                  <a:schemeClr val="bg1"/>
                </a:solidFill>
              </a:rPr>
              <a:t>do not use them. These layouts </a:t>
            </a:r>
            <a:r>
              <a:rPr lang="en-US" sz="4400" b="1" i="1" u="none" noProof="0" dirty="0">
                <a:solidFill>
                  <a:schemeClr val="bg1"/>
                </a:solidFill>
              </a:rPr>
              <a:t>are not </a:t>
            </a:r>
            <a:r>
              <a:rPr lang="en-US" sz="4400" b="0" noProof="0" dirty="0">
                <a:solidFill>
                  <a:schemeClr val="bg1"/>
                </a:solidFill>
              </a:rPr>
              <a:t>part of our corporate template.</a:t>
            </a:r>
            <a:br>
              <a:rPr lang="en-US" sz="2800" b="0" noProof="0" dirty="0">
                <a:solidFill>
                  <a:schemeClr val="bg1"/>
                </a:solidFill>
              </a:rPr>
            </a:br>
            <a:br>
              <a:rPr lang="en-US" sz="2800" b="0" noProof="0" dirty="0">
                <a:solidFill>
                  <a:schemeClr val="bg1"/>
                </a:solidFill>
              </a:rPr>
            </a:br>
            <a:endParaRPr lang="en-US"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US" sz="13800" b="1" i="1" noProof="0" dirty="0">
                <a:solidFill>
                  <a:schemeClr val="bg1"/>
                </a:solidFill>
              </a:rPr>
              <a:t>Do not use </a:t>
            </a:r>
            <a:endParaRPr lang="en-US"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Also notice: Layouts after this might contain potential confidential information.</a:t>
            </a:r>
            <a:br>
              <a:rPr lang="en-US" sz="1800" b="0" noProof="0" dirty="0">
                <a:solidFill>
                  <a:schemeClr val="bg1"/>
                </a:solidFill>
              </a:rPr>
            </a:br>
            <a:endParaRPr lang="en-US"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US"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US"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25104893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US" dirty="0"/>
              <a:t>Click here and insert picture via Templafy</a:t>
            </a:r>
          </a:p>
        </p:txBody>
      </p:sp>
      <p:sp>
        <p:nvSpPr>
          <p:cNvPr id="2" name="Title 1"/>
          <p:cNvSpPr>
            <a:spLocks noGrp="1"/>
          </p:cNvSpPr>
          <p:nvPr>
            <p:ph type="ctrTitle" hasCustomPrompt="1"/>
          </p:nvPr>
        </p:nvSpPr>
        <p:spPr bwMode="auto">
          <a:xfrm>
            <a:off x="648000" y="648000"/>
            <a:ext cx="8652000" cy="3104850"/>
          </a:xfrm>
        </p:spPr>
        <p:txBody>
          <a:bodyPr bIns="144000" anchor="b"/>
          <a:lstStyle>
            <a:lvl1pPr algn="l">
              <a:lnSpc>
                <a:spcPct val="100000"/>
              </a:lnSpc>
              <a:defRPr sz="4400">
                <a:solidFill>
                  <a:schemeClr val="bg1"/>
                </a:solidFill>
              </a:defRPr>
            </a:lvl1pPr>
          </a:lstStyle>
          <a:p>
            <a:r>
              <a:rPr lang="en-US" dirty="0"/>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US" dirty="0"/>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US"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US"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US"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4" name="dynamic logo white" descr="{&quot;templafy&quot;:{&quot;id&quot;:&quot;ffd8a187-02e1-48fe-9a22-9fb471649901&quot;}}" title="Form.PLogoChoice.PLogoInsertionWhite">
            <a:extLst>
              <a:ext uri="{FF2B5EF4-FFF2-40B4-BE49-F238E27FC236}">
                <a16:creationId xmlns:a16="http://schemas.microsoft.com/office/drawing/2014/main" id="{C5FCC1DF-363B-E72E-C9AA-B53C438C43D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8642416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 name="Title 1"/>
          <p:cNvSpPr>
            <a:spLocks noGrp="1"/>
          </p:cNvSpPr>
          <p:nvPr>
            <p:ph type="ctrTitle" hasCustomPrompt="1"/>
          </p:nvPr>
        </p:nvSpPr>
        <p:spPr>
          <a:xfrm>
            <a:off x="647999" y="648000"/>
            <a:ext cx="8652001" cy="3104850"/>
          </a:xfrm>
        </p:spPr>
        <p:txBody>
          <a:bodyPr bIns="144000" anchor="b"/>
          <a:lstStyle>
            <a:lvl1pPr algn="l">
              <a:lnSpc>
                <a:spcPct val="100000"/>
              </a:lnSpc>
              <a:defRPr sz="4400">
                <a:solidFill>
                  <a:schemeClr val="bg1"/>
                </a:solidFill>
              </a:defRPr>
            </a:lvl1pPr>
          </a:lstStyle>
          <a:p>
            <a:r>
              <a:rPr lang="en-US"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US"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3913"/>
            <a:ext cx="1920001" cy="154800"/>
          </a:xfrm>
        </p:spPr>
        <p:txBody>
          <a:bodyPr/>
          <a:lstStyle>
            <a:lvl1pPr>
              <a:defRPr sz="1000" b="1">
                <a:solidFill>
                  <a:schemeClr val="bg1"/>
                </a:solidFill>
              </a:defRPr>
            </a:lvl1pPr>
          </a:lstStyle>
          <a:p>
            <a:endParaRPr lang="en-US"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US" dirty="0"/>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5" name="dynamic logo white" descr="{&quot;templafy&quot;:{&quot;id&quot;:&quot;7d81ad23-f2a5-47b4-9645-d31a4efe1284&quot;}}" title="Form.PLogoChoice.PLogoInsertionWhite">
            <a:extLst>
              <a:ext uri="{FF2B5EF4-FFF2-40B4-BE49-F238E27FC236}">
                <a16:creationId xmlns:a16="http://schemas.microsoft.com/office/drawing/2014/main" id="{6710F327-85FB-CF0C-0969-475E9A09AE2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21038178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3105000"/>
          </a:xfrm>
        </p:spPr>
        <p:txBody>
          <a:bodyPr bIns="144000" anchor="b"/>
          <a:lstStyle>
            <a:lvl1pPr algn="l">
              <a:lnSpc>
                <a:spcPct val="100000"/>
              </a:lnSpc>
              <a:defRPr sz="4400">
                <a:solidFill>
                  <a:schemeClr val="tx2"/>
                </a:solidFill>
              </a:defRPr>
            </a:lvl1pPr>
          </a:lstStyle>
          <a:p>
            <a:r>
              <a:rPr lang="en-US"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US"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7999" y="6055882"/>
            <a:ext cx="1920001" cy="154800"/>
          </a:xfrm>
        </p:spPr>
        <p:txBody>
          <a:bodyPr/>
          <a:lstStyle>
            <a:lvl1pPr>
              <a:defRPr sz="1000" b="1">
                <a:solidFill>
                  <a:schemeClr val="tx2"/>
                </a:solidFill>
              </a:defRPr>
            </a:lvl1pPr>
          </a:lstStyle>
          <a:p>
            <a:endParaRPr lang="en-US"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tx2"/>
                </a:solidFill>
                <a:latin typeface="+mj-lt"/>
              </a:defRPr>
            </a:lvl1pPr>
          </a:lstStyle>
          <a:p>
            <a:pPr lvl="0"/>
            <a:r>
              <a:rPr lang="en-US" dirty="0"/>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3" name="dynamic logo" descr="{&quot;templafy&quot;:{&quot;id&quot;:&quot;23b968e7-318f-44fd-b0f8-e7c75bc8b4fe&quot;}}" title="Form.PLogoChoice.PLogoInsertion">
            <a:extLst>
              <a:ext uri="{FF2B5EF4-FFF2-40B4-BE49-F238E27FC236}">
                <a16:creationId xmlns:a16="http://schemas.microsoft.com/office/drawing/2014/main" id="{2CF51ADE-B2CC-B4D3-5513-A6A66C77DEB7}"/>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dynamic year 100" descr="{&quot;templafy&quot;:{&quot;id&quot;:&quot;6b85331b-3c1e-4183-90f5-1b0c40617904&quot;}}" title="Form.PLogoChoice.PLogoInsertion">
            <a:extLst>
              <a:ext uri="{FF2B5EF4-FFF2-40B4-BE49-F238E27FC236}">
                <a16:creationId xmlns:a16="http://schemas.microsoft.com/office/drawing/2014/main" id="{1E4501D4-80DD-6712-25F4-A6D515CAB8F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23695341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US"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799507"/>
            <a:ext cx="1920000" cy="154800"/>
          </a:xfrm>
        </p:spPr>
        <p:txBody>
          <a:bodyPr anchor="b"/>
          <a:lstStyle>
            <a:lvl1pPr marL="0" indent="0">
              <a:buNone/>
              <a:defRPr sz="1000" b="1">
                <a:solidFill>
                  <a:schemeClr val="tx2"/>
                </a:solidFill>
              </a:defRPr>
            </a:lvl1pPr>
          </a:lstStyle>
          <a:p>
            <a:pPr lvl="0"/>
            <a:r>
              <a:rPr lang="en-US" dirty="0"/>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5136000" y="6055200"/>
            <a:ext cx="1920001" cy="154800"/>
          </a:xfrm>
        </p:spPr>
        <p:txBody>
          <a:bodyPr/>
          <a:lstStyle>
            <a:lvl1pPr>
              <a:defRPr sz="1000" b="1">
                <a:solidFill>
                  <a:schemeClr val="tx2"/>
                </a:solidFill>
              </a:defRPr>
            </a:lvl1pPr>
          </a:lstStyle>
          <a:p>
            <a:endParaRPr lang="en-US"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US" dirty="0"/>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US" smtClean="0"/>
              <a:pPr/>
              <a:t>‹#›</a:t>
            </a:fld>
            <a:endParaRPr lang="en-US" dirty="0"/>
          </a:p>
        </p:txBody>
      </p:sp>
      <p:sp>
        <p:nvSpPr>
          <p:cNvPr id="3" name="dynamic logo" descr="{&quot;templafy&quot;:{&quot;id&quot;:&quot;3cf02c1b-de07-46fc-b12b-a88f1b74288f&quot;}}" title="Form.PLogoChoice.PLogoInsertion">
            <a:extLst>
              <a:ext uri="{FF2B5EF4-FFF2-40B4-BE49-F238E27FC236}">
                <a16:creationId xmlns:a16="http://schemas.microsoft.com/office/drawing/2014/main" id="{519FA106-F411-F9C9-D449-308F55049C8F}"/>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dynamic year 100" descr="{&quot;templafy&quot;:{&quot;id&quot;:&quot;338c16ac-f273-427c-872a-10119817d4de&quot;}}" title="Form.PLogoChoice.PLogoInsertion">
            <a:extLst>
              <a:ext uri="{FF2B5EF4-FFF2-40B4-BE49-F238E27FC236}">
                <a16:creationId xmlns:a16="http://schemas.microsoft.com/office/drawing/2014/main" id="{6031507D-6644-A3B6-BBED-4B812C95A40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122035706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noProof="0" dirty="0"/>
              <a:t>01 Agenda poi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US" smtClean="0"/>
              <a:pPr/>
              <a:t>‹#›</a:t>
            </a:fld>
            <a:endParaRPr lang="en-US"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US"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5" name="dynamic logo white" descr="{&quot;templafy&quot;:{&quot;id&quot;:&quot;79f3a628-a608-4162-a1c5-67d73f2fbbc6&quot;}}" title="Form.PLogoChoice.PLogoInsertionWhite">
            <a:extLst>
              <a:ext uri="{FF2B5EF4-FFF2-40B4-BE49-F238E27FC236}">
                <a16:creationId xmlns:a16="http://schemas.microsoft.com/office/drawing/2014/main" id="{6ED7F931-BA7C-4B68-C51D-0E73BD0BBFC9}"/>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292294950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noProof="0" dirty="0"/>
              <a:t>01 Agenda poi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3" name="dynamic logo" descr="{&quot;templafy&quot;:{&quot;id&quot;:&quot;33a0716b-22fc-41d4-acf8-1ce30e3346e4&quot;}}" title="Form.PLogoChoice.PLogoInsertion">
            <a:extLst>
              <a:ext uri="{FF2B5EF4-FFF2-40B4-BE49-F238E27FC236}">
                <a16:creationId xmlns:a16="http://schemas.microsoft.com/office/drawing/2014/main" id="{3812ECF8-B6AF-45BC-FBA9-ACA31DD77C6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 name="dynamic year 100" descr="{&quot;templafy&quot;:{&quot;id&quot;:&quot;168bd182-9ef5-4e3d-b512-1d83c5fd765c&quot;}}" hidden="1" title="Form.PLogoChoice.PLogoInsertion">
            <a:extLst>
              <a:ext uri="{FF2B5EF4-FFF2-40B4-BE49-F238E27FC236}">
                <a16:creationId xmlns:a16="http://schemas.microsoft.com/office/drawing/2014/main" id="{97129AA5-5F6C-4D56-9FE7-7F7D411655B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2669065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2" y="648000"/>
            <a:ext cx="8652001" cy="5562000"/>
          </a:xfrm>
        </p:spPr>
        <p:txBody>
          <a:bodyPr bIns="144000" anchor="ctr"/>
          <a:lstStyle>
            <a:lvl1pPr algn="l">
              <a:lnSpc>
                <a:spcPct val="100000"/>
              </a:lnSpc>
              <a:defRPr sz="3300">
                <a:solidFill>
                  <a:schemeClr val="tx2"/>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750" b="1">
                <a:solidFill>
                  <a:schemeClr val="tx2"/>
                </a:solidFill>
              </a:defRPr>
            </a:lvl1pPr>
          </a:lstStyle>
          <a:p>
            <a:pPr lvl="0"/>
            <a:r>
              <a:rPr lang="en-GB"/>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750" b="0">
                <a:solidFill>
                  <a:schemeClr val="tx2"/>
                </a:solidFill>
              </a:defRPr>
            </a:lvl1pPr>
          </a:lstStyle>
          <a:p>
            <a:pPr lvl="0"/>
            <a:r>
              <a:rPr lang="en-GB"/>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750" b="0">
                <a:solidFill>
                  <a:schemeClr val="tx2"/>
                </a:solidFill>
              </a:defRPr>
            </a:lvl1pPr>
          </a:lstStyle>
          <a:p>
            <a:pPr lvl="0"/>
            <a:r>
              <a:rPr lang="en-GB"/>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2001" y="5652000"/>
            <a:ext cx="1920001" cy="154800"/>
          </a:xfrm>
        </p:spPr>
        <p:txBody>
          <a:bodyPr/>
          <a:lstStyle>
            <a:lvl1pPr>
              <a:defRPr sz="750" b="1">
                <a:solidFill>
                  <a:schemeClr val="tx2"/>
                </a:solidFill>
              </a:defRPr>
            </a:lvl1pPr>
          </a:lstStyle>
          <a:p>
            <a:fld id="{CA27F7B4-F98D-4CAF-BB7C-3984BBCDBD89}" type="datetime3">
              <a:rPr lang="en-US" smtClean="0"/>
              <a:t>17 April 2026</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22"/>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013"/>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525">
                <a:solidFill>
                  <a:schemeClr val="tx2"/>
                </a:solidFill>
              </a:defRPr>
            </a:lvl1pPr>
          </a:lstStyle>
          <a:p>
            <a:fld id="{23AA811B-2EBD-4900-905E-5BE206449611}" type="slidenum">
              <a:rPr lang="en-GB" smtClean="0"/>
              <a:pPr/>
              <a:t>‹#›</a:t>
            </a:fld>
            <a:endParaRPr lang="en-GB"/>
          </a:p>
        </p:txBody>
      </p:sp>
      <p:sp>
        <p:nvSpPr>
          <p:cNvPr id="3" name="Tagline" descr="{&quot;templafy&quot;:{&quot;id&quot;:&quot;237cc8ce-a8bb-493a-8167-0dbb0fdc5d51&quot;}}" title="Form.PLogoChoice.PLogoInsertion">
            <a:extLst>
              <a:ext uri="{FF2B5EF4-FFF2-40B4-BE49-F238E27FC236}">
                <a16:creationId xmlns:a16="http://schemas.microsoft.com/office/drawing/2014/main" id="{8AE78219-5CBB-4760-B800-636AFE0A99A8}"/>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11355422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randed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C2AD94F7-3470-4EDF-8360-C604BB358116}" type="datetime3">
              <a:rPr lang="en-US" smtClean="0"/>
              <a:t>17 April 2026</a:t>
            </a:fld>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5" name="dynamic year 100" descr="{&quot;templafy&quot;:{&quot;id&quot;:&quot;73490c22-471e-4781-8099-e9f104573d1e&quot;}}" title="Form.PLogoChoice.PLogoInsertion">
            <a:extLst>
              <a:ext uri="{FF2B5EF4-FFF2-40B4-BE49-F238E27FC236}">
                <a16:creationId xmlns:a16="http://schemas.microsoft.com/office/drawing/2014/main" id="{289874BE-970D-D4C8-9E09-95F2102C6FC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dynamic logo" descr="{&quot;templafy&quot;:{&quot;id&quot;:&quot;c38fbdfb-c3c5-4ec3-93ce-b5bd6d3a8b9e&quot;}}" title="Form.PLogoChoice.PLogoInsertion">
            <a:extLst>
              <a:ext uri="{FF2B5EF4-FFF2-40B4-BE49-F238E27FC236}">
                <a16:creationId xmlns:a16="http://schemas.microsoft.com/office/drawing/2014/main" id="{E9B6A2DE-5699-838D-85ED-F231108A9E4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426061010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lnSpc>
                <a:spcPts val="2600"/>
              </a:lnSpc>
              <a:spcBef>
                <a:spcPts val="0"/>
              </a:spcBef>
              <a:spcAft>
                <a:spcPts val="0"/>
              </a:spcAft>
              <a:buFont typeface="Arial" panose="020B0604020202020204" pitchFamily="34" charset="0"/>
              <a:buChar char="​"/>
              <a:tabLst/>
              <a:defRPr>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US" noProof="0" dirty="0"/>
              <a:t>Agenda point</a:t>
            </a:r>
          </a:p>
          <a:p>
            <a:pPr lvl="1"/>
            <a:r>
              <a:rPr lang="en-US" noProof="0" dirty="0"/>
              <a:t>Second level</a:t>
            </a:r>
          </a:p>
          <a:p>
            <a:pPr lvl="2"/>
            <a:r>
              <a:rPr lang="en-US" noProof="0"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noProof="0" dirty="0"/>
              <a:t>Fourth level</a:t>
            </a:r>
          </a:p>
          <a:p>
            <a:pPr lvl="4"/>
            <a:r>
              <a:rPr lang="en-US" noProof="0"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noProof="0" dirty="0"/>
              <a:t>6</a:t>
            </a:r>
          </a:p>
          <a:p>
            <a:pPr lvl="6"/>
            <a:r>
              <a:rPr lang="en-US" noProof="0"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noProof="0" dirty="0"/>
              <a:t>8</a:t>
            </a:r>
          </a:p>
          <a:p>
            <a:pPr lvl="8"/>
            <a:r>
              <a:rPr lang="en-US"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lnSpc>
                <a:spcPts val="2600"/>
              </a:lnSpc>
              <a:spcBef>
                <a:spcPts val="0"/>
              </a:spcBef>
              <a:spcAft>
                <a:spcPts val="0"/>
              </a:spcAft>
              <a:buFont typeface="Arial" panose="020B0604020202020204" pitchFamily="34" charset="0"/>
              <a:buChar char="​"/>
              <a:defRPr sz="2000">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dirty="0"/>
              <a:t>Fourth level</a:t>
            </a:r>
          </a:p>
          <a:p>
            <a:pPr lvl="4"/>
            <a:r>
              <a:rPr lang="en-US"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dirty="0"/>
              <a:t>6</a:t>
            </a:r>
          </a:p>
          <a:p>
            <a:pPr lvl="6"/>
            <a:r>
              <a:rPr lang="en-US"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US" dirty="0"/>
              <a:t>8</a:t>
            </a:r>
          </a:p>
          <a:p>
            <a:pPr lvl="8"/>
            <a:r>
              <a:rPr lang="en-US"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US"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US" smtClean="0"/>
              <a:pPr/>
              <a:t>‹#›</a:t>
            </a:fld>
            <a:endParaRPr lang="en-US"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2" name="dynamic logo" descr="{&quot;templafy&quot;:{&quot;id&quot;:&quot;2ebfd99c-61f4-479e-8511-6b3f6757b77b&quot;}}" title="Form.PLogoChoice.PLogoInsertion">
            <a:extLst>
              <a:ext uri="{FF2B5EF4-FFF2-40B4-BE49-F238E27FC236}">
                <a16:creationId xmlns:a16="http://schemas.microsoft.com/office/drawing/2014/main" id="{DBA87621-FA2E-E421-4CC1-24DDCD64E24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dynamic year 100" descr="{&quot;templafy&quot;:{&quot;id&quot;:&quot;194304f5-a506-44bf-af87-2a6a96f3de78&quot;}}" title="Form.PLogoChoice.PLogoInsertion">
            <a:extLst>
              <a:ext uri="{FF2B5EF4-FFF2-40B4-BE49-F238E27FC236}">
                <a16:creationId xmlns:a16="http://schemas.microsoft.com/office/drawing/2014/main" id="{51093488-6AB7-37A0-89EA-AB79F453A22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361600617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0">
                <a:solidFill>
                  <a:schemeClr val="bg1"/>
                </a:solidFill>
              </a:defRPr>
            </a:lvl1pPr>
          </a:lstStyle>
          <a:p>
            <a:r>
              <a:rPr lang="en-US" noProof="0" dirty="0"/>
              <a:t>Click to add title</a:t>
            </a:r>
            <a:endParaRPr lang="en-US"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US"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US" smtClean="0"/>
              <a:pPr/>
              <a:t>‹#›</a:t>
            </a:fld>
            <a:endParaRPr lang="en-US" dirty="0"/>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6" name="dynamic logo white" descr="{&quot;templafy&quot;:{&quot;id&quot;:&quot;9dc8c1d0-8db1-4fc4-bea3-1e401509425e&quot;}}" title="Form.PLogoChoice.PLogoInsertionWhite">
            <a:extLst>
              <a:ext uri="{FF2B5EF4-FFF2-40B4-BE49-F238E27FC236}">
                <a16:creationId xmlns:a16="http://schemas.microsoft.com/office/drawing/2014/main" id="{87CB8881-FDC3-C4D2-8ABE-C8D9F50F5E7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203464149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US"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0">
                <a:solidFill>
                  <a:schemeClr val="tx2"/>
                </a:solidFill>
              </a:defRPr>
            </a:lvl1pPr>
          </a:lstStyle>
          <a:p>
            <a:r>
              <a:rPr lang="en-US" noProof="0" dirty="0"/>
              <a:t>Click to add title</a:t>
            </a:r>
            <a:endParaRPr lang="en-US"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US"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US"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US"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7" name="dynamic year 100" descr="{&quot;templafy&quot;:{&quot;id&quot;:&quot;030395cc-edef-42bb-b9ec-5fcec00ac4d3&quot;}}" title="Form.PLogoChoice.PLogoInsertion">
            <a:extLst>
              <a:ext uri="{FF2B5EF4-FFF2-40B4-BE49-F238E27FC236}">
                <a16:creationId xmlns:a16="http://schemas.microsoft.com/office/drawing/2014/main" id="{F5E8B261-EC29-2FF5-230F-CD67CBFA525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dynamic logo" descr="{&quot;templafy&quot;:{&quot;id&quot;:&quot;aeeb1cb9-142d-4679-8b29-63c439de1f2b&quot;}}" title="Form.PLogoChoice.PLogoInsertion">
            <a:extLst>
              <a:ext uri="{FF2B5EF4-FFF2-40B4-BE49-F238E27FC236}">
                <a16:creationId xmlns:a16="http://schemas.microsoft.com/office/drawing/2014/main" id="{0AE4A24C-70EB-BC8C-D2BF-CE49F3D32F0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9866135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endParaRPr lang="en-US" dirty="0"/>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US"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US"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7661644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0" y="3429000"/>
            <a:ext cx="11543999" cy="3104999"/>
          </a:xfrm>
          <a:solidFill>
            <a:srgbClr val="D8EAF8"/>
          </a:solidFill>
        </p:spPr>
        <p:txBody>
          <a:bodyPr/>
          <a:lstStyle>
            <a:lvl1pPr marL="0" indent="0">
              <a:buNone/>
              <a:defRPr sz="100">
                <a:noFill/>
              </a:defRPr>
            </a:lvl1pPr>
          </a:lstStyle>
          <a:p>
            <a:pPr lvl="0"/>
            <a:endParaRPr lang="en-US" dirty="0"/>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US"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US" dirty="0"/>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168858971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1327234"/>
            <a:ext cx="10896001" cy="324000"/>
          </a:xfrm>
        </p:spPr>
        <p:txBody>
          <a:bodyPr/>
          <a:lstStyle>
            <a:lvl1pPr marL="0" indent="0">
              <a:buNone/>
              <a:defRPr sz="1400" b="1" cap="all" baseline="0"/>
            </a:lvl1pPr>
          </a:lstStyle>
          <a:p>
            <a:pPr lvl="0"/>
            <a:r>
              <a:rPr lang="en-US" dirty="0"/>
              <a:t>Click to add trumpet</a:t>
            </a:r>
          </a:p>
        </p:txBody>
      </p:sp>
      <p:sp>
        <p:nvSpPr>
          <p:cNvPr id="4" name="Title 1">
            <a:extLst>
              <a:ext uri="{FF2B5EF4-FFF2-40B4-BE49-F238E27FC236}">
                <a16:creationId xmlns:a16="http://schemas.microsoft.com/office/drawing/2014/main" id="{D1C300B8-ABB6-BCEA-C620-D3B5CFF7F278}"/>
              </a:ext>
            </a:extLst>
          </p:cNvPr>
          <p:cNvSpPr>
            <a:spLocks noGrp="1"/>
          </p:cNvSpPr>
          <p:nvPr>
            <p:ph type="title" hasCustomPrompt="1"/>
          </p:nvPr>
        </p:nvSpPr>
        <p:spPr>
          <a:xfrm>
            <a:off x="648000" y="648000"/>
            <a:ext cx="10896000" cy="605664"/>
          </a:xfrm>
        </p:spPr>
        <p:txBody>
          <a:bodyPr/>
          <a:lstStyle/>
          <a:p>
            <a:r>
              <a:rPr lang="en-US" noProof="0" dirty="0"/>
              <a:t>Click to add title</a:t>
            </a:r>
          </a:p>
        </p:txBody>
      </p:sp>
    </p:spTree>
    <p:extLst>
      <p:ext uri="{BB962C8B-B14F-4D97-AF65-F5344CB8AC3E}">
        <p14:creationId xmlns:p14="http://schemas.microsoft.com/office/powerpoint/2010/main" val="23609946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76103059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6408000" cy="4266166"/>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0"/>
            <a:ext cx="4164000" cy="4266166"/>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368291898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4163713" cy="42660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0"/>
            <a:ext cx="4164000" cy="4265999"/>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2418095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225"/>
              </a:spcBef>
              <a:spcAft>
                <a:spcPts val="450"/>
              </a:spcAft>
              <a:buFont typeface="Arial" panose="020B0604020202020204" pitchFamily="34" charset="0"/>
              <a:buChar char="​"/>
              <a:defRPr>
                <a:solidFill>
                  <a:schemeClr val="bg1"/>
                </a:solidFill>
              </a:defRPr>
            </a:lvl1pPr>
            <a:lvl2pPr marL="0" indent="0">
              <a:spcBef>
                <a:spcPts val="225"/>
              </a:spcBef>
              <a:spcAft>
                <a:spcPts val="450"/>
              </a:spcAft>
              <a:buFont typeface="Arial" panose="020B0604020202020204" pitchFamily="34" charset="0"/>
              <a:buChar char="​"/>
              <a:defRPr sz="1500" b="1">
                <a:solidFill>
                  <a:schemeClr val="bg1"/>
                </a:solidFill>
              </a:defRPr>
            </a:lvl2pPr>
            <a:lvl3pPr marL="0" indent="0">
              <a:spcBef>
                <a:spcPts val="225"/>
              </a:spcBef>
              <a:spcAft>
                <a:spcPts val="450"/>
              </a:spcAft>
              <a:buFont typeface="Arial" panose="020B0604020202020204" pitchFamily="34" charset="0"/>
              <a:buChar char="​"/>
              <a:defRPr sz="1500">
                <a:solidFill>
                  <a:schemeClr val="bg1"/>
                </a:solidFill>
              </a:defRPr>
            </a:lvl3pPr>
            <a:lvl4pPr marL="0" indent="0">
              <a:spcBef>
                <a:spcPts val="225"/>
              </a:spcBef>
              <a:spcAft>
                <a:spcPts val="450"/>
              </a:spcAft>
              <a:buFont typeface="Arial" panose="020B0604020202020204" pitchFamily="34" charset="0"/>
              <a:buChar char="​"/>
              <a:defRPr sz="1500">
                <a:solidFill>
                  <a:schemeClr val="bg1"/>
                </a:solidFill>
              </a:defRPr>
            </a:lvl4pPr>
            <a:lvl5pPr marL="0" indent="0">
              <a:spcBef>
                <a:spcPts val="225"/>
              </a:spcBef>
              <a:spcAft>
                <a:spcPts val="450"/>
              </a:spcAft>
              <a:buFont typeface="Arial" panose="020B0604020202020204" pitchFamily="34" charset="0"/>
              <a:buChar char="​"/>
              <a:defRPr sz="1500">
                <a:solidFill>
                  <a:schemeClr val="bg1"/>
                </a:solidFill>
              </a:defRPr>
            </a:lvl5pPr>
            <a:lvl6pPr marL="0" indent="0">
              <a:spcBef>
                <a:spcPts val="225"/>
              </a:spcBef>
              <a:spcAft>
                <a:spcPts val="450"/>
              </a:spcAft>
              <a:buFont typeface="Arial" panose="020B0604020202020204" pitchFamily="34" charset="0"/>
              <a:buChar char="​"/>
              <a:defRPr sz="1500">
                <a:solidFill>
                  <a:schemeClr val="bg1"/>
                </a:solidFill>
              </a:defRPr>
            </a:lvl6pPr>
            <a:lvl7pPr marL="0" indent="0">
              <a:spcBef>
                <a:spcPts val="225"/>
              </a:spcBef>
              <a:spcAft>
                <a:spcPts val="450"/>
              </a:spcAft>
              <a:buFont typeface="Arial" panose="020B0604020202020204" pitchFamily="34" charset="0"/>
              <a:buChar char="​"/>
              <a:defRPr sz="1500">
                <a:solidFill>
                  <a:schemeClr val="bg1"/>
                </a:solidFill>
              </a:defRPr>
            </a:lvl7pPr>
            <a:lvl8pPr marL="0" indent="0">
              <a:spcBef>
                <a:spcPts val="225"/>
              </a:spcBef>
              <a:spcAft>
                <a:spcPts val="450"/>
              </a:spcAft>
              <a:buFont typeface="Arial" panose="020B0604020202020204" pitchFamily="34" charset="0"/>
              <a:buChar char="​"/>
              <a:defRPr sz="1500">
                <a:solidFill>
                  <a:schemeClr val="bg1"/>
                </a:solidFill>
              </a:defRPr>
            </a:lvl8pPr>
            <a:lvl9pPr marL="0" indent="0">
              <a:spcBef>
                <a:spcPts val="225"/>
              </a:spcBef>
              <a:spcAft>
                <a:spcPts val="450"/>
              </a:spcAft>
              <a:buFont typeface="Arial" panose="020B0604020202020204" pitchFamily="34" charset="0"/>
              <a:buChar char="​"/>
              <a:defRPr sz="1500">
                <a:solidFill>
                  <a:schemeClr val="bg1"/>
                </a:solidFill>
              </a:defRPr>
            </a:lvl9pPr>
          </a:lstStyle>
          <a:p>
            <a:pPr lvl="0"/>
            <a:r>
              <a:rPr lang="en-GB" noProof="0"/>
              <a:t>01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0871100-7668-411B-B68C-7B09658A607B}" type="datetime3">
              <a:rPr lang="en-US" smtClean="0"/>
              <a:t>17 April 2026</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7" y="2819984"/>
            <a:ext cx="4162127" cy="830997"/>
          </a:xfrm>
          <a:prstGeom prst="rect">
            <a:avLst/>
          </a:prstGeom>
          <a:noFill/>
        </p:spPr>
        <p:txBody>
          <a:bodyPr wrap="square" lIns="0" tIns="0" rIns="0" bIns="0" rtlCol="0">
            <a:spAutoFit/>
          </a:bodyPr>
          <a:lstStyle/>
          <a:p>
            <a:pPr algn="r"/>
            <a:r>
              <a:rPr lang="en-GB" sz="540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22"/>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013"/>
          </a:p>
        </p:txBody>
      </p:sp>
      <p:sp>
        <p:nvSpPr>
          <p:cNvPr id="5" name="Tagline" descr="{&quot;templafy&quot;:{&quot;id&quot;:&quot;a6a0294e-5049-4413-9e6f-1ecdf818f736&quot;}}" title="Form.PLogoChoice.PLogoInsertionWhite">
            <a:extLst>
              <a:ext uri="{FF2B5EF4-FFF2-40B4-BE49-F238E27FC236}">
                <a16:creationId xmlns:a16="http://schemas.microsoft.com/office/drawing/2014/main" id="{3EF1636C-932C-4747-B37D-D0B1E2D9AB18}"/>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308711003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4763266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0"/>
            <a:ext cx="4488000" cy="5886299"/>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326259225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6732001" cy="58863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194918069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US"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4164001"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US"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US" dirty="0"/>
              <a:t>Insert picture text</a:t>
            </a:r>
          </a:p>
        </p:txBody>
      </p:sp>
    </p:spTree>
    <p:extLst>
      <p:ext uri="{BB962C8B-B14F-4D97-AF65-F5344CB8AC3E}">
        <p14:creationId xmlns:p14="http://schemas.microsoft.com/office/powerpoint/2010/main" val="192908804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0"/>
            <a:ext cx="5286220" cy="1651119"/>
          </a:xfrm>
        </p:spPr>
        <p:txBody>
          <a:bodyPr anchor="t"/>
          <a:lstStyle>
            <a:lvl1pPr>
              <a:lnSpc>
                <a:spcPct val="100000"/>
              </a:lnSpc>
              <a:defRPr sz="3600" b="0"/>
            </a:lvl1pPr>
          </a:lstStyle>
          <a:p>
            <a:r>
              <a:rPr lang="en-US" noProof="0" dirty="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0" y="2488123"/>
            <a:ext cx="5286375" cy="371363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2" y="647700"/>
            <a:ext cx="5610217" cy="5886300"/>
          </a:xfrm>
          <a:solidFill>
            <a:srgbClr val="D8EAF8"/>
          </a:solidFill>
        </p:spPr>
        <p:txBody>
          <a:bodyPr/>
          <a:lstStyle>
            <a:lvl1pPr marL="0" indent="0">
              <a:buNone/>
              <a:defRPr sz="100">
                <a:noFill/>
              </a:defRPr>
            </a:lvl1pPr>
          </a:lstStyle>
          <a:p>
            <a:pPr lvl="0"/>
            <a:endParaRPr lang="en-US" dirty="0"/>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0" y="968516"/>
            <a:ext cx="4965401" cy="5241483"/>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US" dirty="0"/>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Tree>
    <p:extLst>
      <p:ext uri="{BB962C8B-B14F-4D97-AF65-F5344CB8AC3E}">
        <p14:creationId xmlns:p14="http://schemas.microsoft.com/office/powerpoint/2010/main" val="192840244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US"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US"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2038892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9787868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10125798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318325131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endParaRPr lang="en-US"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98093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2"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225"/>
              </a:spcBef>
              <a:spcAft>
                <a:spcPts val="450"/>
              </a:spcAft>
              <a:buFont typeface="Arial" panose="020B0604020202020204" pitchFamily="34" charset="0"/>
              <a:buChar char="​"/>
              <a:defRPr>
                <a:solidFill>
                  <a:schemeClr val="tx2"/>
                </a:solidFill>
              </a:defRPr>
            </a:lvl1pPr>
            <a:lvl2pPr marL="0" indent="0">
              <a:spcBef>
                <a:spcPts val="225"/>
              </a:spcBef>
              <a:spcAft>
                <a:spcPts val="450"/>
              </a:spcAft>
              <a:buFont typeface="Arial" panose="020B0604020202020204" pitchFamily="34" charset="0"/>
              <a:buChar char="​"/>
              <a:defRPr sz="1500" b="1">
                <a:solidFill>
                  <a:schemeClr val="tx2"/>
                </a:solidFill>
              </a:defRPr>
            </a:lvl2pPr>
            <a:lvl3pPr marL="0" indent="0">
              <a:spcBef>
                <a:spcPts val="225"/>
              </a:spcBef>
              <a:spcAft>
                <a:spcPts val="450"/>
              </a:spcAft>
              <a:buFont typeface="Arial" panose="020B0604020202020204" pitchFamily="34" charset="0"/>
              <a:buChar char="​"/>
              <a:defRPr sz="1500">
                <a:solidFill>
                  <a:schemeClr val="tx2"/>
                </a:solidFill>
              </a:defRPr>
            </a:lvl3pPr>
            <a:lvl4pPr marL="0" indent="0">
              <a:spcBef>
                <a:spcPts val="225"/>
              </a:spcBef>
              <a:spcAft>
                <a:spcPts val="450"/>
              </a:spcAft>
              <a:buFont typeface="Arial" panose="020B0604020202020204" pitchFamily="34" charset="0"/>
              <a:buChar char="​"/>
              <a:defRPr sz="1500">
                <a:solidFill>
                  <a:schemeClr val="tx2"/>
                </a:solidFill>
              </a:defRPr>
            </a:lvl4pPr>
            <a:lvl5pPr marL="0" indent="0">
              <a:spcBef>
                <a:spcPts val="225"/>
              </a:spcBef>
              <a:spcAft>
                <a:spcPts val="450"/>
              </a:spcAft>
              <a:buFont typeface="Arial" panose="020B0604020202020204" pitchFamily="34" charset="0"/>
              <a:buChar char="​"/>
              <a:defRPr sz="1500">
                <a:solidFill>
                  <a:schemeClr val="tx2"/>
                </a:solidFill>
              </a:defRPr>
            </a:lvl5pPr>
            <a:lvl6pPr marL="0" indent="0">
              <a:spcBef>
                <a:spcPts val="225"/>
              </a:spcBef>
              <a:spcAft>
                <a:spcPts val="450"/>
              </a:spcAft>
              <a:buFont typeface="Arial" panose="020B0604020202020204" pitchFamily="34" charset="0"/>
              <a:buChar char="​"/>
              <a:defRPr sz="1500">
                <a:solidFill>
                  <a:schemeClr val="tx2"/>
                </a:solidFill>
              </a:defRPr>
            </a:lvl6pPr>
            <a:lvl7pPr marL="0" indent="0">
              <a:spcBef>
                <a:spcPts val="225"/>
              </a:spcBef>
              <a:spcAft>
                <a:spcPts val="450"/>
              </a:spcAft>
              <a:buFont typeface="Arial" panose="020B0604020202020204" pitchFamily="34" charset="0"/>
              <a:buChar char="​"/>
              <a:defRPr sz="1500">
                <a:solidFill>
                  <a:schemeClr val="tx2"/>
                </a:solidFill>
              </a:defRPr>
            </a:lvl7pPr>
            <a:lvl8pPr marL="0" indent="0">
              <a:spcBef>
                <a:spcPts val="225"/>
              </a:spcBef>
              <a:spcAft>
                <a:spcPts val="450"/>
              </a:spcAft>
              <a:buFont typeface="Arial" panose="020B0604020202020204" pitchFamily="34" charset="0"/>
              <a:buChar char="​"/>
              <a:defRPr sz="1500">
                <a:solidFill>
                  <a:schemeClr val="tx2"/>
                </a:solidFill>
              </a:defRPr>
            </a:lvl8pPr>
            <a:lvl9pPr marL="0" indent="0">
              <a:spcBef>
                <a:spcPts val="225"/>
              </a:spcBef>
              <a:spcAft>
                <a:spcPts val="450"/>
              </a:spcAft>
              <a:buFont typeface="Arial" panose="020B0604020202020204" pitchFamily="34" charset="0"/>
              <a:buChar char="​"/>
              <a:defRPr sz="1500">
                <a:solidFill>
                  <a:schemeClr val="tx2"/>
                </a:solidFill>
              </a:defRPr>
            </a:lvl9pPr>
          </a:lstStyle>
          <a:p>
            <a:pPr lvl="0"/>
            <a:r>
              <a:rPr lang="en-GB" noProof="0"/>
              <a:t>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8002" y="648000"/>
            <a:ext cx="1920001" cy="5562000"/>
          </a:xfrm>
        </p:spPr>
        <p:txBody>
          <a:bodyPr anchor="ctr"/>
          <a:lstStyle>
            <a:lvl1pPr marL="0" indent="0">
              <a:spcBef>
                <a:spcPts val="225"/>
              </a:spcBef>
              <a:spcAft>
                <a:spcPts val="450"/>
              </a:spcAft>
              <a:buFont typeface="Arial" panose="020B0604020202020204" pitchFamily="34" charset="0"/>
              <a:buChar char="​"/>
              <a:defRPr sz="1500">
                <a:solidFill>
                  <a:schemeClr val="tx2"/>
                </a:solidFill>
              </a:defRPr>
            </a:lvl1pPr>
            <a:lvl2pPr marL="0" indent="0">
              <a:spcBef>
                <a:spcPts val="225"/>
              </a:spcBef>
              <a:spcAft>
                <a:spcPts val="450"/>
              </a:spcAft>
              <a:buFont typeface="Arial" panose="020B0604020202020204" pitchFamily="34" charset="0"/>
              <a:buChar char="​"/>
              <a:defRPr sz="1500" b="1">
                <a:solidFill>
                  <a:schemeClr val="tx2"/>
                </a:solidFill>
              </a:defRPr>
            </a:lvl2pPr>
            <a:lvl3pPr marL="0" indent="0">
              <a:spcBef>
                <a:spcPts val="225"/>
              </a:spcBef>
              <a:spcAft>
                <a:spcPts val="450"/>
              </a:spcAft>
              <a:buFont typeface="Arial" panose="020B0604020202020204" pitchFamily="34" charset="0"/>
              <a:buChar char="​"/>
              <a:defRPr sz="1500">
                <a:solidFill>
                  <a:schemeClr val="tx2"/>
                </a:solidFill>
              </a:defRPr>
            </a:lvl3pPr>
            <a:lvl4pPr marL="0" indent="0">
              <a:spcBef>
                <a:spcPts val="225"/>
              </a:spcBef>
              <a:spcAft>
                <a:spcPts val="450"/>
              </a:spcAft>
              <a:buFont typeface="Arial" panose="020B0604020202020204" pitchFamily="34" charset="0"/>
              <a:buChar char="​"/>
              <a:defRPr sz="1500">
                <a:solidFill>
                  <a:schemeClr val="tx2"/>
                </a:solidFill>
              </a:defRPr>
            </a:lvl4pPr>
            <a:lvl5pPr marL="0" indent="0">
              <a:spcBef>
                <a:spcPts val="225"/>
              </a:spcBef>
              <a:spcAft>
                <a:spcPts val="450"/>
              </a:spcAft>
              <a:buFont typeface="Arial" panose="020B0604020202020204" pitchFamily="34" charset="0"/>
              <a:buChar char="​"/>
              <a:defRPr sz="1500">
                <a:solidFill>
                  <a:schemeClr val="tx2"/>
                </a:solidFill>
              </a:defRPr>
            </a:lvl5pPr>
            <a:lvl6pPr marL="0" indent="0">
              <a:spcBef>
                <a:spcPts val="225"/>
              </a:spcBef>
              <a:spcAft>
                <a:spcPts val="450"/>
              </a:spcAft>
              <a:buFont typeface="Arial" panose="020B0604020202020204" pitchFamily="34" charset="0"/>
              <a:buChar char="​"/>
              <a:defRPr sz="1500">
                <a:solidFill>
                  <a:schemeClr val="tx2"/>
                </a:solidFill>
              </a:defRPr>
            </a:lvl6pPr>
            <a:lvl7pPr marL="0" indent="0">
              <a:spcBef>
                <a:spcPts val="225"/>
              </a:spcBef>
              <a:spcAft>
                <a:spcPts val="450"/>
              </a:spcAft>
              <a:buFont typeface="Arial" panose="020B0604020202020204" pitchFamily="34" charset="0"/>
              <a:buChar char="​"/>
              <a:defRPr sz="1500">
                <a:solidFill>
                  <a:schemeClr val="tx2"/>
                </a:solidFill>
              </a:defRPr>
            </a:lvl7pPr>
            <a:lvl8pPr marL="0" indent="0">
              <a:spcBef>
                <a:spcPts val="225"/>
              </a:spcBef>
              <a:spcAft>
                <a:spcPts val="450"/>
              </a:spcAft>
              <a:buFont typeface="Arial" panose="020B0604020202020204" pitchFamily="34" charset="0"/>
              <a:buChar char="​"/>
              <a:defRPr sz="1500">
                <a:solidFill>
                  <a:schemeClr val="tx2"/>
                </a:solidFill>
              </a:defRPr>
            </a:lvl8pPr>
            <a:lvl9pPr marL="0" indent="0">
              <a:spcBef>
                <a:spcPts val="225"/>
              </a:spcBef>
              <a:spcAft>
                <a:spcPts val="450"/>
              </a:spcAft>
              <a:buFont typeface="Arial" panose="020B0604020202020204" pitchFamily="34" charset="0"/>
              <a:buChar char="​"/>
              <a:defRPr sz="1500">
                <a:solidFill>
                  <a:schemeClr val="tx2"/>
                </a:solidFill>
              </a:defRPr>
            </a:lvl9pPr>
          </a:lstStyle>
          <a:p>
            <a:pPr lvl="0"/>
            <a:r>
              <a:rPr lang="en-US"/>
              <a:t>09.00-09.30</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nb-NO"/>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38D42A5E-FF40-420E-88A3-CB59E3EB27EF}" type="datetime3">
              <a:rPr lang="en-US" smtClean="0"/>
              <a:t>17 April 2026</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22"/>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013"/>
          </a:p>
        </p:txBody>
      </p:sp>
      <p:sp>
        <p:nvSpPr>
          <p:cNvPr id="2" name="image" descr="{&quot;templafy&quot;:{&quot;id&quot;:&quot;8518b275-2630-4365-80b5-ce84dc501d06&quot;}}" title="Form.PLogoChoice.PLogoInsertion">
            <a:extLst>
              <a:ext uri="{FF2B5EF4-FFF2-40B4-BE49-F238E27FC236}">
                <a16:creationId xmlns:a16="http://schemas.microsoft.com/office/drawing/2014/main" id="{B3C1CADE-9463-4A8D-B4E6-273C0EC9AFF5}"/>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88578281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US" smtClean="0"/>
              <a:t>‹#›</a:t>
            </a:fld>
            <a:endParaRPr lang="en-US" dirty="0"/>
          </a:p>
        </p:txBody>
      </p:sp>
    </p:spTree>
    <p:extLst>
      <p:ext uri="{BB962C8B-B14F-4D97-AF65-F5344CB8AC3E}">
        <p14:creationId xmlns:p14="http://schemas.microsoft.com/office/powerpoint/2010/main" val="352586096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00">
                <a:noFill/>
              </a:defRPr>
            </a:lvl1pPr>
          </a:lstStyle>
          <a:p>
            <a:endParaRPr lang="en-US" sz="100" dirty="0"/>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00">
                <a:noFill/>
              </a:defRPr>
            </a:lvl1pPr>
          </a:lstStyle>
          <a:p>
            <a:endParaRPr lang="en-US" sz="100" dirty="0"/>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US" smtClean="0"/>
              <a:pPr/>
              <a:t>‹#›</a:t>
            </a:fld>
            <a:endParaRPr lang="en-US" sz="100" dirty="0"/>
          </a:p>
        </p:txBody>
      </p:sp>
    </p:spTree>
    <p:extLst>
      <p:ext uri="{BB962C8B-B14F-4D97-AF65-F5344CB8AC3E}">
        <p14:creationId xmlns:p14="http://schemas.microsoft.com/office/powerpoint/2010/main" val="255571568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dirty="0"/>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00">
                <a:noFill/>
              </a:defRPr>
            </a:lvl1pPr>
          </a:lstStyle>
          <a:p>
            <a:endParaRPr lang="en-US" sz="100" dirty="0"/>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00">
                <a:noFill/>
              </a:defRPr>
            </a:lvl1pPr>
          </a:lstStyle>
          <a:p>
            <a:endParaRPr lang="en-US" sz="100" dirty="0"/>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US" smtClean="0"/>
              <a:pPr/>
              <a:t>‹#›</a:t>
            </a:fld>
            <a:endParaRPr lang="en-US" sz="100" dirty="0"/>
          </a:p>
        </p:txBody>
      </p:sp>
    </p:spTree>
    <p:extLst>
      <p:ext uri="{BB962C8B-B14F-4D97-AF65-F5344CB8AC3E}">
        <p14:creationId xmlns:p14="http://schemas.microsoft.com/office/powerpoint/2010/main" val="206613916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P TOC">
    <p:bg>
      <p:bgRef idx="1001">
        <a:schemeClr val="bg2"/>
      </p:bgRef>
    </p:bg>
    <p:spTree>
      <p:nvGrpSpPr>
        <p:cNvPr id="1" name=""/>
        <p:cNvGrpSpPr/>
        <p:nvPr/>
      </p:nvGrpSpPr>
      <p:grpSpPr>
        <a:xfrm>
          <a:off x="0" y="0"/>
          <a:ext cx="0" cy="0"/>
          <a:chOff x="0" y="0"/>
          <a:chExt cx="0" cy="0"/>
        </a:xfrm>
      </p:grpSpPr>
      <p:grpSp>
        <p:nvGrpSpPr>
          <p:cNvPr id="3" name="SP Agenda Section" hidden="1"/>
          <p:cNvGrpSpPr/>
          <p:nvPr userDrawn="1"/>
        </p:nvGrpSpPr>
        <p:grpSpPr>
          <a:xfrm>
            <a:off x="649875" y="2120400"/>
            <a:ext cx="8651288" cy="538934"/>
            <a:chOff x="648000" y="2120400"/>
            <a:chExt cx="8651287" cy="538934"/>
          </a:xfrm>
        </p:grpSpPr>
        <p:sp>
          <p:nvSpPr>
            <p:cNvPr id="20" name="Section Title"/>
            <p:cNvSpPr txBox="1">
              <a:spLocks/>
            </p:cNvSpPr>
            <p:nvPr userDrawn="1"/>
          </p:nvSpPr>
          <p:spPr>
            <a:xfrm>
              <a:off x="1116140" y="2120400"/>
              <a:ext cx="4994426" cy="262800"/>
            </a:xfrm>
            <a:prstGeom prst="rect">
              <a:avLst/>
            </a:prstGeom>
            <a:noFill/>
          </p:spPr>
          <p:txBody>
            <a:bodyPr wrap="square" lIns="0" tIns="0" rIns="0" bIns="0" rtlCol="0" anchor="ctr">
              <a:normAutofit/>
            </a:bodyPr>
            <a:lstStyle/>
            <a:p>
              <a:pPr defTabSz="9334267">
                <a:tabLst>
                  <a:tab pos="9512062" algn="l"/>
                </a:tabLst>
              </a:pPr>
              <a:r>
                <a:rPr lang="en-US" sz="1200" dirty="0">
                  <a:solidFill>
                    <a:schemeClr val="tx1"/>
                  </a:solidFill>
                </a:rPr>
                <a:t>&lt;TEXT&gt;</a:t>
              </a:r>
            </a:p>
          </p:txBody>
        </p:sp>
        <p:sp>
          <p:nvSpPr>
            <p:cNvPr id="21" name="Section Number"/>
            <p:cNvSpPr txBox="1">
              <a:spLocks/>
            </p:cNvSpPr>
            <p:nvPr userDrawn="1"/>
          </p:nvSpPr>
          <p:spPr>
            <a:xfrm>
              <a:off x="648000" y="2120400"/>
              <a:ext cx="379556" cy="262800"/>
            </a:xfrm>
            <a:prstGeom prst="rect">
              <a:avLst/>
            </a:prstGeom>
            <a:noFill/>
          </p:spPr>
          <p:txBody>
            <a:bodyPr wrap="none" lIns="0" tIns="0" rIns="0" bIns="0" rtlCol="0" anchor="ctr">
              <a:noAutofit/>
            </a:bodyPr>
            <a:lstStyle/>
            <a:p>
              <a:pPr algn="l"/>
              <a:r>
                <a:rPr lang="en-US" sz="1200" b="1" dirty="0">
                  <a:solidFill>
                    <a:schemeClr val="tx1"/>
                  </a:solidFill>
                </a:rPr>
                <a:t>&lt;N&gt;</a:t>
              </a:r>
            </a:p>
          </p:txBody>
        </p:sp>
        <p:sp>
          <p:nvSpPr>
            <p:cNvPr id="22" name="Slide Number"/>
            <p:cNvSpPr txBox="1">
              <a:spLocks/>
            </p:cNvSpPr>
            <p:nvPr userDrawn="1"/>
          </p:nvSpPr>
          <p:spPr>
            <a:xfrm>
              <a:off x="8662293" y="2120400"/>
              <a:ext cx="636994" cy="262800"/>
            </a:xfrm>
            <a:prstGeom prst="rect">
              <a:avLst/>
            </a:prstGeom>
            <a:noFill/>
          </p:spPr>
          <p:txBody>
            <a:bodyPr wrap="none" lIns="0" tIns="0" rIns="0" bIns="0" rtlCol="0" anchor="ctr">
              <a:noAutofit/>
            </a:bodyPr>
            <a:lstStyle/>
            <a:p>
              <a:pPr algn="r"/>
              <a:r>
                <a:rPr lang="en-US" sz="1200" dirty="0">
                  <a:solidFill>
                    <a:schemeClr val="tx1"/>
                  </a:solidFill>
                </a:rPr>
                <a:t>&lt;P&gt;</a:t>
              </a:r>
            </a:p>
          </p:txBody>
        </p:sp>
        <p:sp>
          <p:nvSpPr>
            <p:cNvPr id="24" name="Timeslot"/>
            <p:cNvSpPr txBox="1">
              <a:spLocks/>
            </p:cNvSpPr>
            <p:nvPr userDrawn="1"/>
          </p:nvSpPr>
          <p:spPr>
            <a:xfrm>
              <a:off x="1116140" y="2396534"/>
              <a:ext cx="1257061" cy="262800"/>
            </a:xfrm>
            <a:prstGeom prst="rect">
              <a:avLst/>
            </a:prstGeom>
            <a:noFill/>
          </p:spPr>
          <p:txBody>
            <a:bodyPr wrap="none" lIns="0" tIns="0" rIns="0" bIns="0" rtlCol="0" anchor="ctr">
              <a:noAutofit/>
            </a:bodyPr>
            <a:lstStyle/>
            <a:p>
              <a:pPr algn="l"/>
              <a:r>
                <a:rPr lang="en-US" sz="1000" dirty="0">
                  <a:solidFill>
                    <a:schemeClr val="tx1"/>
                  </a:solidFill>
                </a:rPr>
                <a:t>&lt;TIMESLOT&gt;</a:t>
              </a:r>
            </a:p>
          </p:txBody>
        </p:sp>
        <p:sp>
          <p:nvSpPr>
            <p:cNvPr id="28" name="Responsible"/>
            <p:cNvSpPr txBox="1">
              <a:spLocks/>
            </p:cNvSpPr>
            <p:nvPr userDrawn="1"/>
          </p:nvSpPr>
          <p:spPr>
            <a:xfrm>
              <a:off x="3421771" y="2396534"/>
              <a:ext cx="1388067" cy="262800"/>
            </a:xfrm>
            <a:prstGeom prst="rect">
              <a:avLst/>
            </a:prstGeom>
            <a:noFill/>
          </p:spPr>
          <p:txBody>
            <a:bodyPr wrap="none" lIns="0" tIns="0" rIns="0" bIns="0" rtlCol="0" anchor="ctr">
              <a:noAutofit/>
            </a:bodyPr>
            <a:lstStyle/>
            <a:p>
              <a:pPr algn="l"/>
              <a:r>
                <a:rPr lang="en-US" sz="1000" dirty="0">
                  <a:solidFill>
                    <a:schemeClr val="tx1"/>
                  </a:solidFill>
                </a:rPr>
                <a:t>&lt;RESPONSIBLE&gt;</a:t>
              </a:r>
            </a:p>
          </p:txBody>
        </p:sp>
        <p:sp>
          <p:nvSpPr>
            <p:cNvPr id="29" name="Duration"/>
            <p:cNvSpPr txBox="1">
              <a:spLocks/>
            </p:cNvSpPr>
            <p:nvPr userDrawn="1"/>
          </p:nvSpPr>
          <p:spPr>
            <a:xfrm>
              <a:off x="6204648" y="2396534"/>
              <a:ext cx="684723" cy="262800"/>
            </a:xfrm>
            <a:prstGeom prst="rect">
              <a:avLst/>
            </a:prstGeom>
            <a:noFill/>
          </p:spPr>
          <p:txBody>
            <a:bodyPr wrap="none" lIns="0" tIns="0" rIns="0" bIns="0" rtlCol="0" anchor="ctr">
              <a:noAutofit/>
            </a:bodyPr>
            <a:lstStyle/>
            <a:p>
              <a:pPr algn="l"/>
              <a:r>
                <a:rPr lang="en-US" sz="1000" dirty="0">
                  <a:solidFill>
                    <a:schemeClr val="tx1"/>
                  </a:solidFill>
                </a:rPr>
                <a:t>&lt;DURATION&gt;</a:t>
              </a:r>
            </a:p>
          </p:txBody>
        </p:sp>
      </p:grpSp>
      <p:grpSp>
        <p:nvGrpSpPr>
          <p:cNvPr id="4" name="SP Agenda Section Highlight" hidden="1"/>
          <p:cNvGrpSpPr>
            <a:grpSpLocks/>
          </p:cNvGrpSpPr>
          <p:nvPr userDrawn="1"/>
        </p:nvGrpSpPr>
        <p:grpSpPr>
          <a:xfrm>
            <a:off x="649875" y="2886557"/>
            <a:ext cx="8651288" cy="538934"/>
            <a:chOff x="1797664" y="1308363"/>
            <a:chExt cx="8651288" cy="538934"/>
          </a:xfrm>
          <a:noFill/>
        </p:grpSpPr>
        <p:sp>
          <p:nvSpPr>
            <p:cNvPr id="32" name="Section Title"/>
            <p:cNvSpPr txBox="1">
              <a:spLocks/>
            </p:cNvSpPr>
            <p:nvPr userDrawn="1"/>
          </p:nvSpPr>
          <p:spPr>
            <a:xfrm>
              <a:off x="2265804" y="1308363"/>
              <a:ext cx="4994427" cy="262800"/>
            </a:xfrm>
            <a:prstGeom prst="rect">
              <a:avLst/>
            </a:prstGeom>
            <a:grpFill/>
            <a:effectLst/>
          </p:spPr>
          <p:txBody>
            <a:bodyPr vert="horz" wrap="square" lIns="0" tIns="0" rIns="0" bIns="0" rtlCol="0" anchor="ctr">
              <a:normAutofit/>
            </a:bodyPr>
            <a:lstStyle/>
            <a:p>
              <a:pPr algn="l" defTabSz="9334267">
                <a:tabLst>
                  <a:tab pos="9512062" algn="l"/>
                </a:tabLst>
              </a:pPr>
              <a:r>
                <a:rPr lang="en-US" sz="1200" b="0" i="0" u="none" strike="noStrike" dirty="0">
                  <a:solidFill>
                    <a:schemeClr val="tx1"/>
                  </a:solidFill>
                  <a:latin typeface="Apis For Office" panose="020B0604020202020204" charset="0"/>
                </a:rPr>
                <a:t>&lt;TEXT&gt;</a:t>
              </a:r>
            </a:p>
          </p:txBody>
        </p:sp>
        <p:sp>
          <p:nvSpPr>
            <p:cNvPr id="33" name="Section Number"/>
            <p:cNvSpPr txBox="1">
              <a:spLocks/>
            </p:cNvSpPr>
            <p:nvPr userDrawn="1"/>
          </p:nvSpPr>
          <p:spPr>
            <a:xfrm>
              <a:off x="1797664" y="1308363"/>
              <a:ext cx="379556" cy="262800"/>
            </a:xfrm>
            <a:prstGeom prst="rect">
              <a:avLst/>
            </a:prstGeom>
            <a:grpFill/>
            <a:effectLst/>
          </p:spPr>
          <p:txBody>
            <a:bodyPr vert="horz" wrap="none" lIns="0" tIns="0" rIns="0" bIns="0" rtlCol="0" anchor="ctr">
              <a:noAutofit/>
            </a:bodyPr>
            <a:lstStyle/>
            <a:p>
              <a:pPr algn="l"/>
              <a:r>
                <a:rPr lang="en-US" sz="1200" b="1" i="0" u="none" strike="noStrike" dirty="0">
                  <a:solidFill>
                    <a:schemeClr val="tx1"/>
                  </a:solidFill>
                  <a:latin typeface="Apis For Office" panose="020B0604020202020204" charset="0"/>
                </a:rPr>
                <a:t>&lt;N&gt;</a:t>
              </a:r>
            </a:p>
          </p:txBody>
        </p:sp>
        <p:sp>
          <p:nvSpPr>
            <p:cNvPr id="34" name="Slide Number"/>
            <p:cNvSpPr txBox="1">
              <a:spLocks/>
            </p:cNvSpPr>
            <p:nvPr userDrawn="1"/>
          </p:nvSpPr>
          <p:spPr>
            <a:xfrm>
              <a:off x="9811958" y="1308363"/>
              <a:ext cx="636994" cy="262800"/>
            </a:xfrm>
            <a:prstGeom prst="rect">
              <a:avLst/>
            </a:prstGeom>
            <a:grpFill/>
            <a:effectLst/>
          </p:spPr>
          <p:txBody>
            <a:bodyPr vert="horz" wrap="none" lIns="0" tIns="0" rIns="0" bIns="0" rtlCol="0" anchor="ctr">
              <a:noAutofit/>
            </a:bodyPr>
            <a:lstStyle/>
            <a:p>
              <a:pPr algn="r"/>
              <a:r>
                <a:rPr lang="en-US" sz="1200" b="0" i="0" u="none" strike="noStrike" dirty="0">
                  <a:solidFill>
                    <a:schemeClr val="tx1"/>
                  </a:solidFill>
                  <a:latin typeface="Apis For Office" panose="020B0604020202020204" charset="0"/>
                </a:rPr>
                <a:t>&lt;P&gt;</a:t>
              </a:r>
            </a:p>
          </p:txBody>
        </p:sp>
        <p:sp>
          <p:nvSpPr>
            <p:cNvPr id="35" name="Timeslot"/>
            <p:cNvSpPr txBox="1">
              <a:spLocks/>
            </p:cNvSpPr>
            <p:nvPr userDrawn="1"/>
          </p:nvSpPr>
          <p:spPr>
            <a:xfrm>
              <a:off x="2265804" y="1584497"/>
              <a:ext cx="1257061" cy="262800"/>
            </a:xfrm>
            <a:prstGeom prst="rect">
              <a:avLst/>
            </a:prstGeom>
            <a:grp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TIMESLOT&gt;</a:t>
              </a:r>
            </a:p>
          </p:txBody>
        </p:sp>
        <p:sp>
          <p:nvSpPr>
            <p:cNvPr id="36" name="Responsible"/>
            <p:cNvSpPr txBox="1">
              <a:spLocks/>
            </p:cNvSpPr>
            <p:nvPr userDrawn="1"/>
          </p:nvSpPr>
          <p:spPr>
            <a:xfrm>
              <a:off x="4571435" y="1584497"/>
              <a:ext cx="1388067" cy="262800"/>
            </a:xfrm>
            <a:prstGeom prst="rect">
              <a:avLst/>
            </a:prstGeom>
            <a:grp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RESPONSIBLE&gt;</a:t>
              </a:r>
            </a:p>
          </p:txBody>
        </p:sp>
        <p:sp>
          <p:nvSpPr>
            <p:cNvPr id="37" name="Duration"/>
            <p:cNvSpPr txBox="1">
              <a:spLocks/>
            </p:cNvSpPr>
            <p:nvPr userDrawn="1"/>
          </p:nvSpPr>
          <p:spPr>
            <a:xfrm>
              <a:off x="7354312" y="1584497"/>
              <a:ext cx="684723" cy="262800"/>
            </a:xfrm>
            <a:prstGeom prst="rect">
              <a:avLst/>
            </a:prstGeom>
            <a:grp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DURATION&gt;</a:t>
              </a:r>
            </a:p>
          </p:txBody>
        </p:sp>
      </p:grpSp>
      <p:grpSp>
        <p:nvGrpSpPr>
          <p:cNvPr id="8" name="SP Agenda Subsection" hidden="1"/>
          <p:cNvGrpSpPr>
            <a:grpSpLocks/>
          </p:cNvGrpSpPr>
          <p:nvPr userDrawn="1"/>
        </p:nvGrpSpPr>
        <p:grpSpPr>
          <a:xfrm>
            <a:off x="649875" y="3652714"/>
            <a:ext cx="8651288" cy="538934"/>
            <a:chOff x="1797663" y="2081912"/>
            <a:chExt cx="8651287" cy="538934"/>
          </a:xfrm>
        </p:grpSpPr>
        <p:sp>
          <p:nvSpPr>
            <p:cNvPr id="39" name="Section Title"/>
            <p:cNvSpPr txBox="1">
              <a:spLocks/>
            </p:cNvSpPr>
            <p:nvPr userDrawn="1"/>
          </p:nvSpPr>
          <p:spPr>
            <a:xfrm>
              <a:off x="2265803" y="2081912"/>
              <a:ext cx="4994426" cy="262800"/>
            </a:xfrm>
            <a:prstGeom prst="rect">
              <a:avLst/>
            </a:prstGeom>
            <a:noFill/>
            <a:effectLst/>
          </p:spPr>
          <p:txBody>
            <a:bodyPr vert="horz" wrap="square" lIns="0" tIns="0" rIns="0" bIns="0" rtlCol="0" anchor="ctr">
              <a:normAutofit/>
            </a:bodyPr>
            <a:lstStyle/>
            <a:p>
              <a:pPr algn="l" defTabSz="9334267">
                <a:tabLst>
                  <a:tab pos="9512062" algn="l"/>
                </a:tabLst>
              </a:pPr>
              <a:r>
                <a:rPr lang="en-US" sz="1200" b="0" i="0" u="none" strike="noStrike" dirty="0">
                  <a:solidFill>
                    <a:schemeClr val="tx1"/>
                  </a:solidFill>
                  <a:latin typeface="Apis For Office" panose="020B0604020202020204" charset="0"/>
                </a:rPr>
                <a:t>&lt;TEXT&gt;</a:t>
              </a:r>
            </a:p>
          </p:txBody>
        </p:sp>
        <p:sp>
          <p:nvSpPr>
            <p:cNvPr id="40" name="Section Number"/>
            <p:cNvSpPr txBox="1">
              <a:spLocks/>
            </p:cNvSpPr>
            <p:nvPr userDrawn="1"/>
          </p:nvSpPr>
          <p:spPr>
            <a:xfrm>
              <a:off x="1797663" y="2081912"/>
              <a:ext cx="379556" cy="262800"/>
            </a:xfrm>
            <a:prstGeom prst="rect">
              <a:avLst/>
            </a:prstGeom>
            <a:noFill/>
            <a:effectLst/>
          </p:spPr>
          <p:txBody>
            <a:bodyPr vert="horz" wrap="none" lIns="0" tIns="0" rIns="0" bIns="0" rtlCol="0" anchor="ctr">
              <a:noAutofit/>
            </a:bodyPr>
            <a:lstStyle/>
            <a:p>
              <a:pPr algn="l"/>
              <a:r>
                <a:rPr lang="en-US" sz="1200" b="1" i="0" u="none" strike="noStrike" dirty="0">
                  <a:solidFill>
                    <a:schemeClr val="tx1"/>
                  </a:solidFill>
                  <a:latin typeface="Apis For Office" panose="020B0604020202020204" charset="0"/>
                </a:rPr>
                <a:t>&lt;N&gt;</a:t>
              </a:r>
            </a:p>
          </p:txBody>
        </p:sp>
        <p:sp>
          <p:nvSpPr>
            <p:cNvPr id="41" name="Slide Number"/>
            <p:cNvSpPr txBox="1">
              <a:spLocks/>
            </p:cNvSpPr>
            <p:nvPr userDrawn="1"/>
          </p:nvSpPr>
          <p:spPr>
            <a:xfrm>
              <a:off x="9811956" y="2081912"/>
              <a:ext cx="636994" cy="262800"/>
            </a:xfrm>
            <a:prstGeom prst="rect">
              <a:avLst/>
            </a:prstGeom>
            <a:noFill/>
            <a:effectLst/>
          </p:spPr>
          <p:txBody>
            <a:bodyPr vert="horz" wrap="none" lIns="0" tIns="0" rIns="0" bIns="0" rtlCol="0" anchor="ctr">
              <a:noAutofit/>
            </a:bodyPr>
            <a:lstStyle/>
            <a:p>
              <a:pPr algn="r"/>
              <a:r>
                <a:rPr lang="en-US" sz="1200" b="0" i="0" u="none" strike="noStrike" dirty="0">
                  <a:solidFill>
                    <a:schemeClr val="tx1"/>
                  </a:solidFill>
                  <a:latin typeface="Apis For Office" panose="020B0604020202020204" charset="0"/>
                </a:rPr>
                <a:t>&lt;P&gt;</a:t>
              </a:r>
            </a:p>
          </p:txBody>
        </p:sp>
        <p:sp>
          <p:nvSpPr>
            <p:cNvPr id="42" name="Timeslot"/>
            <p:cNvSpPr txBox="1">
              <a:spLocks/>
            </p:cNvSpPr>
            <p:nvPr userDrawn="1"/>
          </p:nvSpPr>
          <p:spPr>
            <a:xfrm>
              <a:off x="2265803" y="2358046"/>
              <a:ext cx="1257061" cy="262800"/>
            </a:xfrm>
            <a:prstGeom prst="rect">
              <a:avLst/>
            </a:prstGeom>
            <a:no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TIMESLOT&gt;</a:t>
              </a:r>
            </a:p>
          </p:txBody>
        </p:sp>
        <p:sp>
          <p:nvSpPr>
            <p:cNvPr id="43" name="Responsible"/>
            <p:cNvSpPr txBox="1">
              <a:spLocks/>
            </p:cNvSpPr>
            <p:nvPr userDrawn="1"/>
          </p:nvSpPr>
          <p:spPr>
            <a:xfrm>
              <a:off x="4571434" y="2358046"/>
              <a:ext cx="1388067" cy="262800"/>
            </a:xfrm>
            <a:prstGeom prst="rect">
              <a:avLst/>
            </a:prstGeom>
            <a:no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RESPONSIBLE&gt;</a:t>
              </a:r>
            </a:p>
          </p:txBody>
        </p:sp>
        <p:sp>
          <p:nvSpPr>
            <p:cNvPr id="44" name="Duration"/>
            <p:cNvSpPr txBox="1">
              <a:spLocks/>
            </p:cNvSpPr>
            <p:nvPr userDrawn="1"/>
          </p:nvSpPr>
          <p:spPr>
            <a:xfrm>
              <a:off x="7354310" y="2358046"/>
              <a:ext cx="684723" cy="262800"/>
            </a:xfrm>
            <a:prstGeom prst="rect">
              <a:avLst/>
            </a:prstGeom>
            <a:no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DURATION&gt;</a:t>
              </a:r>
            </a:p>
          </p:txBody>
        </p:sp>
      </p:grpSp>
      <p:grpSp>
        <p:nvGrpSpPr>
          <p:cNvPr id="9" name="SP Agenda Subsection Highlight" hidden="1"/>
          <p:cNvGrpSpPr>
            <a:grpSpLocks/>
          </p:cNvGrpSpPr>
          <p:nvPr userDrawn="1"/>
        </p:nvGrpSpPr>
        <p:grpSpPr>
          <a:xfrm>
            <a:off x="649575" y="4474801"/>
            <a:ext cx="8651588" cy="538934"/>
            <a:chOff x="1797664" y="1967494"/>
            <a:chExt cx="8651588" cy="538934"/>
          </a:xfrm>
          <a:noFill/>
        </p:grpSpPr>
        <p:sp>
          <p:nvSpPr>
            <p:cNvPr id="46" name="Section Title"/>
            <p:cNvSpPr txBox="1">
              <a:spLocks/>
            </p:cNvSpPr>
            <p:nvPr userDrawn="1"/>
          </p:nvSpPr>
          <p:spPr>
            <a:xfrm>
              <a:off x="2265804" y="1967494"/>
              <a:ext cx="4994427" cy="262800"/>
            </a:xfrm>
            <a:prstGeom prst="rect">
              <a:avLst/>
            </a:prstGeom>
            <a:grpFill/>
            <a:effectLst/>
          </p:spPr>
          <p:txBody>
            <a:bodyPr vert="horz" wrap="square" lIns="0" tIns="0" rIns="0" bIns="0" rtlCol="0" anchor="ctr">
              <a:normAutofit/>
            </a:bodyPr>
            <a:lstStyle/>
            <a:p>
              <a:pPr algn="l" defTabSz="9334267">
                <a:tabLst>
                  <a:tab pos="9512062" algn="l"/>
                </a:tabLst>
              </a:pPr>
              <a:r>
                <a:rPr lang="en-US" sz="1200" b="0" i="0" u="none" strike="noStrike" dirty="0">
                  <a:solidFill>
                    <a:schemeClr val="tx1"/>
                  </a:solidFill>
                  <a:latin typeface="Apis For Office" panose="020B0604020202020204" charset="0"/>
                </a:rPr>
                <a:t>&lt;TEXT&gt;</a:t>
              </a:r>
            </a:p>
          </p:txBody>
        </p:sp>
        <p:sp>
          <p:nvSpPr>
            <p:cNvPr id="47" name="Section Number"/>
            <p:cNvSpPr txBox="1">
              <a:spLocks/>
            </p:cNvSpPr>
            <p:nvPr userDrawn="1"/>
          </p:nvSpPr>
          <p:spPr>
            <a:xfrm>
              <a:off x="1797664" y="1967494"/>
              <a:ext cx="379556" cy="262800"/>
            </a:xfrm>
            <a:prstGeom prst="rect">
              <a:avLst/>
            </a:prstGeom>
            <a:grpFill/>
            <a:effectLst/>
          </p:spPr>
          <p:txBody>
            <a:bodyPr vert="horz" wrap="none" lIns="0" tIns="0" rIns="0" bIns="0" rtlCol="0" anchor="ctr">
              <a:noAutofit/>
            </a:bodyPr>
            <a:lstStyle/>
            <a:p>
              <a:pPr algn="l"/>
              <a:r>
                <a:rPr lang="en-US" sz="1200" b="1" i="0" u="none" strike="noStrike" dirty="0">
                  <a:solidFill>
                    <a:schemeClr val="tx1"/>
                  </a:solidFill>
                  <a:latin typeface="Apis For Office" panose="020B0604020202020204" charset="0"/>
                </a:rPr>
                <a:t>&lt;N&gt;</a:t>
              </a:r>
            </a:p>
          </p:txBody>
        </p:sp>
        <p:sp>
          <p:nvSpPr>
            <p:cNvPr id="48" name="Slide Number"/>
            <p:cNvSpPr txBox="1">
              <a:spLocks/>
            </p:cNvSpPr>
            <p:nvPr userDrawn="1"/>
          </p:nvSpPr>
          <p:spPr>
            <a:xfrm>
              <a:off x="9812258" y="1967494"/>
              <a:ext cx="636994" cy="262800"/>
            </a:xfrm>
            <a:prstGeom prst="rect">
              <a:avLst/>
            </a:prstGeom>
            <a:grpFill/>
            <a:effectLst/>
          </p:spPr>
          <p:txBody>
            <a:bodyPr vert="horz" wrap="none" lIns="0" tIns="0" rIns="0" bIns="0" rtlCol="0" anchor="ctr">
              <a:noAutofit/>
            </a:bodyPr>
            <a:lstStyle/>
            <a:p>
              <a:pPr algn="r"/>
              <a:r>
                <a:rPr lang="en-US" sz="1200" b="0" i="0" u="none" strike="noStrike" dirty="0">
                  <a:solidFill>
                    <a:schemeClr val="tx1"/>
                  </a:solidFill>
                  <a:latin typeface="Apis For Office" panose="020B0604020202020204" charset="0"/>
                </a:rPr>
                <a:t>&lt;P&gt;</a:t>
              </a:r>
            </a:p>
          </p:txBody>
        </p:sp>
        <p:sp>
          <p:nvSpPr>
            <p:cNvPr id="49" name="Timeslot"/>
            <p:cNvSpPr txBox="1">
              <a:spLocks/>
            </p:cNvSpPr>
            <p:nvPr userDrawn="1"/>
          </p:nvSpPr>
          <p:spPr>
            <a:xfrm>
              <a:off x="2265804" y="2243628"/>
              <a:ext cx="1257061" cy="262800"/>
            </a:xfrm>
            <a:prstGeom prst="rect">
              <a:avLst/>
            </a:prstGeom>
            <a:grp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TIMESLOT&gt;</a:t>
              </a:r>
            </a:p>
          </p:txBody>
        </p:sp>
        <p:sp>
          <p:nvSpPr>
            <p:cNvPr id="50" name="Responsible"/>
            <p:cNvSpPr txBox="1">
              <a:spLocks/>
            </p:cNvSpPr>
            <p:nvPr userDrawn="1"/>
          </p:nvSpPr>
          <p:spPr>
            <a:xfrm>
              <a:off x="4571735" y="2243628"/>
              <a:ext cx="1388067" cy="262800"/>
            </a:xfrm>
            <a:prstGeom prst="rect">
              <a:avLst/>
            </a:prstGeom>
            <a:grp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RESPONSIBLE&gt;</a:t>
              </a:r>
            </a:p>
          </p:txBody>
        </p:sp>
        <p:sp>
          <p:nvSpPr>
            <p:cNvPr id="51" name="Duration"/>
            <p:cNvSpPr txBox="1">
              <a:spLocks/>
            </p:cNvSpPr>
            <p:nvPr userDrawn="1"/>
          </p:nvSpPr>
          <p:spPr>
            <a:xfrm>
              <a:off x="7354611" y="2243628"/>
              <a:ext cx="684723" cy="262800"/>
            </a:xfrm>
            <a:prstGeom prst="rect">
              <a:avLst/>
            </a:prstGeom>
            <a:grpFill/>
            <a:effectLst/>
          </p:spPr>
          <p:txBody>
            <a:bodyPr vert="horz" wrap="none" lIns="0" tIns="0" rIns="0" bIns="0" rtlCol="0" anchor="ctr">
              <a:noAutofit/>
            </a:bodyPr>
            <a:lstStyle/>
            <a:p>
              <a:pPr algn="l"/>
              <a:r>
                <a:rPr lang="en-US" sz="1000" b="0" i="0" u="none" strike="noStrike" dirty="0">
                  <a:solidFill>
                    <a:schemeClr val="tx1"/>
                  </a:solidFill>
                  <a:latin typeface="Apis For Office" panose="020B0604020202020204" charset="0"/>
                </a:rPr>
                <a:t>&lt;DURATION&gt;</a:t>
              </a:r>
            </a:p>
          </p:txBody>
        </p:sp>
      </p:grpSp>
      <p:sp>
        <p:nvSpPr>
          <p:cNvPr id="2" name="Title 1">
            <a:extLst>
              <a:ext uri="{FF2B5EF4-FFF2-40B4-BE49-F238E27FC236}">
                <a16:creationId xmlns:a16="http://schemas.microsoft.com/office/drawing/2014/main" id="{ACC69C51-152E-42EB-9E33-2953A61CF398}"/>
              </a:ext>
            </a:extLst>
          </p:cNvPr>
          <p:cNvSpPr>
            <a:spLocks noGrp="1"/>
          </p:cNvSpPr>
          <p:nvPr>
            <p:ph type="title" idx="10" hasCustomPrompt="1"/>
          </p:nvPr>
        </p:nvSpPr>
        <p:spPr>
          <a:xfrm>
            <a:off x="648000" y="648000"/>
            <a:ext cx="6406850" cy="694663"/>
          </a:xfrm>
        </p:spPr>
        <p:txBody>
          <a:bodyPr anchor="t"/>
          <a:lstStyle>
            <a:lvl1pPr>
              <a:defRPr sz="3600">
                <a:solidFill>
                  <a:schemeClr val="tx1"/>
                </a:solidFill>
              </a:defRPr>
            </a:lvl1pPr>
          </a:lstStyle>
          <a:p>
            <a:r>
              <a:rPr lang="en-US" dirty="0"/>
              <a:t>Agenda</a:t>
            </a:r>
          </a:p>
        </p:txBody>
      </p:sp>
      <p:sp>
        <p:nvSpPr>
          <p:cNvPr id="5" name="Date Placeholder 4">
            <a:extLst>
              <a:ext uri="{FF2B5EF4-FFF2-40B4-BE49-F238E27FC236}">
                <a16:creationId xmlns:a16="http://schemas.microsoft.com/office/drawing/2014/main" id="{EBEAC6E4-F34E-C8E7-3EE6-EBAF68C864AE}"/>
              </a:ext>
            </a:extLst>
          </p:cNvPr>
          <p:cNvSpPr>
            <a:spLocks noGrp="1"/>
          </p:cNvSpPr>
          <p:nvPr>
            <p:ph type="dt" sz="half" idx="11"/>
          </p:nvPr>
        </p:nvSpPr>
        <p:spPr/>
        <p:txBody>
          <a:bodyPr/>
          <a:lstStyle>
            <a:lvl1pPr>
              <a:defRPr>
                <a:solidFill>
                  <a:schemeClr val="tx1"/>
                </a:solidFill>
              </a:defRPr>
            </a:lvl1pPr>
          </a:lstStyle>
          <a:p>
            <a:endParaRPr lang="en-US" dirty="0"/>
          </a:p>
        </p:txBody>
      </p:sp>
      <p:sp>
        <p:nvSpPr>
          <p:cNvPr id="6" name="Footer Placeholder 5">
            <a:extLst>
              <a:ext uri="{FF2B5EF4-FFF2-40B4-BE49-F238E27FC236}">
                <a16:creationId xmlns:a16="http://schemas.microsoft.com/office/drawing/2014/main" id="{491B7CAE-3673-9F2C-CEC3-DD3AC3C50C5D}"/>
              </a:ext>
            </a:extLst>
          </p:cNvPr>
          <p:cNvSpPr>
            <a:spLocks noGrp="1"/>
          </p:cNvSpPr>
          <p:nvPr>
            <p:ph type="ftr" sz="quarter" idx="12"/>
          </p:nvPr>
        </p:nvSpPr>
        <p:spPr/>
        <p:txBody>
          <a:bodyPr/>
          <a:lstStyle>
            <a:lvl1pPr>
              <a:defRPr>
                <a:solidFill>
                  <a:schemeClr val="tx1"/>
                </a:solidFill>
              </a:defRPr>
            </a:lvl1pPr>
          </a:lstStyle>
          <a:p>
            <a:endParaRPr lang="en-US" dirty="0"/>
          </a:p>
        </p:txBody>
      </p:sp>
      <p:sp>
        <p:nvSpPr>
          <p:cNvPr id="7" name="Slide Number Placeholder 6">
            <a:extLst>
              <a:ext uri="{FF2B5EF4-FFF2-40B4-BE49-F238E27FC236}">
                <a16:creationId xmlns:a16="http://schemas.microsoft.com/office/drawing/2014/main" id="{51AB8224-9D13-0477-381E-9E06AE6FAE1A}"/>
              </a:ext>
            </a:extLst>
          </p:cNvPr>
          <p:cNvSpPr>
            <a:spLocks noGrp="1"/>
          </p:cNvSpPr>
          <p:nvPr>
            <p:ph type="sldNum" sz="quarter" idx="13"/>
          </p:nvPr>
        </p:nvSpPr>
        <p:spPr/>
        <p:txBody>
          <a:bodyPr/>
          <a:lstStyle>
            <a:lvl1pPr>
              <a:defRPr>
                <a:solidFill>
                  <a:schemeClr val="tx1"/>
                </a:solidFill>
              </a:defRPr>
            </a:lvl1pPr>
          </a:lstStyle>
          <a:p>
            <a:fld id="{23AA811B-2EBD-4900-905E-5BE206449611}" type="slidenum">
              <a:rPr lang="en-US" smtClean="0"/>
              <a:pPr/>
              <a:t>‹#›</a:t>
            </a:fld>
            <a:endParaRPr lang="en-US" dirty="0"/>
          </a:p>
        </p:txBody>
      </p:sp>
      <p:sp>
        <p:nvSpPr>
          <p:cNvPr id="23" name="Freeform: Shape 22">
            <a:extLst>
              <a:ext uri="{FF2B5EF4-FFF2-40B4-BE49-F238E27FC236}">
                <a16:creationId xmlns:a16="http://schemas.microsoft.com/office/drawing/2014/main" id="{49D40B05-6144-8FA9-C28C-8E4E3FE5B0F6}"/>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FFFFFF"/>
          </a:solidFill>
          <a:ln w="8132" cap="flat">
            <a:noFill/>
            <a:prstDash val="solid"/>
            <a:miter/>
          </a:ln>
        </p:spPr>
        <p:txBody>
          <a:bodyPr rtlCol="0" anchor="ctr"/>
          <a:lstStyle/>
          <a:p>
            <a:endParaRPr lang="en-US" dirty="0"/>
          </a:p>
        </p:txBody>
      </p:sp>
      <p:sp>
        <p:nvSpPr>
          <p:cNvPr id="10" name="dynamic logo white" descr="{&quot;templafy&quot;:{&quot;id&quot;:&quot;201a883a-37d4-41e0-9fb5-5d6152020fdb&quot;}}" title="Form.PLogoChoice.PLogoInsertionWhite">
            <a:extLst>
              <a:ext uri="{FF2B5EF4-FFF2-40B4-BE49-F238E27FC236}">
                <a16:creationId xmlns:a16="http://schemas.microsoft.com/office/drawing/2014/main" id="{1A6A96C2-0B73-E670-4F39-F1FDDA60D26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1772929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BC2A95-D6F3-C873-0C4F-968220225C6F}"/>
              </a:ext>
            </a:extLst>
          </p:cNvPr>
          <p:cNvSpPr>
            <a:spLocks noGrp="1" noRot="1" noMove="1" noResize="1" noEditPoints="1" noAdjustHandles="1" noChangeArrowheads="1" noChangeShapeType="1"/>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749301" y="3127375"/>
            <a:ext cx="10423524" cy="603250"/>
            <a:chOff x="1595205" y="1927239"/>
            <a:chExt cx="6143204" cy="603250"/>
          </a:xfrm>
        </p:grpSpPr>
        <p:sp>
          <p:nvSpPr>
            <p:cNvPr id="72" name="Section Title">
              <a:extLst>
                <a:ext uri="{FF2B5EF4-FFF2-40B4-BE49-F238E27FC236}">
                  <a16:creationId xmlns:a16="http://schemas.microsoft.com/office/drawing/2014/main" id="{8BF45C0E-D24F-4800-98B2-20E0A3AC8C3F}"/>
                </a:ext>
              </a:extLst>
            </p:cNvPr>
            <p:cNvSpPr txBox="1">
              <a:spLocks/>
            </p:cNvSpPr>
            <p:nvPr userDrawn="1"/>
          </p:nvSpPr>
          <p:spPr>
            <a:xfrm>
              <a:off x="2242645" y="1927239"/>
              <a:ext cx="5495764" cy="603250"/>
            </a:xfrm>
            <a:prstGeom prst="rect">
              <a:avLst/>
            </a:prstGeom>
            <a:noFill/>
          </p:spPr>
          <p:txBody>
            <a:bodyPr wrap="square" rtlCol="0" anchor="ctr">
              <a:noAutofit/>
            </a:bodyPr>
            <a:lstStyle/>
            <a:p>
              <a:pPr defTabSz="9334267">
                <a:tabLst>
                  <a:tab pos="9512062" algn="l"/>
                </a:tabLst>
              </a:pPr>
              <a:r>
                <a:rPr lang="en-US" sz="4400" b="1" dirty="0">
                  <a:solidFill>
                    <a:schemeClr val="bg1"/>
                  </a:solidFill>
                </a:rPr>
                <a:t>&lt;TEXT&gt;</a:t>
              </a:r>
            </a:p>
          </p:txBody>
        </p:sp>
        <p:sp>
          <p:nvSpPr>
            <p:cNvPr id="73" name="Section Number">
              <a:extLst>
                <a:ext uri="{FF2B5EF4-FFF2-40B4-BE49-F238E27FC236}">
                  <a16:creationId xmlns:a16="http://schemas.microsoft.com/office/drawing/2014/main" id="{B36140C3-09D5-4D3F-906D-270C63E34027}"/>
                </a:ext>
              </a:extLst>
            </p:cNvPr>
            <p:cNvSpPr txBox="1">
              <a:spLocks/>
            </p:cNvSpPr>
            <p:nvPr userDrawn="1"/>
          </p:nvSpPr>
          <p:spPr>
            <a:xfrm>
              <a:off x="1595205" y="1927239"/>
              <a:ext cx="647442" cy="603250"/>
            </a:xfrm>
            <a:prstGeom prst="rect">
              <a:avLst/>
            </a:prstGeom>
            <a:noFill/>
          </p:spPr>
          <p:txBody>
            <a:bodyPr wrap="none" rtlCol="0" anchor="ctr">
              <a:noAutofit/>
            </a:bodyPr>
            <a:lstStyle/>
            <a:p>
              <a:pPr algn="ctr"/>
              <a:r>
                <a:rPr lang="en-US" sz="4400" b="1" dirty="0">
                  <a:solidFill>
                    <a:schemeClr val="bg1"/>
                  </a:solidFill>
                </a:rPr>
                <a:t>&lt;N&gt;</a:t>
              </a:r>
            </a:p>
          </p:txBody>
        </p:sp>
        <p:sp>
          <p:nvSpPr>
            <p:cNvPr id="74" name="Slide Number">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400" dirty="0">
                  <a:solidFill>
                    <a:srgbClr val="000000">
                      <a:alpha val="0"/>
                    </a:srgbClr>
                  </a:solidFill>
                </a:rPr>
                <a:t>&lt;P&gt;</a:t>
              </a:r>
            </a:p>
          </p:txBody>
        </p:sp>
        <p:sp>
          <p:nvSpPr>
            <p:cNvPr id="75" name="Timeslot">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400" dirty="0">
                  <a:solidFill>
                    <a:srgbClr val="000000">
                      <a:alpha val="0"/>
                    </a:srgbClr>
                  </a:solidFill>
                </a:rPr>
                <a:t>&lt;TIMESLOT&gt;</a:t>
              </a:r>
            </a:p>
          </p:txBody>
        </p:sp>
        <p:sp>
          <p:nvSpPr>
            <p:cNvPr id="76" name="Responsible">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400" dirty="0">
                  <a:solidFill>
                    <a:srgbClr val="000000">
                      <a:alpha val="0"/>
                    </a:srgbClr>
                  </a:solidFill>
                </a:rPr>
                <a:t>&lt;RESPONSIBLE&gt;</a:t>
              </a:r>
            </a:p>
          </p:txBody>
        </p:sp>
        <p:sp>
          <p:nvSpPr>
            <p:cNvPr id="77" name="Duration">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400" dirty="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749301" y="3127375"/>
            <a:ext cx="10423523" cy="603250"/>
            <a:chOff x="1595205" y="1927239"/>
            <a:chExt cx="6143204" cy="603250"/>
          </a:xfrm>
        </p:grpSpPr>
        <p:sp>
          <p:nvSpPr>
            <p:cNvPr id="79" name="Section Title">
              <a:extLst>
                <a:ext uri="{FF2B5EF4-FFF2-40B4-BE49-F238E27FC236}">
                  <a16:creationId xmlns:a16="http://schemas.microsoft.com/office/drawing/2014/main" id="{584D4FFB-892A-49C8-973F-893B258E19BF}"/>
                </a:ext>
              </a:extLst>
            </p:cNvPr>
            <p:cNvSpPr txBox="1">
              <a:spLocks/>
            </p:cNvSpPr>
            <p:nvPr userDrawn="1"/>
          </p:nvSpPr>
          <p:spPr>
            <a:xfrm>
              <a:off x="2242645" y="1927239"/>
              <a:ext cx="5495764" cy="603250"/>
            </a:xfrm>
            <a:prstGeom prst="rect">
              <a:avLst/>
            </a:prstGeom>
            <a:noFill/>
          </p:spPr>
          <p:txBody>
            <a:bodyPr wrap="square" rtlCol="0" anchor="ctr">
              <a:noAutofit/>
            </a:bodyPr>
            <a:lstStyle/>
            <a:p>
              <a:pPr defTabSz="9334267">
                <a:tabLst>
                  <a:tab pos="9512062" algn="l"/>
                </a:tabLst>
              </a:pPr>
              <a:r>
                <a:rPr lang="en-US" sz="4400" b="1" dirty="0">
                  <a:solidFill>
                    <a:schemeClr val="bg1"/>
                  </a:solidFill>
                </a:rPr>
                <a:t>&lt;TEXT&gt;</a:t>
              </a:r>
            </a:p>
          </p:txBody>
        </p:sp>
        <p:sp>
          <p:nvSpPr>
            <p:cNvPr id="80" name="Section Number">
              <a:extLst>
                <a:ext uri="{FF2B5EF4-FFF2-40B4-BE49-F238E27FC236}">
                  <a16:creationId xmlns:a16="http://schemas.microsoft.com/office/drawing/2014/main" id="{BB144044-4B4E-495D-8D8D-9D01BCCA9A24}"/>
                </a:ext>
              </a:extLst>
            </p:cNvPr>
            <p:cNvSpPr txBox="1">
              <a:spLocks/>
            </p:cNvSpPr>
            <p:nvPr userDrawn="1"/>
          </p:nvSpPr>
          <p:spPr>
            <a:xfrm>
              <a:off x="1595205" y="1927239"/>
              <a:ext cx="647442" cy="603250"/>
            </a:xfrm>
            <a:prstGeom prst="rect">
              <a:avLst/>
            </a:prstGeom>
            <a:noFill/>
          </p:spPr>
          <p:txBody>
            <a:bodyPr wrap="none" rtlCol="0" anchor="ctr">
              <a:noAutofit/>
            </a:bodyPr>
            <a:lstStyle/>
            <a:p>
              <a:pPr algn="ctr"/>
              <a:r>
                <a:rPr lang="en-US" sz="4400" b="1" dirty="0">
                  <a:solidFill>
                    <a:schemeClr val="bg1"/>
                  </a:solidFill>
                </a:rPr>
                <a:t>&lt;N&gt;</a:t>
              </a:r>
            </a:p>
          </p:txBody>
        </p:sp>
        <p:sp>
          <p:nvSpPr>
            <p:cNvPr id="81" name="Slide Number">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400" b="1" dirty="0">
                  <a:solidFill>
                    <a:srgbClr val="000000">
                      <a:alpha val="0"/>
                    </a:srgbClr>
                  </a:solidFill>
                </a:rPr>
                <a:t>&lt;P&gt;</a:t>
              </a:r>
            </a:p>
          </p:txBody>
        </p:sp>
        <p:sp>
          <p:nvSpPr>
            <p:cNvPr id="82" name="Timeslot">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400" b="1" dirty="0">
                  <a:solidFill>
                    <a:srgbClr val="000000">
                      <a:alpha val="0"/>
                    </a:srgbClr>
                  </a:solidFill>
                </a:rPr>
                <a:t>&lt;TIMESLOT&gt;</a:t>
              </a:r>
            </a:p>
          </p:txBody>
        </p:sp>
        <p:sp>
          <p:nvSpPr>
            <p:cNvPr id="83" name="Responsible">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400" b="1" dirty="0">
                  <a:solidFill>
                    <a:srgbClr val="000000">
                      <a:alpha val="0"/>
                    </a:srgbClr>
                  </a:solidFill>
                </a:rPr>
                <a:t>&lt;RESPONSIBLE&gt;</a:t>
              </a:r>
            </a:p>
          </p:txBody>
        </p:sp>
        <p:sp>
          <p:nvSpPr>
            <p:cNvPr id="84" name="Duration">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400" b="1" dirty="0">
                  <a:solidFill>
                    <a:srgbClr val="000000">
                      <a:alpha val="0"/>
                    </a:srgbClr>
                  </a:solidFill>
                </a:rPr>
                <a:t>&lt;DURATION&gt;</a:t>
              </a:r>
            </a:p>
          </p:txBody>
        </p:sp>
      </p:grpSp>
      <p:sp>
        <p:nvSpPr>
          <p:cNvPr id="4" name="Date Placeholder 3">
            <a:extLst>
              <a:ext uri="{FF2B5EF4-FFF2-40B4-BE49-F238E27FC236}">
                <a16:creationId xmlns:a16="http://schemas.microsoft.com/office/drawing/2014/main" id="{2E0DBF30-E737-9B72-7BCE-6AAF7DB68DA1}"/>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a:extLst>
              <a:ext uri="{FF2B5EF4-FFF2-40B4-BE49-F238E27FC236}">
                <a16:creationId xmlns:a16="http://schemas.microsoft.com/office/drawing/2014/main" id="{246C61A8-A907-429E-B74A-EFE0C7185050}"/>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EFAB9F0A-4D38-6AC3-6ABD-0F8B46103A05}"/>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US" smtClean="0"/>
              <a:pPr/>
              <a:t>‹#›</a:t>
            </a:fld>
            <a:endParaRPr lang="en-US" dirty="0"/>
          </a:p>
        </p:txBody>
      </p:sp>
      <p:sp>
        <p:nvSpPr>
          <p:cNvPr id="7" name="Freeform: Shape 6">
            <a:extLst>
              <a:ext uri="{FF2B5EF4-FFF2-40B4-BE49-F238E27FC236}">
                <a16:creationId xmlns:a16="http://schemas.microsoft.com/office/drawing/2014/main" id="{C84AD194-DB6D-51A5-BDB1-27DCA11A0D9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dirty="0"/>
          </a:p>
        </p:txBody>
      </p:sp>
      <p:sp>
        <p:nvSpPr>
          <p:cNvPr id="3" name="dynamic logo white" descr="{&quot;templafy&quot;:{&quot;id&quot;:&quot;8b6f5b78-b3f0-4b10-828b-b8e71b930815&quot;}}" title="Form.PLogoChoice.PLogoInsertionWhite">
            <a:extLst>
              <a:ext uri="{FF2B5EF4-FFF2-40B4-BE49-F238E27FC236}">
                <a16:creationId xmlns:a16="http://schemas.microsoft.com/office/drawing/2014/main" id="{4C8B24A5-6FA4-69B5-BF18-CC32917C434E}"/>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2963871936"/>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endParaRPr lang="en-US"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US"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US" smtClean="0"/>
              <a:pPr/>
              <a:t>‹#›</a:t>
            </a:fld>
            <a:endParaRPr lang="en-US" dirty="0"/>
          </a:p>
        </p:txBody>
      </p:sp>
      <p:sp>
        <p:nvSpPr>
          <p:cNvPr id="5" name="Text Box 3">
            <a:extLst>
              <a:ext uri="{FF2B5EF4-FFF2-40B4-BE49-F238E27FC236}">
                <a16:creationId xmlns:a16="http://schemas.microsoft.com/office/drawing/2014/main" id="{B82AC4B4-CADE-20C1-7FDB-8AAC5E43A476}"/>
              </a:ext>
            </a:extLst>
          </p:cNvPr>
          <p:cNvSpPr txBox="1">
            <a:spLocks noChangeArrowheads="1"/>
          </p:cNvSpPr>
          <p:nvPr userDrawn="1"/>
        </p:nvSpPr>
        <p:spPr bwMode="auto">
          <a:xfrm>
            <a:off x="4467579" y="1428452"/>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solidFill>
                  <a:srgbClr val="001965"/>
                </a:solidFill>
                <a:latin typeface="+mn-lt"/>
                <a:cs typeface="Arial" panose="020B0604020202020204" pitchFamily="34" charset="0"/>
              </a:rPr>
              <a:t>PICTURES</a:t>
            </a:r>
            <a:br>
              <a:rPr lang="en-US" sz="900" dirty="0">
                <a:solidFill>
                  <a:srgbClr val="001965"/>
                </a:solidFill>
                <a:latin typeface="+mn-lt"/>
                <a:cs typeface="Arial" panose="020B0604020202020204" pitchFamily="34" charset="0"/>
              </a:rPr>
            </a:br>
            <a:r>
              <a:rPr lang="en-US" sz="900" b="1" noProof="1">
                <a:solidFill>
                  <a:srgbClr val="001965"/>
                </a:solidFill>
                <a:latin typeface="+mn-lt"/>
                <a:cs typeface="Arial" panose="020B0604020202020204" pitchFamily="34" charset="0"/>
              </a:rPr>
              <a:t>Insert corporate picture from Templafy</a:t>
            </a:r>
            <a:endParaRPr lang="en-US" altLang="da-DK" sz="900" b="0" noProof="1">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rgbClr val="001965"/>
                </a:solidFill>
                <a:latin typeface="+mn-lt"/>
                <a:cs typeface="Arial" panose="020B0604020202020204" pitchFamily="34" charset="0"/>
              </a:rPr>
              <a:t>1.</a:t>
            </a:r>
            <a:r>
              <a:rPr lang="en-US" altLang="da-DK" sz="900" b="0" noProof="1">
                <a:solidFill>
                  <a:srgbClr val="001965"/>
                </a:solidFill>
                <a:latin typeface="+mn-lt"/>
                <a:cs typeface="Arial" panose="020B0604020202020204" pitchFamily="34" charset="0"/>
              </a:rPr>
              <a:t> Click the blue </a:t>
            </a:r>
            <a:r>
              <a:rPr lang="en-US" altLang="da-DK" sz="900" b="1" baseline="0" noProof="1">
                <a:solidFill>
                  <a:srgbClr val="001965"/>
                </a:solidFill>
                <a:latin typeface="+mn-lt"/>
                <a:cs typeface="Arial" panose="020B0604020202020204" pitchFamily="34" charset="0"/>
              </a:rPr>
              <a:t>Templafy </a:t>
            </a:r>
            <a:r>
              <a:rPr lang="en-US" altLang="da-DK" sz="900" b="0" baseline="0" noProof="1">
                <a:solidFill>
                  <a:srgbClr val="001965"/>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rgbClr val="001965"/>
                </a:solidFill>
                <a:latin typeface="+mn-lt"/>
                <a:cs typeface="Arial" panose="020B0604020202020204" pitchFamily="34" charset="0"/>
              </a:rPr>
              <a:t>2. </a:t>
            </a:r>
            <a:r>
              <a:rPr lang="en-US" altLang="da-DK" sz="900" b="0" baseline="0" noProof="1">
                <a:solidFill>
                  <a:srgbClr val="001965"/>
                </a:solidFill>
                <a:latin typeface="+mn-lt"/>
                <a:cs typeface="Arial" panose="020B0604020202020204" pitchFamily="34" charset="0"/>
              </a:rPr>
              <a:t>Click the </a:t>
            </a:r>
            <a:r>
              <a:rPr lang="en-US" altLang="da-DK" sz="900" b="1" baseline="0" noProof="1">
                <a:solidFill>
                  <a:srgbClr val="001965"/>
                </a:solidFill>
                <a:latin typeface="+mn-lt"/>
                <a:cs typeface="Arial" panose="020B0604020202020204" pitchFamily="34" charset="0"/>
              </a:rPr>
              <a:t>Images </a:t>
            </a:r>
            <a:r>
              <a:rPr lang="en-US" altLang="da-DK" sz="900" b="0" i="0" baseline="0" noProof="1">
                <a:solidFill>
                  <a:srgbClr val="001965"/>
                </a:solidFill>
                <a:latin typeface="+mn-lt"/>
                <a:cs typeface="Arial" panose="020B0604020202020204" pitchFamily="34" charset="0"/>
              </a:rPr>
              <a:t>button</a:t>
            </a:r>
            <a:r>
              <a:rPr lang="en-US" altLang="da-DK" sz="900" b="0" baseline="0" noProof="1">
                <a:solidFill>
                  <a:srgbClr val="001965"/>
                </a:solidFill>
                <a:latin typeface="+mn-lt"/>
                <a:cs typeface="Arial" panose="020B0604020202020204" pitchFamily="34" charset="0"/>
              </a:rPr>
              <a:t> in the Templafy pane on the right side of the screen</a:t>
            </a:r>
            <a:endParaRPr lang="en-US" altLang="da-DK" sz="900" noProof="1">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ltLang="da-DK" sz="900" b="0" baseline="0" noProof="1">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rgbClr val="001965"/>
                </a:solidFill>
                <a:latin typeface="+mn-lt"/>
                <a:cs typeface="Arial" panose="020B0604020202020204" pitchFamily="34" charset="0"/>
              </a:rPr>
              <a:t>Insert picture</a:t>
            </a:r>
          </a:p>
          <a:p>
            <a:pPr eaLnBrk="1" hangingPunct="1">
              <a:spcAft>
                <a:spcPts val="600"/>
              </a:spcAft>
              <a:defRPr/>
            </a:pPr>
            <a:r>
              <a:rPr lang="en-US" altLang="da-DK" sz="900" b="0" noProof="1">
                <a:solidFill>
                  <a:srgbClr val="001965"/>
                </a:solidFill>
                <a:latin typeface="+mn-lt"/>
                <a:cs typeface="Arial" panose="020B0604020202020204" pitchFamily="34" charset="0"/>
              </a:rPr>
              <a:t>On slides with pictureplaceholder, click on the icon and choose </a:t>
            </a:r>
            <a:r>
              <a:rPr lang="en-US" altLang="da-DK" sz="900" b="1" noProof="1">
                <a:solidFill>
                  <a:srgbClr val="001965"/>
                </a:solidFill>
                <a:latin typeface="+mn-lt"/>
                <a:cs typeface="Arial" panose="020B0604020202020204" pitchFamily="34" charset="0"/>
              </a:rPr>
              <a:t>Insert</a:t>
            </a:r>
          </a:p>
          <a:p>
            <a:pPr eaLnBrk="1" hangingPunct="1">
              <a:spcBef>
                <a:spcPts val="1200"/>
              </a:spcBef>
              <a:spcAft>
                <a:spcPts val="600"/>
              </a:spcAft>
              <a:defRPr/>
            </a:pPr>
            <a:r>
              <a:rPr lang="en-US" sz="900" b="1" noProof="1">
                <a:solidFill>
                  <a:srgbClr val="001965"/>
                </a:solidFill>
                <a:latin typeface="+mn-lt"/>
                <a:cs typeface="Arial" panose="020B0604020202020204" pitchFamily="34" charset="0"/>
              </a:rPr>
              <a:t>Crop picture</a:t>
            </a:r>
          </a:p>
          <a:p>
            <a:pPr eaLnBrk="1" hangingPunct="1">
              <a:spcAft>
                <a:spcPts val="600"/>
              </a:spcAft>
              <a:defRPr/>
            </a:pPr>
            <a:r>
              <a:rPr lang="en-US" altLang="da-DK" sz="900" b="1" noProof="1">
                <a:solidFill>
                  <a:srgbClr val="001965"/>
                </a:solidFill>
                <a:latin typeface="+mn-lt"/>
                <a:cs typeface="Arial" panose="020B0604020202020204" pitchFamily="34" charset="0"/>
              </a:rPr>
              <a:t>1. </a:t>
            </a:r>
            <a:r>
              <a:rPr lang="en-US" altLang="da-DK" sz="900" b="0" noProof="1">
                <a:solidFill>
                  <a:srgbClr val="001965"/>
                </a:solidFill>
                <a:latin typeface="+mn-lt"/>
                <a:cs typeface="Arial" panose="020B0604020202020204" pitchFamily="34" charset="0"/>
              </a:rPr>
              <a:t>Click </a:t>
            </a:r>
            <a:r>
              <a:rPr lang="en-US" altLang="da-DK" sz="900" b="1" noProof="1">
                <a:solidFill>
                  <a:srgbClr val="001965"/>
                </a:solidFill>
                <a:latin typeface="+mn-lt"/>
                <a:cs typeface="Arial" panose="020B0604020202020204" pitchFamily="34" charset="0"/>
              </a:rPr>
              <a:t>Crop</a:t>
            </a:r>
            <a:r>
              <a:rPr lang="en-US" altLang="da-DK" sz="900" b="0" noProof="1">
                <a:solidFill>
                  <a:srgbClr val="001965"/>
                </a:solidFill>
                <a:latin typeface="+mn-lt"/>
                <a:cs typeface="Arial" panose="020B0604020202020204" pitchFamily="34" charset="0"/>
              </a:rPr>
              <a:t> to change size or </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focus of the picture</a:t>
            </a:r>
          </a:p>
          <a:p>
            <a:pPr eaLnBrk="1" hangingPunct="1">
              <a:spcAft>
                <a:spcPts val="600"/>
              </a:spcAft>
              <a:defRPr/>
            </a:pPr>
            <a:r>
              <a:rPr lang="en-US" altLang="da-DK" sz="900" b="1" noProof="1">
                <a:solidFill>
                  <a:srgbClr val="001965"/>
                </a:solidFill>
                <a:latin typeface="+mn-lt"/>
                <a:cs typeface="Arial" panose="020B0604020202020204" pitchFamily="34" charset="0"/>
              </a:rPr>
              <a:t>2. </a:t>
            </a:r>
            <a:r>
              <a:rPr lang="en-US" altLang="da-DK" sz="900" b="0" noProof="1">
                <a:solidFill>
                  <a:srgbClr val="001965"/>
                </a:solidFill>
                <a:latin typeface="+mn-lt"/>
                <a:cs typeface="Arial" panose="020B0604020202020204" pitchFamily="34" charset="0"/>
              </a:rPr>
              <a:t>If you want to scale the picture, </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hold </a:t>
            </a:r>
            <a:r>
              <a:rPr lang="en-US" altLang="da-DK" sz="900" b="1" noProof="1">
                <a:solidFill>
                  <a:srgbClr val="001965"/>
                </a:solidFill>
                <a:latin typeface="+mn-lt"/>
                <a:cs typeface="Arial" panose="020B0604020202020204" pitchFamily="34" charset="0"/>
              </a:rPr>
              <a:t>SHIFT</a:t>
            </a:r>
            <a:r>
              <a:rPr lang="en-US" altLang="da-DK" sz="900" b="0" noProof="1">
                <a:solidFill>
                  <a:srgbClr val="001965"/>
                </a:solidFill>
                <a:latin typeface="+mn-lt"/>
                <a:cs typeface="Arial" panose="020B0604020202020204" pitchFamily="34" charset="0"/>
              </a:rPr>
              <a:t>-key down while </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dragging the corners of the picture</a:t>
            </a:r>
            <a:br>
              <a:rPr lang="en-US" altLang="da-DK" sz="900" b="0" noProof="1">
                <a:solidFill>
                  <a:srgbClr val="001965"/>
                </a:solidFill>
                <a:latin typeface="+mn-lt"/>
                <a:cs typeface="Arial" panose="020B0604020202020204" pitchFamily="34" charset="0"/>
              </a:rPr>
            </a:br>
            <a:endParaRPr lang="en-US" altLang="da-DK" sz="900" b="0" noProof="1">
              <a:solidFill>
                <a:srgbClr val="001965"/>
              </a:solidFill>
              <a:latin typeface="+mn-lt"/>
              <a:cs typeface="Arial" panose="020B0604020202020204" pitchFamily="34" charset="0"/>
            </a:endParaRPr>
          </a:p>
          <a:p>
            <a:pPr eaLnBrk="1" hangingPunct="1">
              <a:spcAft>
                <a:spcPts val="600"/>
              </a:spcAft>
              <a:defRPr/>
            </a:pPr>
            <a:r>
              <a:rPr lang="en-US" altLang="da-DK" sz="900" b="1" noProof="1">
                <a:solidFill>
                  <a:srgbClr val="001965"/>
                </a:solidFill>
                <a:latin typeface="+mn-lt"/>
                <a:cs typeface="Arial" panose="020B0604020202020204" pitchFamily="34" charset="0"/>
              </a:rPr>
              <a:t>HINT: </a:t>
            </a:r>
            <a:r>
              <a:rPr lang="en-US" altLang="da-DK" sz="900" b="0" noProof="1">
                <a:solidFill>
                  <a:srgbClr val="001965"/>
                </a:solidFill>
                <a:latin typeface="+mn-lt"/>
                <a:cs typeface="Arial" panose="020B0604020202020204" pitchFamily="34" charset="0"/>
              </a:rPr>
              <a:t>If you delete the picture and </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insert a new one, the picture may </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lie in front of the text or graphic.</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If this happens, select the picture, </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right-click and choose </a:t>
            </a:r>
            <a:r>
              <a:rPr lang="en-US" altLang="da-DK" sz="900" b="1" noProof="1">
                <a:solidFill>
                  <a:srgbClr val="001965"/>
                </a:solidFill>
                <a:latin typeface="+mn-lt"/>
                <a:cs typeface="Arial" panose="020B0604020202020204" pitchFamily="34" charset="0"/>
              </a:rPr>
              <a:t>Send to Back</a:t>
            </a:r>
          </a:p>
        </p:txBody>
      </p:sp>
      <p:sp>
        <p:nvSpPr>
          <p:cNvPr id="6" name="Text Box 2">
            <a:extLst>
              <a:ext uri="{FF2B5EF4-FFF2-40B4-BE49-F238E27FC236}">
                <a16:creationId xmlns:a16="http://schemas.microsoft.com/office/drawing/2014/main" id="{BA76E542-DB9C-D84A-C66E-A0AE87C4FFE0}"/>
              </a:ext>
            </a:extLst>
          </p:cNvPr>
          <p:cNvSpPr txBox="1">
            <a:spLocks noChangeArrowheads="1"/>
          </p:cNvSpPr>
          <p:nvPr userDrawn="1"/>
        </p:nvSpPr>
        <p:spPr bwMode="auto">
          <a:xfrm>
            <a:off x="647700" y="1434082"/>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solidFill>
                  <a:srgbClr val="001965"/>
                </a:solidFill>
                <a:latin typeface="+mn-lt"/>
                <a:cs typeface="Arial" panose="020B0604020202020204" pitchFamily="34" charset="0"/>
              </a:rPr>
              <a:t>TEXT STYLES</a:t>
            </a:r>
            <a:endParaRPr lang="en-US" altLang="da-DK" sz="1600" b="0" noProof="1">
              <a:solidFill>
                <a:srgbClr val="001965"/>
              </a:solidFill>
              <a:latin typeface="+mn-lt"/>
              <a:cs typeface="Arial" panose="020B0604020202020204" pitchFamily="34" charset="0"/>
            </a:endParaRPr>
          </a:p>
          <a:p>
            <a:pPr eaLnBrk="1" hangingPunct="1">
              <a:spcAft>
                <a:spcPts val="600"/>
              </a:spcAft>
              <a:defRPr/>
            </a:pPr>
            <a:r>
              <a:rPr lang="en-US" altLang="da-DK" sz="900" b="0" noProof="1">
                <a:solidFill>
                  <a:srgbClr val="001965"/>
                </a:solidFill>
                <a:latin typeface="+mn-lt"/>
                <a:cs typeface="Arial" panose="020B0604020202020204" pitchFamily="34" charset="0"/>
              </a:rPr>
              <a:t>Use the </a:t>
            </a:r>
            <a:r>
              <a:rPr lang="en-US" altLang="da-DK" sz="900" b="1" noProof="1">
                <a:solidFill>
                  <a:srgbClr val="001965"/>
                </a:solidFill>
                <a:latin typeface="+mn-lt"/>
                <a:cs typeface="Arial" panose="020B0604020202020204" pitchFamily="34" charset="0"/>
              </a:rPr>
              <a:t>TAB</a:t>
            </a:r>
            <a:r>
              <a:rPr lang="en-US" altLang="da-DK" sz="900" b="0" noProof="1">
                <a:solidFill>
                  <a:srgbClr val="001965"/>
                </a:solidFill>
                <a:latin typeface="+mn-lt"/>
                <a:cs typeface="Arial" panose="020B0604020202020204" pitchFamily="34" charset="0"/>
              </a:rPr>
              <a:t>-key</a:t>
            </a:r>
            <a:r>
              <a:rPr lang="en-US" altLang="da-DK" sz="900" b="0" baseline="0" noProof="1">
                <a:solidFill>
                  <a:srgbClr val="001965"/>
                </a:solidFill>
                <a:latin typeface="+mn-lt"/>
                <a:cs typeface="Arial" panose="020B0604020202020204" pitchFamily="34" charset="0"/>
              </a:rPr>
              <a:t> to jump through levels. Click </a:t>
            </a:r>
            <a:r>
              <a:rPr lang="en-US" altLang="da-DK" sz="900" b="1" baseline="0" noProof="1">
                <a:solidFill>
                  <a:srgbClr val="001965"/>
                </a:solidFill>
                <a:latin typeface="+mn-lt"/>
                <a:cs typeface="Arial" panose="020B0604020202020204" pitchFamily="34" charset="0"/>
              </a:rPr>
              <a:t>ENTER</a:t>
            </a:r>
            <a:r>
              <a:rPr lang="en-US" altLang="da-DK" sz="900" b="0" baseline="0" noProof="1">
                <a:solidFill>
                  <a:srgbClr val="001965"/>
                </a:solidFill>
                <a:latin typeface="+mn-lt"/>
                <a:cs typeface="Arial" panose="020B0604020202020204" pitchFamily="34" charset="0"/>
              </a:rPr>
              <a:t>, then </a:t>
            </a:r>
            <a:r>
              <a:rPr lang="en-US" altLang="da-DK" sz="900" b="1" baseline="0" noProof="1">
                <a:solidFill>
                  <a:srgbClr val="001965"/>
                </a:solidFill>
                <a:latin typeface="+mn-lt"/>
                <a:cs typeface="Arial" panose="020B0604020202020204" pitchFamily="34" charset="0"/>
              </a:rPr>
              <a:t>TAB</a:t>
            </a:r>
            <a:r>
              <a:rPr lang="en-US" altLang="da-DK" sz="900" b="0" baseline="0" noProof="1">
                <a:solidFill>
                  <a:srgbClr val="001965"/>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rgbClr val="001965"/>
                </a:solidFill>
                <a:latin typeface="+mn-lt"/>
                <a:cs typeface="Arial" panose="020B0604020202020204" pitchFamily="34" charset="0"/>
              </a:rPr>
              <a:t>To go back in levels use </a:t>
            </a:r>
            <a:r>
              <a:rPr lang="en-US" altLang="da-DK" sz="900" b="1" baseline="0" noProof="1">
                <a:solidFill>
                  <a:srgbClr val="001965"/>
                </a:solidFill>
                <a:latin typeface="+mn-lt"/>
                <a:cs typeface="Arial" panose="020B0604020202020204" pitchFamily="34" charset="0"/>
              </a:rPr>
              <a:t>SHIFT-TAB</a:t>
            </a:r>
            <a:endParaRPr lang="en-US" sz="900" b="1" noProof="1">
              <a:solidFill>
                <a:srgbClr val="001965"/>
              </a:solidFill>
              <a:latin typeface="+mn-lt"/>
              <a:cs typeface="Arial" panose="020B0604020202020204" pitchFamily="34" charset="0"/>
            </a:endParaRPr>
          </a:p>
          <a:p>
            <a:pPr eaLnBrk="1" hangingPunct="1">
              <a:spcAft>
                <a:spcPts val="600"/>
              </a:spcAft>
              <a:defRPr/>
            </a:pPr>
            <a:r>
              <a:rPr lang="en-US" sz="900" noProof="1">
                <a:solidFill>
                  <a:srgbClr val="001965"/>
                </a:solidFill>
                <a:latin typeface="+mn-lt"/>
                <a:cs typeface="Arial" panose="020B0604020202020204" pitchFamily="34" charset="0"/>
              </a:rPr>
              <a:t>Alternatively, </a:t>
            </a:r>
            <a:r>
              <a:rPr lang="en-US" sz="900" b="1" noProof="1">
                <a:solidFill>
                  <a:srgbClr val="001965"/>
                </a:solidFill>
                <a:latin typeface="+mn-lt"/>
                <a:cs typeface="Arial" panose="020B0604020202020204" pitchFamily="34" charset="0"/>
              </a:rPr>
              <a:t>Increase</a:t>
            </a:r>
            <a:r>
              <a:rPr lang="en-US" sz="900" baseline="0" noProof="1">
                <a:solidFill>
                  <a:srgbClr val="001965"/>
                </a:solidFill>
                <a:latin typeface="+mn-lt"/>
                <a:cs typeface="Arial" panose="020B0604020202020204" pitchFamily="34" charset="0"/>
              </a:rPr>
              <a:t> and </a:t>
            </a:r>
            <a:r>
              <a:rPr lang="en-US" sz="900" b="1" baseline="0" noProof="1">
                <a:solidFill>
                  <a:srgbClr val="001965"/>
                </a:solidFill>
                <a:latin typeface="+mn-lt"/>
                <a:cs typeface="Arial" panose="020B0604020202020204" pitchFamily="34" charset="0"/>
              </a:rPr>
              <a:t>Decrease</a:t>
            </a:r>
            <a:br>
              <a:rPr lang="en-US" sz="900" b="1" baseline="0" noProof="1">
                <a:solidFill>
                  <a:srgbClr val="001965"/>
                </a:solidFill>
                <a:latin typeface="+mn-lt"/>
                <a:cs typeface="Arial" panose="020B0604020202020204" pitchFamily="34" charset="0"/>
              </a:rPr>
            </a:br>
            <a:r>
              <a:rPr lang="en-US" sz="900" baseline="0" noProof="1">
                <a:solidFill>
                  <a:srgbClr val="001965"/>
                </a:solidFill>
                <a:latin typeface="+mn-lt"/>
                <a:cs typeface="Arial" panose="020B0604020202020204" pitchFamily="34" charset="0"/>
              </a:rPr>
              <a:t>list level can be used</a:t>
            </a:r>
          </a:p>
          <a:p>
            <a:pPr eaLnBrk="1" hangingPunct="1">
              <a:spcAft>
                <a:spcPts val="600"/>
              </a:spcAft>
              <a:defRPr/>
            </a:pPr>
            <a:endParaRPr lang="en-US" sz="900" baseline="0" noProof="1">
              <a:solidFill>
                <a:srgbClr val="001965"/>
              </a:solidFill>
              <a:latin typeface="+mn-lt"/>
              <a:cs typeface="Arial" panose="020B0604020202020204" pitchFamily="34" charset="0"/>
            </a:endParaRPr>
          </a:p>
          <a:p>
            <a:pPr eaLnBrk="1" hangingPunct="1">
              <a:spcAft>
                <a:spcPts val="600"/>
              </a:spcAft>
              <a:defRPr/>
            </a:pPr>
            <a:r>
              <a:rPr lang="en-US" altLang="da-DK" sz="900" b="1" noProof="1">
                <a:solidFill>
                  <a:srgbClr val="001965"/>
                </a:solidFill>
                <a:latin typeface="+mn-lt"/>
                <a:cs typeface="Arial" panose="020B0604020202020204" pitchFamily="34" charset="0"/>
              </a:rPr>
              <a:t>HINT: </a:t>
            </a:r>
            <a:r>
              <a:rPr lang="en-US" sz="900" b="1" noProof="1">
                <a:solidFill>
                  <a:srgbClr val="001965"/>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rgbClr val="001965"/>
                </a:solidFill>
                <a:latin typeface="+mn-lt"/>
                <a:cs typeface="Arial" panose="020B0604020202020204" pitchFamily="34" charset="0"/>
              </a:rPr>
              <a:t>Delete bullet for regular text.</a:t>
            </a:r>
            <a:br>
              <a:rPr lang="en-US" altLang="da-DK" sz="900" b="0"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rgbClr val="001965"/>
                </a:solidFill>
                <a:latin typeface="+mn-lt"/>
                <a:cs typeface="Arial" panose="020B0604020202020204" pitchFamily="34" charset="0"/>
              </a:rPr>
            </a:br>
            <a:r>
              <a:rPr lang="en-US" sz="1600" dirty="0">
                <a:solidFill>
                  <a:srgbClr val="001965"/>
                </a:solidFill>
                <a:latin typeface="+mn-lt"/>
                <a:cs typeface="Arial" panose="020B0604020202020204" pitchFamily="34" charset="0"/>
              </a:rPr>
              <a:t>SLIDES &amp; LAYOUTS</a:t>
            </a:r>
            <a:br>
              <a:rPr lang="en-US" altLang="da-DK" sz="900" b="1" noProof="1">
                <a:solidFill>
                  <a:srgbClr val="001965"/>
                </a:solidFill>
                <a:latin typeface="+mn-lt"/>
                <a:cs typeface="Arial" panose="020B0604020202020204" pitchFamily="34" charset="0"/>
              </a:rPr>
            </a:br>
            <a:br>
              <a:rPr lang="en-US" altLang="da-DK" sz="900" b="1" noProof="1">
                <a:solidFill>
                  <a:srgbClr val="001965"/>
                </a:solidFill>
                <a:latin typeface="+mn-lt"/>
                <a:cs typeface="Arial" panose="020B0604020202020204" pitchFamily="34" charset="0"/>
              </a:rPr>
            </a:br>
            <a:r>
              <a:rPr lang="en-US" altLang="da-DK" sz="900" b="0" noProof="1">
                <a:solidFill>
                  <a:srgbClr val="001965"/>
                </a:solidFill>
                <a:latin typeface="+mn-lt"/>
                <a:cs typeface="Arial" panose="020B0604020202020204" pitchFamily="34" charset="0"/>
              </a:rPr>
              <a:t>Click on the menu </a:t>
            </a:r>
            <a:r>
              <a:rPr lang="en-US" altLang="da-DK" sz="900" b="1" noProof="1">
                <a:solidFill>
                  <a:srgbClr val="001965"/>
                </a:solidFill>
                <a:latin typeface="+mn-lt"/>
                <a:cs typeface="Arial" panose="020B0604020202020204" pitchFamily="34" charset="0"/>
              </a:rPr>
              <a:t>New Slide </a:t>
            </a:r>
            <a:r>
              <a:rPr lang="en-US" altLang="da-DK" sz="900" b="0" noProof="1">
                <a:solidFill>
                  <a:srgbClr val="001965"/>
                </a:solidFill>
                <a:latin typeface="+mn-lt"/>
                <a:cs typeface="Arial" panose="020B0604020202020204" pitchFamily="34" charset="0"/>
              </a:rPr>
              <a:t>in the </a:t>
            </a:r>
            <a:r>
              <a:rPr lang="en-US" altLang="da-DK" sz="900" b="1" noProof="1">
                <a:solidFill>
                  <a:srgbClr val="001965"/>
                </a:solidFill>
                <a:latin typeface="+mn-lt"/>
                <a:cs typeface="Arial" panose="020B0604020202020204" pitchFamily="34" charset="0"/>
              </a:rPr>
              <a:t>Home</a:t>
            </a:r>
            <a:r>
              <a:rPr lang="en-US" altLang="da-DK" sz="900" b="0" noProof="1">
                <a:solidFill>
                  <a:srgbClr val="001965"/>
                </a:solidFill>
                <a:latin typeface="+mn-lt"/>
                <a:cs typeface="Arial" panose="020B0604020202020204" pitchFamily="34" charset="0"/>
              </a:rPr>
              <a:t> tab to insert a new slide</a:t>
            </a:r>
            <a:br>
              <a:rPr lang="en-US" altLang="da-DK" sz="900" b="0" noProof="1">
                <a:solidFill>
                  <a:srgbClr val="001965"/>
                </a:solidFill>
                <a:latin typeface="+mn-lt"/>
                <a:cs typeface="Arial" panose="020B0604020202020204" pitchFamily="34" charset="0"/>
              </a:rPr>
            </a:br>
            <a:br>
              <a:rPr lang="en-US" altLang="da-DK" sz="900" b="0" noProof="1">
                <a:solidFill>
                  <a:srgbClr val="001965"/>
                </a:solidFill>
                <a:latin typeface="+mn-lt"/>
                <a:cs typeface="Arial" panose="020B0604020202020204" pitchFamily="34" charset="0"/>
              </a:rPr>
            </a:br>
            <a:r>
              <a:rPr lang="en-US" altLang="da-DK" sz="900" b="1" noProof="1">
                <a:solidFill>
                  <a:srgbClr val="001965"/>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900" dirty="0">
                <a:solidFill>
                  <a:srgbClr val="001965"/>
                </a:solidFill>
                <a:latin typeface="+mn-lt"/>
                <a:ea typeface="Arial" panose="020B0604020202020204" pitchFamily="34" charset="0"/>
                <a:cs typeface="Arial" panose="020B0604020202020204" pitchFamily="34" charset="0"/>
              </a:rPr>
              <a:t>Click on the arrow next to </a:t>
            </a:r>
            <a:r>
              <a:rPr lang="en-US" sz="900" b="1" dirty="0">
                <a:solidFill>
                  <a:srgbClr val="001965"/>
                </a:solidFill>
                <a:latin typeface="+mn-lt"/>
                <a:ea typeface="Arial" panose="020B0604020202020204" pitchFamily="34" charset="0"/>
                <a:cs typeface="Arial" panose="020B0604020202020204" pitchFamily="34" charset="0"/>
              </a:rPr>
              <a:t>Layout</a:t>
            </a:r>
            <a:br>
              <a:rPr lang="en-US" sz="900" b="1" dirty="0">
                <a:solidFill>
                  <a:srgbClr val="001965"/>
                </a:solidFill>
                <a:latin typeface="+mn-lt"/>
                <a:ea typeface="Arial" panose="020B0604020202020204" pitchFamily="34" charset="0"/>
                <a:cs typeface="Arial" panose="020B0604020202020204" pitchFamily="34" charset="0"/>
              </a:rPr>
            </a:br>
            <a:r>
              <a:rPr lang="en-US" sz="900" dirty="0">
                <a:solidFill>
                  <a:srgbClr val="001965"/>
                </a:solidFill>
                <a:latin typeface="+mn-lt"/>
                <a:ea typeface="Arial" panose="020B0604020202020204" pitchFamily="34" charset="0"/>
                <a:cs typeface="Arial" panose="020B0604020202020204" pitchFamily="34" charset="0"/>
              </a:rPr>
              <a:t>to view a dropdown menu of possible slide layouts</a:t>
            </a:r>
            <a:br>
              <a:rPr lang="en-US" altLang="da-DK" sz="900" b="0" baseline="0" noProof="1">
                <a:solidFill>
                  <a:srgbClr val="001965"/>
                </a:solidFill>
                <a:latin typeface="+mn-lt"/>
                <a:cs typeface="Arial" panose="020B0604020202020204" pitchFamily="34" charset="0"/>
              </a:rPr>
            </a:br>
            <a:br>
              <a:rPr lang="en-US" altLang="da-DK" sz="900" b="0" baseline="0" noProof="1">
                <a:solidFill>
                  <a:srgbClr val="001965"/>
                </a:solidFill>
                <a:latin typeface="+mn-lt"/>
                <a:cs typeface="Arial" panose="020B0604020202020204" pitchFamily="34" charset="0"/>
              </a:rPr>
            </a:br>
            <a:r>
              <a:rPr lang="en-US" sz="900" b="1" noProof="1">
                <a:solidFill>
                  <a:srgbClr val="001965"/>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rgbClr val="001965"/>
                </a:solidFill>
                <a:latin typeface="+mn-lt"/>
                <a:cs typeface="Arial" panose="020B0604020202020204" pitchFamily="34" charset="0"/>
              </a:rPr>
              <a:t>Click the </a:t>
            </a:r>
            <a:r>
              <a:rPr lang="en-US" altLang="da-DK" sz="900" b="1" baseline="0" noProof="1">
                <a:solidFill>
                  <a:srgbClr val="001965"/>
                </a:solidFill>
                <a:latin typeface="+mn-lt"/>
                <a:cs typeface="Arial" panose="020B0604020202020204" pitchFamily="34" charset="0"/>
              </a:rPr>
              <a:t>Reset </a:t>
            </a:r>
            <a:r>
              <a:rPr lang="en-US" altLang="da-DK" sz="900" noProof="1">
                <a:solidFill>
                  <a:srgbClr val="001965"/>
                </a:solidFill>
                <a:latin typeface="+mn-lt"/>
                <a:cs typeface="Arial" panose="020B0604020202020204" pitchFamily="34" charset="0"/>
              </a:rPr>
              <a:t>menu to reset position, size</a:t>
            </a:r>
            <a:r>
              <a:rPr lang="en-US" altLang="da-DK" sz="900" baseline="0" noProof="1">
                <a:solidFill>
                  <a:srgbClr val="001965"/>
                </a:solidFill>
                <a:latin typeface="+mn-lt"/>
                <a:cs typeface="Arial" panose="020B0604020202020204" pitchFamily="34" charset="0"/>
              </a:rPr>
              <a:t> and formatting of the </a:t>
            </a:r>
            <a:br>
              <a:rPr lang="en-US" altLang="da-DK" sz="900" baseline="0" noProof="1">
                <a:solidFill>
                  <a:srgbClr val="001965"/>
                </a:solidFill>
                <a:latin typeface="+mn-lt"/>
                <a:cs typeface="Arial" panose="020B0604020202020204" pitchFamily="34" charset="0"/>
              </a:rPr>
            </a:br>
            <a:r>
              <a:rPr lang="en-US" altLang="da-DK" sz="900" baseline="0" noProof="1">
                <a:solidFill>
                  <a:srgbClr val="001965"/>
                </a:solidFill>
                <a:latin typeface="+mn-lt"/>
                <a:cs typeface="Arial" panose="020B0604020202020204" pitchFamily="34" charset="0"/>
              </a:rPr>
              <a:t>slide placeholders to their default settings</a:t>
            </a:r>
            <a:endParaRPr lang="en-US" altLang="da-DK" sz="900" noProof="1">
              <a:solidFill>
                <a:srgbClr val="001965"/>
              </a:solidFill>
              <a:latin typeface="+mn-lt"/>
              <a:cs typeface="Arial" panose="020B0604020202020204" pitchFamily="34" charset="0"/>
            </a:endParaRPr>
          </a:p>
          <a:p>
            <a:pPr eaLnBrk="1" hangingPunct="1">
              <a:spcAft>
                <a:spcPts val="600"/>
              </a:spcAft>
              <a:defRPr/>
            </a:pPr>
            <a:endParaRPr lang="en-US" altLang="da-DK" sz="900" b="0" noProof="1">
              <a:solidFill>
                <a:srgbClr val="001965"/>
              </a:solidFill>
              <a:latin typeface="+mn-lt"/>
              <a:cs typeface="Arial" panose="020B0604020202020204" pitchFamily="34" charset="0"/>
            </a:endParaRPr>
          </a:p>
        </p:txBody>
      </p:sp>
      <p:pic>
        <p:nvPicPr>
          <p:cNvPr id="7" name="Picture 2">
            <a:extLst>
              <a:ext uri="{FF2B5EF4-FFF2-40B4-BE49-F238E27FC236}">
                <a16:creationId xmlns:a16="http://schemas.microsoft.com/office/drawing/2014/main" id="{8F7E2418-BDC7-BE7A-66D4-F96CC03BAB7A}"/>
              </a:ext>
            </a:extLst>
          </p:cNvPr>
          <p:cNvPicPr>
            <a:picLocks noChangeAspect="1"/>
          </p:cNvPicPr>
          <p:nvPr userDrawn="1"/>
        </p:nvPicPr>
        <p:blipFill>
          <a:blip r:embed="rId2"/>
          <a:stretch>
            <a:fillRect/>
          </a:stretch>
        </p:blipFill>
        <p:spPr>
          <a:xfrm>
            <a:off x="2967579" y="3143286"/>
            <a:ext cx="257143" cy="285714"/>
          </a:xfrm>
          <a:prstGeom prst="rect">
            <a:avLst/>
          </a:prstGeom>
        </p:spPr>
      </p:pic>
      <p:pic>
        <p:nvPicPr>
          <p:cNvPr id="8" name="Picture 29">
            <a:extLst>
              <a:ext uri="{FF2B5EF4-FFF2-40B4-BE49-F238E27FC236}">
                <a16:creationId xmlns:a16="http://schemas.microsoft.com/office/drawing/2014/main" id="{12752743-2485-3862-B5EC-789D88B1C9EA}"/>
              </a:ext>
            </a:extLst>
          </p:cNvPr>
          <p:cNvPicPr>
            <a:picLocks noChangeAspect="1"/>
          </p:cNvPicPr>
          <p:nvPr userDrawn="1"/>
        </p:nvPicPr>
        <p:blipFill>
          <a:blip r:embed="rId3"/>
          <a:stretch>
            <a:fillRect/>
          </a:stretch>
        </p:blipFill>
        <p:spPr>
          <a:xfrm>
            <a:off x="2968120" y="2420103"/>
            <a:ext cx="457143" cy="257143"/>
          </a:xfrm>
          <a:prstGeom prst="rect">
            <a:avLst/>
          </a:prstGeom>
        </p:spPr>
      </p:pic>
      <p:pic>
        <p:nvPicPr>
          <p:cNvPr id="9" name="Picture 33">
            <a:extLst>
              <a:ext uri="{FF2B5EF4-FFF2-40B4-BE49-F238E27FC236}">
                <a16:creationId xmlns:a16="http://schemas.microsoft.com/office/drawing/2014/main" id="{0E9AB818-AB04-348D-8000-48224FE3FB64}"/>
              </a:ext>
            </a:extLst>
          </p:cNvPr>
          <p:cNvPicPr>
            <a:picLocks noChangeAspect="1"/>
          </p:cNvPicPr>
          <p:nvPr userDrawn="1"/>
        </p:nvPicPr>
        <p:blipFill rotWithShape="1">
          <a:blip r:embed="rId4"/>
          <a:srcRect l="3901" t="45142" r="62601" b="9046"/>
          <a:stretch/>
        </p:blipFill>
        <p:spPr>
          <a:xfrm>
            <a:off x="7254412" y="2939262"/>
            <a:ext cx="341204" cy="321707"/>
          </a:xfrm>
          <a:prstGeom prst="rect">
            <a:avLst/>
          </a:prstGeom>
        </p:spPr>
      </p:pic>
      <p:pic>
        <p:nvPicPr>
          <p:cNvPr id="10" name="Picture 16">
            <a:extLst>
              <a:ext uri="{FF2B5EF4-FFF2-40B4-BE49-F238E27FC236}">
                <a16:creationId xmlns:a16="http://schemas.microsoft.com/office/drawing/2014/main" id="{92365D11-E7F8-7109-B971-EED59FB60BC3}"/>
              </a:ext>
            </a:extLst>
          </p:cNvPr>
          <p:cNvPicPr>
            <a:picLocks noChangeAspect="1"/>
          </p:cNvPicPr>
          <p:nvPr userDrawn="1"/>
        </p:nvPicPr>
        <p:blipFill>
          <a:blip r:embed="rId5"/>
          <a:stretch>
            <a:fillRect/>
          </a:stretch>
        </p:blipFill>
        <p:spPr>
          <a:xfrm>
            <a:off x="2974001" y="4133838"/>
            <a:ext cx="328881" cy="505501"/>
          </a:xfrm>
          <a:prstGeom prst="rect">
            <a:avLst/>
          </a:prstGeom>
        </p:spPr>
      </p:pic>
      <p:pic>
        <p:nvPicPr>
          <p:cNvPr id="11" name="Picture 20">
            <a:extLst>
              <a:ext uri="{FF2B5EF4-FFF2-40B4-BE49-F238E27FC236}">
                <a16:creationId xmlns:a16="http://schemas.microsoft.com/office/drawing/2014/main" id="{FB15E05D-9E3B-A123-4428-C4E65ACB7E2A}"/>
              </a:ext>
            </a:extLst>
          </p:cNvPr>
          <p:cNvPicPr>
            <a:picLocks noChangeAspect="1"/>
          </p:cNvPicPr>
          <p:nvPr userDrawn="1"/>
        </p:nvPicPr>
        <p:blipFill>
          <a:blip r:embed="rId6"/>
          <a:stretch>
            <a:fillRect/>
          </a:stretch>
        </p:blipFill>
        <p:spPr>
          <a:xfrm>
            <a:off x="2974001" y="5461991"/>
            <a:ext cx="538465" cy="172841"/>
          </a:xfrm>
          <a:prstGeom prst="rect">
            <a:avLst/>
          </a:prstGeom>
        </p:spPr>
      </p:pic>
      <p:pic>
        <p:nvPicPr>
          <p:cNvPr id="12" name="Picture 19">
            <a:extLst>
              <a:ext uri="{FF2B5EF4-FFF2-40B4-BE49-F238E27FC236}">
                <a16:creationId xmlns:a16="http://schemas.microsoft.com/office/drawing/2014/main" id="{BD89D20E-1919-3687-114A-C7E9F348C9AB}"/>
              </a:ext>
            </a:extLst>
          </p:cNvPr>
          <p:cNvPicPr>
            <a:picLocks noChangeAspect="1"/>
          </p:cNvPicPr>
          <p:nvPr userDrawn="1"/>
        </p:nvPicPr>
        <p:blipFill>
          <a:blip r:embed="rId7"/>
          <a:stretch>
            <a:fillRect/>
          </a:stretch>
        </p:blipFill>
        <p:spPr>
          <a:xfrm>
            <a:off x="7310433" y="3749002"/>
            <a:ext cx="313788" cy="543900"/>
          </a:xfrm>
          <a:prstGeom prst="rect">
            <a:avLst/>
          </a:prstGeom>
        </p:spPr>
      </p:pic>
      <p:sp>
        <p:nvSpPr>
          <p:cNvPr id="13" name="Text Box 4">
            <a:extLst>
              <a:ext uri="{FF2B5EF4-FFF2-40B4-BE49-F238E27FC236}">
                <a16:creationId xmlns:a16="http://schemas.microsoft.com/office/drawing/2014/main" id="{DAFE49F7-8BE5-96E8-15D6-5BCD09854B5B}"/>
              </a:ext>
            </a:extLst>
          </p:cNvPr>
          <p:cNvSpPr txBox="1">
            <a:spLocks noChangeArrowheads="1"/>
          </p:cNvSpPr>
          <p:nvPr userDrawn="1"/>
        </p:nvSpPr>
        <p:spPr bwMode="auto">
          <a:xfrm>
            <a:off x="8729773" y="1428452"/>
            <a:ext cx="2358243"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1965"/>
                </a:solidFill>
                <a:effectLst/>
                <a:uLnTx/>
                <a:uFillTx/>
                <a:latin typeface="Apis For Office"/>
                <a:ea typeface="+mn-ea"/>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Insert predefined slides and elements. Click the blue </a:t>
            </a:r>
            <a:r>
              <a:rPr kumimoji="0" lang="en-US" altLang="da-DK" sz="900" b="1"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Templafy </a:t>
            </a:r>
            <a:r>
              <a:rPr kumimoji="0" lang="en-US"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button and choose </a:t>
            </a:r>
            <a:r>
              <a:rPr kumimoji="0" lang="en-US" altLang="da-DK" sz="900" b="1"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Slides</a:t>
            </a:r>
            <a:r>
              <a:rPr kumimoji="0" lang="en-US"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 and </a:t>
            </a:r>
            <a:r>
              <a:rPr kumimoji="0" lang="en-US" altLang="da-DK" sz="900" b="1"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Slide elements </a:t>
            </a:r>
            <a:r>
              <a:rPr kumimoji="0" lang="en-US"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in the Templafy pane on the right side of the screen.</a:t>
            </a:r>
            <a:br>
              <a:rPr kumimoji="0" lang="en-US" altLang="da-DK" sz="1600" b="0" i="0" u="none" strike="noStrike" kern="1200" cap="none" spc="0" normalizeH="0" baseline="0" noProof="1">
                <a:ln>
                  <a:noFill/>
                </a:ln>
                <a:solidFill>
                  <a:srgbClr val="001965"/>
                </a:solidFill>
                <a:effectLst/>
                <a:uLnTx/>
                <a:uFillTx/>
                <a:latin typeface="+mn-lt"/>
                <a:ea typeface="+mn-ea"/>
                <a:cs typeface="Arial" panose="020B0604020202020204" pitchFamily="34" charset="0"/>
              </a:rPr>
            </a:br>
            <a:endParaRPr lang="en-US" sz="1600">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solidFill>
                  <a:srgbClr val="001965"/>
                </a:solidFill>
                <a:latin typeface="+mn-lt"/>
                <a:cs typeface="Arial" panose="020B0604020202020204" pitchFamily="34" charset="0"/>
              </a:rPr>
              <a:t>HEADER </a:t>
            </a:r>
            <a:r>
              <a:rPr lang="en-US" sz="1600" dirty="0">
                <a:solidFill>
                  <a:srgbClr val="001965"/>
                </a:solidFill>
                <a:latin typeface="+mn-lt"/>
                <a:cs typeface="Arial" panose="020B0604020202020204" pitchFamily="34" charset="0"/>
              </a:rPr>
              <a:t>&amp; FOOTER</a:t>
            </a:r>
          </a:p>
          <a:p>
            <a:pPr eaLnBrk="1" hangingPunct="1">
              <a:spcAft>
                <a:spcPts val="600"/>
              </a:spcAft>
              <a:defRPr/>
            </a:pPr>
            <a:r>
              <a:rPr lang="en-US" altLang="da-DK" sz="900" b="0" noProof="1">
                <a:solidFill>
                  <a:srgbClr val="001965"/>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rgbClr val="001965"/>
                </a:solidFill>
                <a:latin typeface="+mn-lt"/>
                <a:cs typeface="Arial" panose="020B0604020202020204" pitchFamily="34" charset="0"/>
              </a:rPr>
              <a:t>Click on </a:t>
            </a:r>
            <a:r>
              <a:rPr lang="en-US" altLang="da-DK" sz="900" b="1" noProof="1">
                <a:solidFill>
                  <a:srgbClr val="001965"/>
                </a:solidFill>
                <a:latin typeface="+mn-lt"/>
                <a:cs typeface="Arial" panose="020B0604020202020204" pitchFamily="34" charset="0"/>
              </a:rPr>
              <a:t>Header and Footer </a:t>
            </a:r>
            <a:r>
              <a:rPr lang="en-US" altLang="da-DK" sz="900" b="0" noProof="1">
                <a:solidFill>
                  <a:srgbClr val="001965"/>
                </a:solidFill>
                <a:latin typeface="+mn-lt"/>
                <a:cs typeface="Arial" panose="020B0604020202020204" pitchFamily="34" charset="0"/>
              </a:rPr>
              <a:t>in the </a:t>
            </a:r>
            <a:r>
              <a:rPr lang="en-US" altLang="da-DK" sz="900" b="1" noProof="1">
                <a:solidFill>
                  <a:srgbClr val="001965"/>
                </a:solidFill>
                <a:latin typeface="+mn-lt"/>
                <a:cs typeface="Arial" panose="020B0604020202020204" pitchFamily="34" charset="0"/>
              </a:rPr>
              <a:t>Insert</a:t>
            </a:r>
            <a:r>
              <a:rPr lang="en-US" altLang="da-DK" sz="900" b="0" noProof="1">
                <a:solidFill>
                  <a:srgbClr val="001965"/>
                </a:solidFill>
                <a:latin typeface="+mn-lt"/>
                <a:cs typeface="Arial" panose="020B0604020202020204" pitchFamily="34" charset="0"/>
              </a:rPr>
              <a:t> tab (write the desired text)</a:t>
            </a:r>
          </a:p>
          <a:p>
            <a:pPr eaLnBrk="1" hangingPunct="1">
              <a:spcAft>
                <a:spcPts val="600"/>
              </a:spcAft>
              <a:defRPr/>
            </a:pPr>
            <a:r>
              <a:rPr lang="en-US" altLang="da-DK" sz="900" b="0" noProof="1">
                <a:solidFill>
                  <a:srgbClr val="001965"/>
                </a:solidFill>
                <a:latin typeface="+mn-lt"/>
                <a:cs typeface="Arial" panose="020B0604020202020204" pitchFamily="34" charset="0"/>
              </a:rPr>
              <a:t>Click </a:t>
            </a:r>
            <a:r>
              <a:rPr lang="en-US" altLang="da-DK" sz="900" b="1" noProof="1">
                <a:solidFill>
                  <a:srgbClr val="001965"/>
                </a:solidFill>
                <a:latin typeface="+mn-lt"/>
                <a:cs typeface="Arial" panose="020B0604020202020204" pitchFamily="34" charset="0"/>
              </a:rPr>
              <a:t>Apply to All </a:t>
            </a:r>
            <a:r>
              <a:rPr lang="en-US" altLang="da-DK" sz="900" b="0" noProof="1">
                <a:solidFill>
                  <a:srgbClr val="001965"/>
                </a:solidFill>
                <a:latin typeface="+mn-lt"/>
                <a:cs typeface="Arial" panose="020B0604020202020204" pitchFamily="34" charset="0"/>
              </a:rPr>
              <a:t>or </a:t>
            </a:r>
            <a:r>
              <a:rPr lang="en-US" altLang="da-DK" sz="900" b="1" noProof="1">
                <a:solidFill>
                  <a:srgbClr val="001965"/>
                </a:solidFill>
                <a:latin typeface="+mn-lt"/>
                <a:cs typeface="Arial" panose="020B0604020202020204" pitchFamily="34" charset="0"/>
              </a:rPr>
              <a:t>Apply</a:t>
            </a:r>
            <a:r>
              <a:rPr lang="en-US" altLang="da-DK" sz="900" b="0" noProof="1">
                <a:solidFill>
                  <a:srgbClr val="001965"/>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solidFill>
                  <a:srgbClr val="001965"/>
                </a:solidFill>
                <a:latin typeface="+mn-lt"/>
                <a:cs typeface="Arial" panose="020B0604020202020204" pitchFamily="34" charset="0"/>
              </a:rPr>
              <a:t>GRIDLINES</a:t>
            </a:r>
            <a:endParaRPr lang="en-US" sz="1600" b="1" noProof="1">
              <a:solidFill>
                <a:srgbClr val="001965"/>
              </a:solidFill>
              <a:latin typeface="+mn-lt"/>
              <a:cs typeface="Arial" panose="020B0604020202020204" pitchFamily="34" charset="0"/>
            </a:endParaRPr>
          </a:p>
          <a:p>
            <a:pPr eaLnBrk="1" hangingPunct="1">
              <a:spcAft>
                <a:spcPts val="600"/>
              </a:spcAft>
              <a:defRPr/>
            </a:pPr>
            <a:r>
              <a:rPr lang="en-US" altLang="da-DK" sz="900" b="0" noProof="1">
                <a:solidFill>
                  <a:srgbClr val="001965"/>
                </a:solidFill>
                <a:latin typeface="+mn-lt"/>
                <a:cs typeface="Arial" panose="020B0604020202020204" pitchFamily="34" charset="0"/>
              </a:rPr>
              <a:t>Click the </a:t>
            </a:r>
            <a:r>
              <a:rPr lang="en-US" altLang="da-DK" sz="900" b="1" noProof="1">
                <a:solidFill>
                  <a:srgbClr val="001965"/>
                </a:solidFill>
                <a:latin typeface="+mn-lt"/>
                <a:cs typeface="Arial" panose="020B0604020202020204" pitchFamily="34" charset="0"/>
              </a:rPr>
              <a:t>View</a:t>
            </a:r>
            <a:r>
              <a:rPr lang="en-US" altLang="da-DK" sz="900" b="0" noProof="1">
                <a:solidFill>
                  <a:srgbClr val="001965"/>
                </a:solidFill>
                <a:latin typeface="+mn-lt"/>
                <a:cs typeface="Arial" panose="020B0604020202020204" pitchFamily="34" charset="0"/>
              </a:rPr>
              <a:t> tab and set tick mark next to </a:t>
            </a:r>
            <a:r>
              <a:rPr lang="en-US" altLang="da-DK" sz="900" b="1" noProof="1">
                <a:solidFill>
                  <a:srgbClr val="001965"/>
                </a:solidFill>
                <a:latin typeface="+mn-lt"/>
                <a:cs typeface="Arial" panose="020B0604020202020204" pitchFamily="34" charset="0"/>
              </a:rPr>
              <a:t>Guides</a:t>
            </a:r>
            <a:endParaRPr lang="en-US" altLang="da-DK" sz="900" b="0" noProof="1">
              <a:solidFill>
                <a:srgbClr val="001965"/>
              </a:solidFill>
              <a:latin typeface="+mn-lt"/>
              <a:cs typeface="Arial" panose="020B0604020202020204" pitchFamily="34" charset="0"/>
            </a:endParaRPr>
          </a:p>
          <a:p>
            <a:pPr eaLnBrk="1" hangingPunct="1">
              <a:spcAft>
                <a:spcPts val="600"/>
              </a:spcAft>
              <a:defRPr/>
            </a:pPr>
            <a:r>
              <a:rPr lang="en-US" altLang="da-DK" sz="900" b="1" noProof="1">
                <a:solidFill>
                  <a:srgbClr val="001965"/>
                </a:solidFill>
                <a:latin typeface="+mn-lt"/>
                <a:cs typeface="Arial" panose="020B0604020202020204" pitchFamily="34" charset="0"/>
              </a:rPr>
              <a:t>HINT: Alt + F9 </a:t>
            </a:r>
            <a:r>
              <a:rPr lang="en-US" altLang="da-DK" sz="900" b="0" noProof="1">
                <a:solidFill>
                  <a:srgbClr val="001965"/>
                </a:solidFill>
                <a:latin typeface="+mn-lt"/>
                <a:cs typeface="Arial" panose="020B0604020202020204" pitchFamily="34" charset="0"/>
              </a:rPr>
              <a:t>for quick view of guides</a:t>
            </a:r>
          </a:p>
          <a:p>
            <a:pPr eaLnBrk="1" hangingPunct="1">
              <a:spcAft>
                <a:spcPts val="600"/>
              </a:spcAft>
              <a:defRPr/>
            </a:pPr>
            <a:endParaRPr lang="en-US" altLang="da-DK" sz="900" b="0" noProof="1">
              <a:solidFill>
                <a:srgbClr val="001965"/>
              </a:solidFill>
              <a:latin typeface="+mn-lt"/>
              <a:cs typeface="Arial" panose="020B0604020202020204" pitchFamily="34" charset="0"/>
            </a:endParaRPr>
          </a:p>
        </p:txBody>
      </p:sp>
      <p:sp>
        <p:nvSpPr>
          <p:cNvPr id="14" name="Fast overskrift">
            <a:extLst>
              <a:ext uri="{FF2B5EF4-FFF2-40B4-BE49-F238E27FC236}">
                <a16:creationId xmlns:a16="http://schemas.microsoft.com/office/drawing/2014/main" id="{8E33FDE5-8E17-7F8D-BC99-486DA774F52E}"/>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US" sz="3200" b="0" noProof="1">
                <a:solidFill>
                  <a:srgbClr val="001965"/>
                </a:solidFill>
                <a:latin typeface="+mj-lt"/>
                <a:cs typeface="Arial" panose="020B0604020202020204" pitchFamily="34" charset="0"/>
              </a:rPr>
              <a:t>TIPS &amp; TRICKS - YOUR USER GUIDE</a:t>
            </a:r>
          </a:p>
        </p:txBody>
      </p:sp>
      <p:pic>
        <p:nvPicPr>
          <p:cNvPr id="15" name="Picture 14">
            <a:extLst>
              <a:ext uri="{FF2B5EF4-FFF2-40B4-BE49-F238E27FC236}">
                <a16:creationId xmlns:a16="http://schemas.microsoft.com/office/drawing/2014/main" id="{53892759-C4B6-4BDD-8735-886F2E05EE19}"/>
              </a:ext>
            </a:extLst>
          </p:cNvPr>
          <p:cNvPicPr>
            <a:picLocks noChangeAspect="1"/>
          </p:cNvPicPr>
          <p:nvPr userDrawn="1"/>
        </p:nvPicPr>
        <p:blipFill>
          <a:blip r:embed="rId8"/>
          <a:stretch>
            <a:fillRect/>
          </a:stretch>
        </p:blipFill>
        <p:spPr>
          <a:xfrm>
            <a:off x="2974000" y="4897450"/>
            <a:ext cx="475428" cy="176762"/>
          </a:xfrm>
          <a:prstGeom prst="rect">
            <a:avLst/>
          </a:prstGeom>
        </p:spPr>
      </p:pic>
      <p:pic>
        <p:nvPicPr>
          <p:cNvPr id="16" name="Picture 15">
            <a:extLst>
              <a:ext uri="{FF2B5EF4-FFF2-40B4-BE49-F238E27FC236}">
                <a16:creationId xmlns:a16="http://schemas.microsoft.com/office/drawing/2014/main" id="{A1740165-4EB8-F65C-8E17-DF7AB9E572E5}"/>
              </a:ext>
            </a:extLst>
          </p:cNvPr>
          <p:cNvPicPr>
            <a:picLocks noChangeAspect="1"/>
          </p:cNvPicPr>
          <p:nvPr userDrawn="1"/>
        </p:nvPicPr>
        <p:blipFill>
          <a:blip r:embed="rId9"/>
          <a:srcRect r="6029" b="2593"/>
          <a:stretch/>
        </p:blipFill>
        <p:spPr>
          <a:xfrm>
            <a:off x="7183300" y="1664025"/>
            <a:ext cx="1046300" cy="519148"/>
          </a:xfrm>
          <a:prstGeom prst="rect">
            <a:avLst/>
          </a:prstGeom>
        </p:spPr>
      </p:pic>
      <p:pic>
        <p:nvPicPr>
          <p:cNvPr id="17" name="Picture 16">
            <a:extLst>
              <a:ext uri="{FF2B5EF4-FFF2-40B4-BE49-F238E27FC236}">
                <a16:creationId xmlns:a16="http://schemas.microsoft.com/office/drawing/2014/main" id="{83B219DD-4D39-78A1-267E-BE359226E017}"/>
              </a:ext>
            </a:extLst>
          </p:cNvPr>
          <p:cNvPicPr>
            <a:picLocks noChangeAspect="1"/>
          </p:cNvPicPr>
          <p:nvPr userDrawn="1"/>
        </p:nvPicPr>
        <p:blipFill>
          <a:blip r:embed="rId9"/>
          <a:srcRect r="69458" b="2593"/>
          <a:stretch/>
        </p:blipFill>
        <p:spPr>
          <a:xfrm>
            <a:off x="7183300" y="5730260"/>
            <a:ext cx="340068" cy="519148"/>
          </a:xfrm>
          <a:prstGeom prst="rect">
            <a:avLst/>
          </a:prstGeom>
        </p:spPr>
      </p:pic>
      <p:pic>
        <p:nvPicPr>
          <p:cNvPr id="18" name="Picture 17">
            <a:extLst>
              <a:ext uri="{FF2B5EF4-FFF2-40B4-BE49-F238E27FC236}">
                <a16:creationId xmlns:a16="http://schemas.microsoft.com/office/drawing/2014/main" id="{64B48F98-737E-2B07-5676-868E5F9E8A46}"/>
              </a:ext>
            </a:extLst>
          </p:cNvPr>
          <p:cNvPicPr>
            <a:picLocks noChangeAspect="1"/>
          </p:cNvPicPr>
          <p:nvPr userDrawn="1"/>
        </p:nvPicPr>
        <p:blipFill>
          <a:blip r:embed="rId9"/>
          <a:srcRect r="69458" b="2593"/>
          <a:stretch/>
        </p:blipFill>
        <p:spPr>
          <a:xfrm>
            <a:off x="11021150" y="1980243"/>
            <a:ext cx="340068" cy="519148"/>
          </a:xfrm>
          <a:prstGeom prst="rect">
            <a:avLst/>
          </a:prstGeom>
        </p:spPr>
      </p:pic>
      <p:sp>
        <p:nvSpPr>
          <p:cNvPr id="19" name="Text Box 4">
            <a:extLst>
              <a:ext uri="{FF2B5EF4-FFF2-40B4-BE49-F238E27FC236}">
                <a16:creationId xmlns:a16="http://schemas.microsoft.com/office/drawing/2014/main" id="{53B1BADF-59C2-569F-DD8D-299311735FE8}"/>
              </a:ext>
            </a:extLst>
          </p:cNvPr>
          <p:cNvSpPr txBox="1">
            <a:spLocks noChangeArrowheads="1"/>
          </p:cNvSpPr>
          <p:nvPr userDrawn="1"/>
        </p:nvSpPr>
        <p:spPr bwMode="auto">
          <a:xfrm>
            <a:off x="4464659" y="5461991"/>
            <a:ext cx="2358243"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1965"/>
                </a:solidFill>
                <a:effectLst/>
                <a:uLnTx/>
                <a:uFillTx/>
                <a:latin typeface="Apis For Office"/>
                <a:ea typeface="+mn-ea"/>
                <a:cs typeface="Arial" panose="020B0604020202020204" pitchFamily="34" charset="0"/>
              </a:rPr>
              <a:t>TEMPLAT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rgbClr val="001965"/>
                </a:solidFill>
                <a:latin typeface="+mn-lt"/>
                <a:cs typeface="Arial" panose="020B0604020202020204" pitchFamily="34" charset="0"/>
              </a:rPr>
              <a:t>Click the blue </a:t>
            </a:r>
            <a:r>
              <a:rPr lang="en-US" altLang="da-DK" sz="900" b="1" baseline="0" noProof="1">
                <a:solidFill>
                  <a:srgbClr val="001965"/>
                </a:solidFill>
                <a:latin typeface="+mn-lt"/>
                <a:cs typeface="Arial" panose="020B0604020202020204" pitchFamily="34" charset="0"/>
              </a:rPr>
              <a:t>Templafy </a:t>
            </a:r>
            <a:r>
              <a:rPr lang="en-US" altLang="da-DK" sz="900" b="0" baseline="0" noProof="1">
                <a:solidFill>
                  <a:srgbClr val="001965"/>
                </a:solidFill>
                <a:latin typeface="+mn-lt"/>
                <a:cs typeface="Arial" panose="020B0604020202020204" pitchFamily="34" charset="0"/>
              </a:rPr>
              <a:t>button and click on ‘Find template’ in the bottom of the Templafy pane on the right side of the screen</a:t>
            </a:r>
            <a:r>
              <a:rPr kumimoji="0" lang="en-US"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a:t>
            </a:r>
            <a:endParaRPr lang="en-US" altLang="da-DK" sz="900" b="1" noProof="1">
              <a:solidFill>
                <a:srgbClr val="001965"/>
              </a:solidFill>
              <a:latin typeface="+mn-lt"/>
              <a:cs typeface="Arial" panose="020B0604020202020204" pitchFamily="34" charset="0"/>
            </a:endParaRPr>
          </a:p>
        </p:txBody>
      </p:sp>
    </p:spTree>
    <p:extLst>
      <p:ext uri="{BB962C8B-B14F-4D97-AF65-F5344CB8AC3E}">
        <p14:creationId xmlns:p14="http://schemas.microsoft.com/office/powerpoint/2010/main" val="321768143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bg1"/>
                </a:solidFill>
              </a:rPr>
              <a:t>If you see any </a:t>
            </a:r>
            <a:r>
              <a:rPr lang="en-US" sz="4400" b="1" i="1" noProof="0" dirty="0">
                <a:solidFill>
                  <a:schemeClr val="bg1"/>
                </a:solidFill>
              </a:rPr>
              <a:t>layouts after this </a:t>
            </a:r>
            <a:r>
              <a:rPr lang="en-US" sz="4400" b="0" i="0" noProof="0" dirty="0">
                <a:solidFill>
                  <a:schemeClr val="bg1"/>
                </a:solidFill>
              </a:rPr>
              <a:t>one</a:t>
            </a:r>
            <a:r>
              <a:rPr lang="en-US" sz="4400" b="1" i="1" noProof="0" dirty="0">
                <a:solidFill>
                  <a:schemeClr val="bg1"/>
                </a:solidFill>
              </a:rPr>
              <a:t>,</a:t>
            </a:r>
            <a:br>
              <a:rPr lang="en-US" sz="4400" b="0" i="0" noProof="0" dirty="0">
                <a:solidFill>
                  <a:schemeClr val="bg1"/>
                </a:solidFill>
              </a:rPr>
            </a:br>
            <a:r>
              <a:rPr lang="en-US" sz="4400" b="0" noProof="0" dirty="0">
                <a:solidFill>
                  <a:schemeClr val="bg1"/>
                </a:solidFill>
              </a:rPr>
              <a:t>do not use them. These layouts </a:t>
            </a:r>
            <a:r>
              <a:rPr lang="en-US" sz="4400" b="1" i="1" u="none" noProof="0" dirty="0">
                <a:solidFill>
                  <a:schemeClr val="bg1"/>
                </a:solidFill>
              </a:rPr>
              <a:t>are not </a:t>
            </a:r>
            <a:r>
              <a:rPr lang="en-US" sz="4400" b="0" noProof="0" dirty="0">
                <a:solidFill>
                  <a:schemeClr val="bg1"/>
                </a:solidFill>
              </a:rPr>
              <a:t>part of our corporate template.</a:t>
            </a:r>
            <a:br>
              <a:rPr lang="en-US" sz="2800" b="0" noProof="0" dirty="0">
                <a:solidFill>
                  <a:schemeClr val="bg1"/>
                </a:solidFill>
              </a:rPr>
            </a:br>
            <a:br>
              <a:rPr lang="en-US" sz="2800" b="0" noProof="0" dirty="0">
                <a:solidFill>
                  <a:schemeClr val="bg1"/>
                </a:solidFill>
              </a:rPr>
            </a:br>
            <a:endParaRPr lang="en-US"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US" sz="13800" b="1" i="1" noProof="0" dirty="0">
                <a:solidFill>
                  <a:schemeClr val="bg1"/>
                </a:solidFill>
              </a:rPr>
              <a:t>Do not use </a:t>
            </a:r>
            <a:endParaRPr lang="en-US"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Also notice: Layouts after this might contain potential confidential information.</a:t>
            </a:r>
            <a:br>
              <a:rPr lang="en-US" sz="1800" b="0" noProof="0" dirty="0">
                <a:solidFill>
                  <a:schemeClr val="bg1"/>
                </a:solidFill>
              </a:rPr>
            </a:br>
            <a:endParaRPr lang="en-US"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US"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US"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0137821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userDrawn="1">
  <p:cSld name="1_C. Cover">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US"/>
          </a:p>
        </p:txBody>
      </p:sp>
      <p:sp>
        <p:nvSpPr>
          <p:cNvPr id="3" name="dynamic logo"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 name="dynamic year 100" descr="{&quot;templafy&quot;:{&quot;type&quot;:&quot;image&quot;,&quot;inheritDimensions&quot;:&quot;inheritNone&quot;,&quot;width&quot;:&quot;7.67 cm&quot;,&quot;binding&quot;:&quot;Form.PLogoChoice.PLogoYear&quot;}}" title="Form.PLogoChoice.PLogoInsertion">
            <a:extLst>
              <a:ext uri="{FF2B5EF4-FFF2-40B4-BE49-F238E27FC236}">
                <a16:creationId xmlns:a16="http://schemas.microsoft.com/office/drawing/2014/main" id="{1E4501D4-80DD-6712-25F4-A6D515CAB8F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Tree>
    <p:extLst>
      <p:ext uri="{BB962C8B-B14F-4D97-AF65-F5344CB8AC3E}">
        <p14:creationId xmlns:p14="http://schemas.microsoft.com/office/powerpoint/2010/main" val="82898804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1296000"/>
          </a:xfrm>
        </p:spPr>
        <p:txBody>
          <a:bodyPr/>
          <a:lstStyle>
            <a:lvl1pPr>
              <a:defRPr sz="3400"/>
            </a:lvl1pPr>
          </a:lstStyle>
          <a:p>
            <a:r>
              <a:rPr lang="en-US" noProof="0"/>
              <a:t>Click to add title</a:t>
            </a:r>
            <a:endParaRPr lang="en-US"/>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892712" y="323850"/>
            <a:ext cx="4162138" cy="126000"/>
          </a:xfrm>
        </p:spPr>
        <p:txBody>
          <a:bodyPr/>
          <a:lstStyle/>
          <a:p>
            <a:endParaRPr lang="en-US"/>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210000"/>
            <a:ext cx="9821461" cy="324000"/>
          </a:xfrm>
        </p:spPr>
        <p:txBody>
          <a:bodyPr anchor="b"/>
          <a:lstStyle>
            <a:lvl1pPr marL="0" indent="0">
              <a:spcBef>
                <a:spcPts val="0"/>
              </a:spcBef>
              <a:spcAft>
                <a:spcPts val="0"/>
              </a:spcAft>
              <a:buNone/>
              <a:defRPr sz="700" i="1">
                <a:solidFill>
                  <a:schemeClr val="tx2"/>
                </a:solidFill>
              </a:defRPr>
            </a:lvl1pPr>
          </a:lstStyle>
          <a:p>
            <a:pPr lvl="0"/>
            <a:r>
              <a:rPr lang="en-US"/>
              <a:t>Insert notes</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648000" y="323850"/>
            <a:ext cx="164025" cy="125850"/>
          </a:xfrm>
        </p:spPr>
        <p:txBody>
          <a:bodyPr/>
          <a:lstStyle>
            <a:lvl1pPr algn="l">
              <a:defRPr>
                <a:solidFill>
                  <a:schemeClr val="tx2"/>
                </a:solid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367477195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8"/>
            <a:ext cx="11347200" cy="521883"/>
          </a:xfrm>
        </p:spPr>
        <p:txBody>
          <a:bodyPr/>
          <a:lstStyle>
            <a:lvl1pPr>
              <a:defRPr sz="3200"/>
            </a:lvl1pPr>
          </a:lstStyle>
          <a:p>
            <a:r>
              <a:rPr lang="en-US" noProof="0"/>
              <a:t>Click to edit Master title style</a:t>
            </a:r>
            <a:endParaRPr lang="en-GB" noProof="0" dirty="0"/>
          </a:p>
        </p:txBody>
      </p:sp>
    </p:spTree>
    <p:extLst>
      <p:ext uri="{BB962C8B-B14F-4D97-AF65-F5344CB8AC3E}">
        <p14:creationId xmlns:p14="http://schemas.microsoft.com/office/powerpoint/2010/main" val="379317605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08AA6BE-C031-46DF-91AD-ACBD1C94D749}" type="datetimeFigureOut">
              <a:rPr lang="en-US" smtClean="0"/>
              <a:pPr/>
              <a:t>4/1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949D-EB89-4B16-9822-620BE1538A3C}" type="slidenum">
              <a:rPr lang="en-US" smtClean="0"/>
              <a:pPr/>
              <a:t>‹#›</a:t>
            </a:fld>
            <a:endParaRPr lang="en-US"/>
          </a:p>
        </p:txBody>
      </p:sp>
      <p:sp>
        <p:nvSpPr>
          <p:cNvPr id="7" name="Title 6"/>
          <p:cNvSpPr>
            <a:spLocks noGrp="1"/>
          </p:cNvSpPr>
          <p:nvPr>
            <p:ph type="title"/>
          </p:nvPr>
        </p:nvSpPr>
        <p:spPr/>
        <p:txBody>
          <a:bodyPr rtlCol="0"/>
          <a:lstStyle/>
          <a:p>
            <a:r>
              <a:rPr kumimoji="0" lang="en-US"/>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
        <p:nvSpPr>
          <p:cNvPr id="2" name="Title 1"/>
          <p:cNvSpPr>
            <a:spLocks noGrp="1"/>
          </p:cNvSpPr>
          <p:nvPr>
            <p:ph type="ctrTitle" hasCustomPrompt="1"/>
          </p:nvPr>
        </p:nvSpPr>
        <p:spPr>
          <a:xfrm>
            <a:off x="648002" y="648000"/>
            <a:ext cx="8652001" cy="5562000"/>
          </a:xfrm>
        </p:spPr>
        <p:txBody>
          <a:bodyPr anchor="ctr"/>
          <a:lstStyle>
            <a:lvl1pPr algn="l">
              <a:defRPr sz="3300" b="1">
                <a:solidFill>
                  <a:schemeClr val="bg1"/>
                </a:solidFill>
              </a:defRPr>
            </a:lvl1pPr>
          </a:lstStyle>
          <a:p>
            <a:r>
              <a:rPr lang="en-GB" noProof="0"/>
              <a:t>Click to add title</a:t>
            </a:r>
            <a:endParaRPr lang="en-GB"/>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8C5F5319-D51F-4DBA-A0E1-97AB58098185}" type="datetime3">
              <a:rPr lang="en-US" smtClean="0"/>
              <a:t>17 April 2026</a:t>
            </a:fld>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88" i="1">
                <a:solidFill>
                  <a:schemeClr val="bg1"/>
                </a:solidFill>
              </a:defRPr>
            </a:lvl1pPr>
          </a:lstStyle>
          <a:p>
            <a:pPr lvl="0"/>
            <a:r>
              <a:rPr lang="en-GB"/>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22"/>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013"/>
          </a:p>
        </p:txBody>
      </p:sp>
      <p:sp>
        <p:nvSpPr>
          <p:cNvPr id="6" name="Tagline" descr="{&quot;templafy&quot;:{&quot;id&quot;:&quot;8b7bd7f1-2abb-4aba-8fa3-6bed6534d10c&quot;}}" title="Form.PLogoChoice.PLogoInsertionWhite">
            <a:extLst>
              <a:ext uri="{FF2B5EF4-FFF2-40B4-BE49-F238E27FC236}">
                <a16:creationId xmlns:a16="http://schemas.microsoft.com/office/drawing/2014/main" id="{D9E9F619-DDA7-4396-BEF5-E42E21A0A600}"/>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344904905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80969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8" y="6210000"/>
            <a:ext cx="10895999" cy="324000"/>
          </a:xfrm>
        </p:spPr>
        <p:txBody>
          <a:bodyPr anchor="b"/>
          <a:lstStyle>
            <a:lvl1pPr marL="0" indent="0">
              <a:buNone/>
              <a:defRPr sz="700" i="1">
                <a:solidFill>
                  <a:schemeClr val="tx2"/>
                </a:solidFill>
              </a:defRPr>
            </a:lvl1pPr>
          </a:lstStyle>
          <a:p>
            <a:pPr lvl="0"/>
            <a:r>
              <a:rPr lang="en-GB"/>
              <a:t>Insert notes</a:t>
            </a:r>
          </a:p>
        </p:txBody>
      </p:sp>
    </p:spTree>
    <p:extLst>
      <p:ext uri="{BB962C8B-B14F-4D97-AF65-F5344CB8AC3E}">
        <p14:creationId xmlns:p14="http://schemas.microsoft.com/office/powerpoint/2010/main" val="424656488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8" y="6210000"/>
            <a:ext cx="10896301" cy="324000"/>
          </a:xfrm>
        </p:spPr>
        <p:txBody>
          <a:bodyPr anchor="b"/>
          <a:lstStyle>
            <a:lvl1pPr marL="0" indent="0">
              <a:buNone/>
              <a:defRPr sz="700" i="1">
                <a:solidFill>
                  <a:schemeClr val="tx2"/>
                </a:solidFill>
              </a:defRPr>
            </a:lvl1pPr>
          </a:lstStyle>
          <a:p>
            <a:pPr lvl="0"/>
            <a:r>
              <a:rPr lang="en-GB"/>
              <a:t>Insert notes</a:t>
            </a:r>
          </a:p>
        </p:txBody>
      </p:sp>
    </p:spTree>
    <p:extLst>
      <p:ext uri="{BB962C8B-B14F-4D97-AF65-F5344CB8AC3E}">
        <p14:creationId xmlns:p14="http://schemas.microsoft.com/office/powerpoint/2010/main" val="364801653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849" y="6210000"/>
            <a:ext cx="10896301" cy="324000"/>
          </a:xfrm>
        </p:spPr>
        <p:txBody>
          <a:bodyPr anchor="b"/>
          <a:lstStyle>
            <a:lvl1pPr marL="0" indent="0">
              <a:buNone/>
              <a:defRPr sz="700" i="1">
                <a:solidFill>
                  <a:schemeClr val="tx2"/>
                </a:solidFill>
              </a:defRPr>
            </a:lvl1pPr>
          </a:lstStyle>
          <a:p>
            <a:pPr lvl="0"/>
            <a:r>
              <a:rPr lang="en-GB"/>
              <a:t>Insert notes</a:t>
            </a:r>
          </a:p>
        </p:txBody>
      </p:sp>
    </p:spTree>
    <p:extLst>
      <p:ext uri="{BB962C8B-B14F-4D97-AF65-F5344CB8AC3E}">
        <p14:creationId xmlns:p14="http://schemas.microsoft.com/office/powerpoint/2010/main" val="410503884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10896000" cy="324000"/>
          </a:xfrm>
        </p:spPr>
        <p:txBody>
          <a:bodyPr anchor="b"/>
          <a:lstStyle>
            <a:lvl1pPr marL="0" indent="0">
              <a:buNone/>
              <a:defRPr sz="700" i="1">
                <a:solidFill>
                  <a:schemeClr val="tx2"/>
                </a:solidFill>
              </a:defRPr>
            </a:lvl1pPr>
          </a:lstStyle>
          <a:p>
            <a:pPr lvl="0"/>
            <a:r>
              <a:rPr lang="en-GB"/>
              <a:t>Insert notes</a:t>
            </a:r>
          </a:p>
        </p:txBody>
      </p:sp>
    </p:spTree>
    <p:extLst>
      <p:ext uri="{BB962C8B-B14F-4D97-AF65-F5344CB8AC3E}">
        <p14:creationId xmlns:p14="http://schemas.microsoft.com/office/powerpoint/2010/main" val="89278356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10896001" cy="324000"/>
          </a:xfrm>
        </p:spPr>
        <p:txBody>
          <a:bodyPr anchor="b"/>
          <a:lstStyle>
            <a:lvl1pPr marL="0" indent="0">
              <a:buNone/>
              <a:defRPr sz="700" i="1">
                <a:solidFill>
                  <a:schemeClr val="tx2"/>
                </a:solidFill>
              </a:defRPr>
            </a:lvl1pPr>
          </a:lstStyle>
          <a:p>
            <a:pPr lvl="0"/>
            <a:r>
              <a:rPr lang="en-GB"/>
              <a:t>Insert notes</a:t>
            </a:r>
          </a:p>
        </p:txBody>
      </p:sp>
    </p:spTree>
    <p:extLst>
      <p:ext uri="{BB962C8B-B14F-4D97-AF65-F5344CB8AC3E}">
        <p14:creationId xmlns:p14="http://schemas.microsoft.com/office/powerpoint/2010/main" val="8980263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210000"/>
            <a:ext cx="10896301" cy="324000"/>
          </a:xfrm>
        </p:spPr>
        <p:txBody>
          <a:bodyPr anchor="b"/>
          <a:lstStyle>
            <a:lvl1pPr marL="0" indent="0">
              <a:spcBef>
                <a:spcPts val="0"/>
              </a:spcBef>
              <a:spcAft>
                <a:spcPts val="0"/>
              </a:spcAft>
              <a:buNone/>
              <a:defRPr sz="700" i="1">
                <a:solidFill>
                  <a:schemeClr val="tx2"/>
                </a:solidFill>
              </a:defRPr>
            </a:lvl1pPr>
          </a:lstStyle>
          <a:p>
            <a:pPr lvl="0"/>
            <a:r>
              <a:rPr lang="en-GB"/>
              <a:t>Insert notes</a:t>
            </a:r>
          </a:p>
        </p:txBody>
      </p:sp>
    </p:spTree>
    <p:extLst>
      <p:ext uri="{BB962C8B-B14F-4D97-AF65-F5344CB8AC3E}">
        <p14:creationId xmlns:p14="http://schemas.microsoft.com/office/powerpoint/2010/main" val="266689358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 sema ">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28C228D-9BA9-562B-E0DB-6FE3B3256543}"/>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 name="Tagline" descr="{&quot;templafy&quot;:{&quot;id&quot;:&quot;237cc8ce-a8bb-493a-8167-0dbb0fdc5d51&quot;}}" title="Form.PLogoChoice.PLogoInsertion">
            <a:extLst>
              <a:ext uri="{FF2B5EF4-FFF2-40B4-BE49-F238E27FC236}">
                <a16:creationId xmlns:a16="http://schemas.microsoft.com/office/drawing/2014/main" id="{8AE78219-5CBB-4760-B800-636AFE0A99A8}"/>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latin typeface="Apis For Office" panose="020B0504010101010104" pitchFamily="34" charset="0"/>
            </a:endParaRPr>
          </a:p>
        </p:txBody>
      </p:sp>
      <p:sp>
        <p:nvSpPr>
          <p:cNvPr id="9" name="Text Placeholder 8">
            <a:extLst>
              <a:ext uri="{FF2B5EF4-FFF2-40B4-BE49-F238E27FC236}">
                <a16:creationId xmlns:a16="http://schemas.microsoft.com/office/drawing/2014/main" id="{2EA2B237-553D-4D16-B830-94B4CC58C931}"/>
              </a:ext>
            </a:extLst>
          </p:cNvPr>
          <p:cNvSpPr>
            <a:spLocks noGrp="1"/>
          </p:cNvSpPr>
          <p:nvPr userDrawn="1">
            <p:ph type="body" sz="quarter" idx="18"/>
          </p:nvPr>
        </p:nvSpPr>
        <p:spPr>
          <a:xfrm>
            <a:off x="647700" y="4255540"/>
            <a:ext cx="8652933" cy="690033"/>
          </a:xfrm>
        </p:spPr>
        <p:txBody>
          <a:bodyPr/>
          <a:lstStyle>
            <a:lvl1pPr marL="0" indent="0">
              <a:buNone/>
              <a:defRPr sz="1600">
                <a:solidFill>
                  <a:schemeClr val="accent3">
                    <a:lumMod val="40000"/>
                    <a:lumOff val="60000"/>
                  </a:schemeClr>
                </a:solidFill>
              </a:defRPr>
            </a:lvl1pPr>
            <a:lvl2pPr marL="269993" indent="0">
              <a:buNone/>
              <a:defRPr/>
            </a:lvl2pPr>
          </a:lstStyle>
          <a:p>
            <a:pPr lvl="0"/>
            <a:r>
              <a:rPr lang="en-US"/>
              <a:t>Click to edit Master text styles</a:t>
            </a:r>
          </a:p>
        </p:txBody>
      </p:sp>
      <p:sp>
        <p:nvSpPr>
          <p:cNvPr id="2" name="Title 1"/>
          <p:cNvSpPr>
            <a:spLocks noGrp="1"/>
          </p:cNvSpPr>
          <p:nvPr userDrawn="1">
            <p:ph type="ctrTitle" hasCustomPrompt="1"/>
          </p:nvPr>
        </p:nvSpPr>
        <p:spPr>
          <a:xfrm>
            <a:off x="648001" y="1244024"/>
            <a:ext cx="8652001" cy="1871629"/>
          </a:xfrm>
        </p:spPr>
        <p:txBody>
          <a:bodyPr tIns="91440" bIns="91440" anchor="b" anchorCtr="0"/>
          <a:lstStyle>
            <a:lvl1pPr algn="l">
              <a:lnSpc>
                <a:spcPct val="100000"/>
              </a:lnSpc>
              <a:defRPr sz="4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E6F71D66-8A8E-4C10-A476-314785641A0A}"/>
              </a:ext>
            </a:extLst>
          </p:cNvPr>
          <p:cNvSpPr>
            <a:spLocks noGrp="1"/>
          </p:cNvSpPr>
          <p:nvPr userDrawn="1">
            <p:ph type="body" sz="quarter" idx="17"/>
          </p:nvPr>
        </p:nvSpPr>
        <p:spPr>
          <a:xfrm>
            <a:off x="647701" y="3222444"/>
            <a:ext cx="8652001" cy="940659"/>
          </a:xfrm>
        </p:spPr>
        <p:txBody>
          <a:bodyPr/>
          <a:lstStyle>
            <a:lvl1pPr marL="0" indent="0">
              <a:buNone/>
              <a:defRPr>
                <a:solidFill>
                  <a:schemeClr val="accent5">
                    <a:lumMod val="40000"/>
                    <a:lumOff val="60000"/>
                  </a:schemeClr>
                </a:solidFill>
              </a:defRPr>
            </a:lvl1pPr>
            <a:lvl2pPr marL="269993" indent="0">
              <a:buNone/>
              <a:defRPr/>
            </a:lvl2pPr>
          </a:lstStyle>
          <a:p>
            <a:pPr lvl="0"/>
            <a:r>
              <a:rPr lang="en-US"/>
              <a:t>Click to edit Master text styles</a:t>
            </a:r>
          </a:p>
        </p:txBody>
      </p:sp>
      <p:pic>
        <p:nvPicPr>
          <p:cNvPr id="6" name="Picture 5" descr="A black and white background with hexagons&#10;&#10;Description automatically generated">
            <a:extLst>
              <a:ext uri="{FF2B5EF4-FFF2-40B4-BE49-F238E27FC236}">
                <a16:creationId xmlns:a16="http://schemas.microsoft.com/office/drawing/2014/main" id="{9A775537-FB75-6B1D-1B30-7D647712180E}"/>
              </a:ext>
            </a:extLst>
          </p:cNvPr>
          <p:cNvPicPr>
            <a:picLocks noChangeAspect="1"/>
          </p:cNvPicPr>
          <p:nvPr userDrawn="1"/>
        </p:nvPicPr>
        <p:blipFill>
          <a:blip r:embed="rId2" cstate="print">
            <a:alphaModFix amt="80000"/>
            <a:extLst>
              <a:ext uri="{28A0092B-C50C-407E-A947-70E740481C1C}">
                <a14:useLocalDpi xmlns:a14="http://schemas.microsoft.com/office/drawing/2010/main" val="0"/>
              </a:ext>
            </a:extLst>
          </a:blip>
          <a:stretch>
            <a:fillRect/>
          </a:stretch>
        </p:blipFill>
        <p:spPr>
          <a:xfrm rot="10800000">
            <a:off x="4727179" y="3130007"/>
            <a:ext cx="8571260" cy="4283816"/>
          </a:xfrm>
          <a:prstGeom prst="rect">
            <a:avLst/>
          </a:prstGeom>
        </p:spPr>
      </p:pic>
      <p:pic>
        <p:nvPicPr>
          <p:cNvPr id="16" name="Picture 15" descr="A black and white background with hexagons&#10;&#10;Description automatically generated">
            <a:extLst>
              <a:ext uri="{FF2B5EF4-FFF2-40B4-BE49-F238E27FC236}">
                <a16:creationId xmlns:a16="http://schemas.microsoft.com/office/drawing/2014/main" id="{C57F7C60-43C7-CFFB-606B-4243EDD30EB3}"/>
              </a:ext>
            </a:extLst>
          </p:cNvPr>
          <p:cNvPicPr>
            <a:picLocks noChangeAspect="1"/>
          </p:cNvPicPr>
          <p:nvPr userDrawn="1"/>
        </p:nvPicPr>
        <p:blipFill>
          <a:blip r:embed="rId3" cstate="print">
            <a:alphaModFix amt="50000"/>
            <a:extLst>
              <a:ext uri="{28A0092B-C50C-407E-A947-70E740481C1C}">
                <a14:useLocalDpi xmlns:a14="http://schemas.microsoft.com/office/drawing/2010/main" val="0"/>
              </a:ext>
            </a:extLst>
          </a:blip>
          <a:stretch>
            <a:fillRect/>
          </a:stretch>
        </p:blipFill>
        <p:spPr>
          <a:xfrm>
            <a:off x="-781731" y="-376099"/>
            <a:ext cx="4208688" cy="2103453"/>
          </a:xfrm>
          <a:prstGeom prst="rect">
            <a:avLst/>
          </a:prstGeom>
        </p:spPr>
      </p:pic>
    </p:spTree>
    <p:extLst>
      <p:ext uri="{BB962C8B-B14F-4D97-AF65-F5344CB8AC3E}">
        <p14:creationId xmlns:p14="http://schemas.microsoft.com/office/powerpoint/2010/main" val="245523655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A. Content_fixed1">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8000" y="6210000"/>
            <a:ext cx="10899337" cy="324000"/>
          </a:xfrm>
        </p:spPr>
        <p:txBody>
          <a:bodyPr anchor="b"/>
          <a:lstStyle>
            <a:lvl1pPr marL="0" indent="0">
              <a:spcBef>
                <a:spcPts val="0"/>
              </a:spcBef>
              <a:spcAft>
                <a:spcPts val="0"/>
              </a:spcAft>
              <a:buNone/>
              <a:defRPr sz="700" i="1">
                <a:solidFill>
                  <a:srgbClr val="001965"/>
                </a:solidFill>
              </a:defRPr>
            </a:lvl1pPr>
          </a:lstStyle>
          <a:p>
            <a:pPr lvl="0"/>
            <a:r>
              <a:rPr lang="en-GB"/>
              <a:t>Footnote</a:t>
            </a:r>
          </a:p>
        </p:txBody>
      </p:sp>
      <p:sp>
        <p:nvSpPr>
          <p:cNvPr id="4" name="Title 3">
            <a:extLst>
              <a:ext uri="{FF2B5EF4-FFF2-40B4-BE49-F238E27FC236}">
                <a16:creationId xmlns:a16="http://schemas.microsoft.com/office/drawing/2014/main" id="{DE7BA4D6-17A2-4AB7-ACD0-593108A81484}"/>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7385996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A. Conten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B3FC178E-2660-2285-34A8-CD66F4AB3F42}"/>
              </a:ext>
            </a:extLst>
          </p:cNvPr>
          <p:cNvSpPr>
            <a:spLocks noGrp="1"/>
          </p:cNvSpPr>
          <p:nvPr>
            <p:ph type="body" sz="quarter" idx="14" hasCustomPrompt="1"/>
          </p:nvPr>
        </p:nvSpPr>
        <p:spPr>
          <a:xfrm>
            <a:off x="647700" y="6210300"/>
            <a:ext cx="8652000" cy="324000"/>
          </a:xfrm>
        </p:spPr>
        <p:txBody>
          <a:bodyPr anchor="b"/>
          <a:lstStyle>
            <a:lvl1pPr marL="0" indent="0">
              <a:buNone/>
              <a:defRPr sz="700" i="1">
                <a:solidFill>
                  <a:srgbClr val="001965"/>
                </a:solidFill>
              </a:defRPr>
            </a:lvl1pPr>
          </a:lstStyle>
          <a:p>
            <a:pPr lvl="0"/>
            <a:r>
              <a:rPr lang="en-GB"/>
              <a:t>Insert notes</a:t>
            </a:r>
          </a:p>
        </p:txBody>
      </p:sp>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18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17694249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5" y="647701"/>
            <a:ext cx="8902835" cy="5562300"/>
          </a:xfrm>
        </p:spPr>
        <p:txBody>
          <a:bodyPr anchor="ctr">
            <a:noAutofit/>
          </a:bodyPr>
          <a:lstStyle>
            <a:lvl1pPr marL="0" indent="0">
              <a:buNone/>
              <a:defRPr sz="30974">
                <a:solidFill>
                  <a:srgbClr val="EBE8E5"/>
                </a:solidFill>
              </a:defRPr>
            </a:lvl1pPr>
          </a:lstStyle>
          <a:p>
            <a:pPr lvl="0"/>
            <a:r>
              <a:rPr lang="en-GB"/>
              <a:t>01</a:t>
            </a:r>
          </a:p>
        </p:txBody>
      </p:sp>
      <p:sp>
        <p:nvSpPr>
          <p:cNvPr id="2" name="Title 1"/>
          <p:cNvSpPr>
            <a:spLocks noGrp="1"/>
          </p:cNvSpPr>
          <p:nvPr>
            <p:ph type="ctrTitle" hasCustomPrompt="1"/>
          </p:nvPr>
        </p:nvSpPr>
        <p:spPr>
          <a:xfrm>
            <a:off x="1623603" y="648000"/>
            <a:ext cx="7675975" cy="5562000"/>
          </a:xfrm>
        </p:spPr>
        <p:txBody>
          <a:bodyPr anchor="ctr"/>
          <a:lstStyle>
            <a:lvl1pPr algn="l">
              <a:defRPr sz="3300" b="1">
                <a:solidFill>
                  <a:schemeClr val="tx2"/>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88" i="1">
                <a:solidFill>
                  <a:schemeClr val="tx2"/>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C8F78926-2726-4A4B-BCEE-7212C00D101D}" type="datetime3">
              <a:rPr lang="en-US" smtClean="0"/>
              <a:t>17 April 2026</a:t>
            </a:fld>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6" name="image" descr="{&quot;templafy&quot;:{&quot;id&quot;:&quot;9433047f-ea94-4519-a42d-b39ba80dce8c&quot;}}" title="Form.PLogoChoice.PLogoInsertion">
            <a:extLst>
              <a:ext uri="{FF2B5EF4-FFF2-40B4-BE49-F238E27FC236}">
                <a16:creationId xmlns:a16="http://schemas.microsoft.com/office/drawing/2014/main" id="{8C259898-72ED-48AD-B8DB-354C87B7C69D}"/>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266848034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E23263C-96A5-DAE3-3F6D-53593C82DC97}"/>
              </a:ext>
            </a:extLst>
          </p:cNvPr>
          <p:cNvGrpSpPr/>
          <p:nvPr userDrawn="1"/>
        </p:nvGrpSpPr>
        <p:grpSpPr>
          <a:xfrm>
            <a:off x="270211" y="586150"/>
            <a:ext cx="313200" cy="313200"/>
            <a:chOff x="1370927" y="1256070"/>
            <a:chExt cx="1308476" cy="1309313"/>
          </a:xfrm>
        </p:grpSpPr>
        <p:pic>
          <p:nvPicPr>
            <p:cNvPr id="12" name="Picture 11">
              <a:extLst>
                <a:ext uri="{FF2B5EF4-FFF2-40B4-BE49-F238E27FC236}">
                  <a16:creationId xmlns:a16="http://schemas.microsoft.com/office/drawing/2014/main" id="{5E39A807-722D-E352-D8AC-BC5A6FDEB208}"/>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2483" t="-25027" r="-2483" b="-14802"/>
            <a:stretch/>
          </p:blipFill>
          <p:spPr>
            <a:xfrm>
              <a:off x="1370927" y="1256070"/>
              <a:ext cx="1245831" cy="1245830"/>
            </a:xfrm>
            <a:prstGeom prst="ellipse">
              <a:avLst/>
            </a:prstGeom>
          </p:spPr>
        </p:pic>
        <p:sp>
          <p:nvSpPr>
            <p:cNvPr id="13" name="Oval 12">
              <a:extLst>
                <a:ext uri="{FF2B5EF4-FFF2-40B4-BE49-F238E27FC236}">
                  <a16:creationId xmlns:a16="http://schemas.microsoft.com/office/drawing/2014/main" id="{875105C7-E52E-C23A-EC7E-541B6B107989}"/>
                </a:ext>
              </a:extLst>
            </p:cNvPr>
            <p:cNvSpPr/>
            <p:nvPr/>
          </p:nvSpPr>
          <p:spPr>
            <a:xfrm rot="5400000">
              <a:off x="1378515" y="1264495"/>
              <a:ext cx="1300890" cy="1300886"/>
            </a:xfrm>
            <a:prstGeom prst="ellipse">
              <a:avLst/>
            </a:prstGeom>
            <a:noFill/>
            <a:ln w="19050">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srgbClr val="FFFFFF"/>
                </a:solidFill>
                <a:effectLst/>
                <a:uLnTx/>
                <a:uFillTx/>
                <a:latin typeface="Apis For Office"/>
                <a:ea typeface="+mn-ea"/>
                <a:cs typeface="+mn-cs"/>
              </a:endParaRPr>
            </a:p>
          </p:txBody>
        </p:sp>
      </p:grpSp>
      <p:sp>
        <p:nvSpPr>
          <p:cNvPr id="2" name="Title 1"/>
          <p:cNvSpPr>
            <a:spLocks noGrp="1"/>
          </p:cNvSpPr>
          <p:nvPr>
            <p:ph type="title" hasCustomPrompt="1"/>
          </p:nvPr>
        </p:nvSpPr>
        <p:spPr>
          <a:xfrm>
            <a:off x="648000" y="972000"/>
            <a:ext cx="10896000" cy="972000"/>
          </a:xfrm>
        </p:spPr>
        <p:txBody>
          <a:body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8" y="6210000"/>
            <a:ext cx="10895999" cy="324000"/>
          </a:xfrm>
        </p:spPr>
        <p:txBody>
          <a:bodyPr anchor="b"/>
          <a:lstStyle>
            <a:lvl1pPr marL="0" indent="0">
              <a:buNone/>
              <a:defRPr sz="600" i="1">
                <a:solidFill>
                  <a:schemeClr val="tx2"/>
                </a:solidFill>
              </a:defRPr>
            </a:lvl1pPr>
          </a:lstStyle>
          <a:p>
            <a:pPr lvl="0"/>
            <a:r>
              <a:rPr lang="en-GB"/>
              <a:t>Insert notes</a:t>
            </a:r>
          </a:p>
        </p:txBody>
      </p:sp>
      <p:sp>
        <p:nvSpPr>
          <p:cNvPr id="4" name="Text Placeholder 3">
            <a:extLst>
              <a:ext uri="{FF2B5EF4-FFF2-40B4-BE49-F238E27FC236}">
                <a16:creationId xmlns:a16="http://schemas.microsoft.com/office/drawing/2014/main" id="{A8EB7E08-59EC-B222-668E-72E98CEB939F}"/>
              </a:ext>
            </a:extLst>
          </p:cNvPr>
          <p:cNvSpPr txBox="1">
            <a:spLocks/>
          </p:cNvSpPr>
          <p:nvPr userDrawn="1"/>
        </p:nvSpPr>
        <p:spPr>
          <a:xfrm>
            <a:off x="650120" y="655175"/>
            <a:ext cx="10896001" cy="196550"/>
          </a:xfrm>
          <a:prstGeom prst="rect">
            <a:avLst/>
          </a:prstGeom>
          <a:solidFill>
            <a:srgbClr val="FFFFFF"/>
          </a:solidFill>
        </p:spPr>
        <p:txBody>
          <a:bodyPr vert="horz" lIns="0" tIns="0" rIns="0" bIns="0" rtlCol="0">
            <a:noAutofit/>
          </a:bodyPr>
          <a:lstStyle>
            <a:lvl1pPr marL="0" indent="0" algn="l" defTabSz="914377" rtl="0" eaLnBrk="1" latinLnBrk="0" hangingPunct="1">
              <a:lnSpc>
                <a:spcPct val="100000"/>
              </a:lnSpc>
              <a:spcBef>
                <a:spcPts val="300"/>
              </a:spcBef>
              <a:spcAft>
                <a:spcPts val="600"/>
              </a:spcAft>
              <a:buFont typeface="Arial" panose="020B0604020202020204" pitchFamily="34" charset="0"/>
              <a:buNone/>
              <a:defRPr sz="1400" b="1" kern="1200" cap="all" baseline="0">
                <a:solidFill>
                  <a:srgbClr val="3B97DE"/>
                </a:solidFill>
                <a:latin typeface="+mn-lt"/>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1400" kern="1200">
                <a:solidFill>
                  <a:schemeClr val="tx2"/>
                </a:solidFill>
                <a:latin typeface="+mn-lt"/>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1800" b="1" kern="1200">
                <a:solidFill>
                  <a:schemeClr val="tx2"/>
                </a:solidFill>
                <a:latin typeface="+mn-lt"/>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1800" kern="1200">
                <a:solidFill>
                  <a:schemeClr val="tx2"/>
                </a:solidFill>
                <a:latin typeface="+mn-lt"/>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900" b="1" kern="1200">
                <a:solidFill>
                  <a:schemeClr val="tx2"/>
                </a:solidFill>
                <a:latin typeface="+mn-lt"/>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tx2"/>
                </a:solidFill>
                <a:latin typeface="+mn-lt"/>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900" kern="1200">
                <a:solidFill>
                  <a:schemeClr val="tx2"/>
                </a:solidFill>
                <a:latin typeface="+mn-lt"/>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000" kern="1200" baseline="0">
                <a:solidFill>
                  <a:schemeClr val="tx2"/>
                </a:solidFill>
                <a:latin typeface="+mn-lt"/>
                <a:ea typeface="+mn-ea"/>
                <a:cs typeface="+mn-cs"/>
              </a:defRPr>
            </a:lvl9pPr>
          </a:lstStyle>
          <a:p>
            <a:pPr marL="0" marR="0" lvl="0" indent="0" algn="l" defTabSz="914377"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400" b="1" i="0" u="none" strike="noStrike" kern="1200" cap="all" spc="0" normalizeH="0" baseline="0" noProof="0">
                <a:ln>
                  <a:noFill/>
                </a:ln>
                <a:solidFill>
                  <a:schemeClr val="bg2">
                    <a:lumMod val="75000"/>
                  </a:schemeClr>
                </a:solidFill>
                <a:effectLst/>
                <a:uLnTx/>
                <a:uFillTx/>
                <a:latin typeface="Apis For Office"/>
                <a:ea typeface="+mn-ea"/>
                <a:cs typeface="+mn-cs"/>
              </a:rPr>
              <a:t>INTRODUCTION</a:t>
            </a:r>
            <a:endParaRPr kumimoji="0" lang="en-GB" sz="1400" b="1" i="0" u="none" strike="noStrike" kern="1200" cap="all" spc="0" normalizeH="0" baseline="0" noProof="0">
              <a:ln>
                <a:noFill/>
              </a:ln>
              <a:solidFill>
                <a:schemeClr val="bg2">
                  <a:lumMod val="75000"/>
                </a:schemeClr>
              </a:solidFill>
              <a:effectLst/>
              <a:uLnTx/>
              <a:uFillTx/>
              <a:latin typeface="Apis For Office"/>
              <a:ea typeface="+mn-ea"/>
              <a:cs typeface="+mn-cs"/>
            </a:endParaRPr>
          </a:p>
        </p:txBody>
      </p:sp>
    </p:spTree>
    <p:extLst>
      <p:ext uri="{BB962C8B-B14F-4D97-AF65-F5344CB8AC3E}">
        <p14:creationId xmlns:p14="http://schemas.microsoft.com/office/powerpoint/2010/main" val="145305921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E619C-A6EA-7745-8CE9-BE6228D9B7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70D8CC-8DE3-D445-A996-235AF2E2861F}"/>
              </a:ext>
            </a:extLst>
          </p:cNvPr>
          <p:cNvSpPr>
            <a:spLocks noGrp="1"/>
          </p:cNvSpPr>
          <p:nvPr>
            <p:ph type="dt" sz="half" idx="10"/>
          </p:nvPr>
        </p:nvSpPr>
        <p:spPr/>
        <p:txBody>
          <a:bodyPr/>
          <a:lstStyle/>
          <a:p>
            <a:fld id="{A32B158E-7000-C741-BFF5-D7CE4E91C40F}" type="datetimeFigureOut">
              <a:rPr lang="en-US" smtClean="0"/>
              <a:t>4/17/2026</a:t>
            </a:fld>
            <a:endParaRPr lang="en-US"/>
          </a:p>
        </p:txBody>
      </p:sp>
      <p:sp>
        <p:nvSpPr>
          <p:cNvPr id="4" name="Footer Placeholder 3">
            <a:extLst>
              <a:ext uri="{FF2B5EF4-FFF2-40B4-BE49-F238E27FC236}">
                <a16:creationId xmlns:a16="http://schemas.microsoft.com/office/drawing/2014/main" id="{1E00DB61-C9DF-8244-8175-C1C3FADA69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FBEEB1-F8FA-1D43-BA98-901424197879}"/>
              </a:ext>
            </a:extLst>
          </p:cNvPr>
          <p:cNvSpPr>
            <a:spLocks noGrp="1"/>
          </p:cNvSpPr>
          <p:nvPr>
            <p:ph type="sldNum" sz="quarter" idx="12"/>
          </p:nvPr>
        </p:nvSpPr>
        <p:spPr/>
        <p:txBody>
          <a:bodyPr/>
          <a:lstStyle/>
          <a:p>
            <a:fld id="{BE9B6640-85C8-4847-890E-3BF203914D39}" type="slidenum">
              <a:rPr lang="en-US" smtClean="0"/>
              <a:t>‹#›</a:t>
            </a:fld>
            <a:endParaRPr lang="en-US"/>
          </a:p>
        </p:txBody>
      </p:sp>
    </p:spTree>
    <p:extLst>
      <p:ext uri="{BB962C8B-B14F-4D97-AF65-F5344CB8AC3E}">
        <p14:creationId xmlns:p14="http://schemas.microsoft.com/office/powerpoint/2010/main" val="28697783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1447740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9756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5FA96055-F41A-411B-AC3E-55CE92C9BB48}"/>
              </a:ext>
            </a:extLst>
          </p:cNvPr>
          <p:cNvSpPr>
            <a:spLocks noGrp="1"/>
          </p:cNvSpPr>
          <p:nvPr>
            <p:ph type="body" sz="quarter" idx="14" hasCustomPrompt="1"/>
          </p:nvPr>
        </p:nvSpPr>
        <p:spPr>
          <a:xfrm>
            <a:off x="648002" y="1630133"/>
            <a:ext cx="10896001" cy="324000"/>
          </a:xfrm>
        </p:spPr>
        <p:txBody>
          <a:bodyPr/>
          <a:lstStyle>
            <a:lvl1pPr marL="0" indent="0">
              <a:buNone/>
              <a:defRPr sz="1050" b="1" cap="all" baseline="0"/>
            </a:lvl1pPr>
          </a:lstStyle>
          <a:p>
            <a:pPr lvl="0"/>
            <a:r>
              <a:rPr lang="en-GB"/>
              <a:t>Click to add SUBTITLE</a:t>
            </a:r>
          </a:p>
        </p:txBody>
      </p:sp>
      <p:sp>
        <p:nvSpPr>
          <p:cNvPr id="12" name="Text Placeholder 4">
            <a:extLst>
              <a:ext uri="{FF2B5EF4-FFF2-40B4-BE49-F238E27FC236}">
                <a16:creationId xmlns:a16="http://schemas.microsoft.com/office/drawing/2014/main" id="{CBF855ED-BC42-4DA9-85C2-E890883A6DFD}"/>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25606528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406E89B-F1B0-48A4-8827-107446FBFBCE}"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8002" y="648000"/>
            <a:ext cx="10896001" cy="324000"/>
          </a:xfrm>
        </p:spPr>
        <p:txBody>
          <a:bodyPr/>
          <a:lstStyle>
            <a:lvl1pPr marL="0" indent="0">
              <a:buNone/>
              <a:defRPr sz="1050" b="1" cap="all" baseline="0"/>
            </a:lvl1pPr>
          </a:lstStyle>
          <a:p>
            <a:pPr lvl="0"/>
            <a:r>
              <a:rPr lang="en-GB"/>
              <a:t>Click to add trumpet</a:t>
            </a:r>
          </a:p>
        </p:txBody>
      </p:sp>
      <p:sp>
        <p:nvSpPr>
          <p:cNvPr id="11" name="Text Placeholder 4">
            <a:extLst>
              <a:ext uri="{FF2B5EF4-FFF2-40B4-BE49-F238E27FC236}">
                <a16:creationId xmlns:a16="http://schemas.microsoft.com/office/drawing/2014/main" id="{9805D299-7B7E-438A-BAF1-BFA5F522FA7E}"/>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33307075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7 April 2026</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9" name="Text Placeholder 4">
            <a:extLst>
              <a:ext uri="{FF2B5EF4-FFF2-40B4-BE49-F238E27FC236}">
                <a16:creationId xmlns:a16="http://schemas.microsoft.com/office/drawing/2014/main" id="{CD1BF59D-D728-4475-A970-AD382B7F554C}"/>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13996134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F5F94F3-4245-4644-F9BA-D4FE377A74D2}"/>
              </a:ext>
            </a:extLst>
          </p:cNvPr>
          <p:cNvGrpSpPr/>
          <p:nvPr userDrawn="1"/>
        </p:nvGrpSpPr>
        <p:grpSpPr>
          <a:xfrm>
            <a:off x="0" y="0"/>
            <a:ext cx="10896280" cy="2425700"/>
            <a:chOff x="0" y="2073430"/>
            <a:chExt cx="12192567" cy="2714276"/>
          </a:xfrm>
        </p:grpSpPr>
        <p:sp>
          <p:nvSpPr>
            <p:cNvPr id="11" name="Freeform: Shape 10">
              <a:extLst>
                <a:ext uri="{FF2B5EF4-FFF2-40B4-BE49-F238E27FC236}">
                  <a16:creationId xmlns:a16="http://schemas.microsoft.com/office/drawing/2014/main" id="{87DDC19D-DFFB-19F1-2A23-EAD07DB67D2F}"/>
                </a:ext>
              </a:extLst>
            </p:cNvPr>
            <p:cNvSpPr/>
            <p:nvPr/>
          </p:nvSpPr>
          <p:spPr>
            <a:xfrm>
              <a:off x="0" y="2073431"/>
              <a:ext cx="12053440" cy="2001497"/>
            </a:xfrm>
            <a:custGeom>
              <a:avLst/>
              <a:gdLst>
                <a:gd name="connsiteX0" fmla="*/ 12053440 w 12053440"/>
                <a:gd name="connsiteY0" fmla="*/ 0 h 2001497"/>
                <a:gd name="connsiteX1" fmla="*/ 11034247 w 12053440"/>
                <a:gd name="connsiteY1" fmla="*/ 663336 h 2001497"/>
                <a:gd name="connsiteX2" fmla="*/ 9540361 w 12053440"/>
                <a:gd name="connsiteY2" fmla="*/ 932258 h 2001497"/>
                <a:gd name="connsiteX3" fmla="*/ 8670282 w 12053440"/>
                <a:gd name="connsiteY3" fmla="*/ 928605 h 2001497"/>
                <a:gd name="connsiteX4" fmla="*/ 7320882 w 12053440"/>
                <a:gd name="connsiteY4" fmla="*/ 823569 h 2001497"/>
                <a:gd name="connsiteX5" fmla="*/ 5675044 w 12053440"/>
                <a:gd name="connsiteY5" fmla="*/ 980636 h 2001497"/>
                <a:gd name="connsiteX6" fmla="*/ 5149862 w 12053440"/>
                <a:gd name="connsiteY6" fmla="*/ 1116599 h 2001497"/>
                <a:gd name="connsiteX7" fmla="*/ 4566399 w 12053440"/>
                <a:gd name="connsiteY7" fmla="*/ 1303781 h 2001497"/>
                <a:gd name="connsiteX8" fmla="*/ 2552690 w 12053440"/>
                <a:gd name="connsiteY8" fmla="*/ 1949502 h 2001497"/>
                <a:gd name="connsiteX9" fmla="*/ 145947 w 12053440"/>
                <a:gd name="connsiteY9" fmla="*/ 1738537 h 2001497"/>
                <a:gd name="connsiteX10" fmla="*/ 0 w 12053440"/>
                <a:gd name="connsiteY10" fmla="*/ 1693649 h 2001497"/>
                <a:gd name="connsiteX11" fmla="*/ 0 w 12053440"/>
                <a:gd name="connsiteY11" fmla="*/ 0 h 2001497"/>
                <a:gd name="connsiteX12" fmla="*/ 12053440 w 12053440"/>
                <a:gd name="connsiteY12" fmla="*/ 0 h 200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53440" h="2001497">
                  <a:moveTo>
                    <a:pt x="12053440" y="0"/>
                  </a:moveTo>
                  <a:cubicBezTo>
                    <a:pt x="11756920" y="277607"/>
                    <a:pt x="11409991" y="507729"/>
                    <a:pt x="11034247" y="663336"/>
                  </a:cubicBezTo>
                  <a:cubicBezTo>
                    <a:pt x="10563938" y="864236"/>
                    <a:pt x="10044844" y="904822"/>
                    <a:pt x="9540361" y="932258"/>
                  </a:cubicBezTo>
                  <a:cubicBezTo>
                    <a:pt x="9253988" y="946544"/>
                    <a:pt x="8957549" y="947193"/>
                    <a:pt x="8670282" y="928605"/>
                  </a:cubicBezTo>
                  <a:cubicBezTo>
                    <a:pt x="8217506" y="896461"/>
                    <a:pt x="7763999" y="820971"/>
                    <a:pt x="7320882" y="823569"/>
                  </a:cubicBezTo>
                  <a:cubicBezTo>
                    <a:pt x="6768508" y="820890"/>
                    <a:pt x="6214755" y="863262"/>
                    <a:pt x="5675044" y="980636"/>
                  </a:cubicBezTo>
                  <a:cubicBezTo>
                    <a:pt x="5500281" y="1018056"/>
                    <a:pt x="5320972" y="1065136"/>
                    <a:pt x="5149862" y="1116599"/>
                  </a:cubicBezTo>
                  <a:cubicBezTo>
                    <a:pt x="4954887" y="1175124"/>
                    <a:pt x="4758371" y="1237220"/>
                    <a:pt x="4566399" y="1303781"/>
                  </a:cubicBezTo>
                  <a:cubicBezTo>
                    <a:pt x="3902333" y="1530656"/>
                    <a:pt x="3258722" y="1849580"/>
                    <a:pt x="2552690" y="1949502"/>
                  </a:cubicBezTo>
                  <a:cubicBezTo>
                    <a:pt x="1744706" y="2072396"/>
                    <a:pt x="920813" y="1967604"/>
                    <a:pt x="145947" y="1738537"/>
                  </a:cubicBezTo>
                  <a:cubicBezTo>
                    <a:pt x="97163" y="1724088"/>
                    <a:pt x="48541" y="1709153"/>
                    <a:pt x="0" y="1693649"/>
                  </a:cubicBezTo>
                  <a:lnTo>
                    <a:pt x="0" y="0"/>
                  </a:lnTo>
                  <a:lnTo>
                    <a:pt x="12053440" y="0"/>
                  </a:lnTo>
                  <a:close/>
                </a:path>
              </a:pathLst>
            </a:custGeom>
            <a:solidFill>
              <a:schemeClr val="accent5">
                <a:lumMod val="20000"/>
                <a:lumOff val="80000"/>
                <a:alpha val="37000"/>
              </a:schemeClr>
            </a:solidFill>
            <a:ln w="8117" cap="flat">
              <a:noFill/>
              <a:prstDash val="solid"/>
              <a:miter/>
            </a:ln>
          </p:spPr>
          <p:txBody>
            <a:bodyPr rtlCol="0" anchor="ctr"/>
            <a:lstStyle/>
            <a:p>
              <a:endParaRPr lang="en-CA" sz="1350"/>
            </a:p>
          </p:txBody>
        </p:sp>
        <p:sp>
          <p:nvSpPr>
            <p:cNvPr id="12" name="Freeform: Shape 11">
              <a:extLst>
                <a:ext uri="{FF2B5EF4-FFF2-40B4-BE49-F238E27FC236}">
                  <a16:creationId xmlns:a16="http://schemas.microsoft.com/office/drawing/2014/main" id="{16B550A7-2355-B8A4-3770-7AFD5BF45A40}"/>
                </a:ext>
              </a:extLst>
            </p:cNvPr>
            <p:cNvSpPr/>
            <p:nvPr/>
          </p:nvSpPr>
          <p:spPr>
            <a:xfrm>
              <a:off x="0" y="2073430"/>
              <a:ext cx="12192567" cy="2714276"/>
            </a:xfrm>
            <a:custGeom>
              <a:avLst/>
              <a:gdLst>
                <a:gd name="connsiteX0" fmla="*/ 12192568 w 12192567"/>
                <a:gd name="connsiteY0" fmla="*/ 0 h 2714276"/>
                <a:gd name="connsiteX1" fmla="*/ 10780829 w 12192567"/>
                <a:gd name="connsiteY1" fmla="*/ 962454 h 2714276"/>
                <a:gd name="connsiteX2" fmla="*/ 10346154 w 12192567"/>
                <a:gd name="connsiteY2" fmla="*/ 1103936 h 2714276"/>
                <a:gd name="connsiteX3" fmla="*/ 8984335 w 12192567"/>
                <a:gd name="connsiteY3" fmla="*/ 1291443 h 2714276"/>
                <a:gd name="connsiteX4" fmla="*/ 8527501 w 12192567"/>
                <a:gd name="connsiteY4" fmla="*/ 1275939 h 2714276"/>
                <a:gd name="connsiteX5" fmla="*/ 7623572 w 12192567"/>
                <a:gd name="connsiteY5" fmla="*/ 1254672 h 2714276"/>
                <a:gd name="connsiteX6" fmla="*/ 6843430 w 12192567"/>
                <a:gd name="connsiteY6" fmla="*/ 1266198 h 2714276"/>
                <a:gd name="connsiteX7" fmla="*/ 5017227 w 12192567"/>
                <a:gd name="connsiteY7" fmla="*/ 1714348 h 2714276"/>
                <a:gd name="connsiteX8" fmla="*/ 4599031 w 12192567"/>
                <a:gd name="connsiteY8" fmla="*/ 1880587 h 2714276"/>
                <a:gd name="connsiteX9" fmla="*/ 3777247 w 12192567"/>
                <a:gd name="connsiteY9" fmla="*/ 2245130 h 2714276"/>
                <a:gd name="connsiteX10" fmla="*/ 2887037 w 12192567"/>
                <a:gd name="connsiteY10" fmla="*/ 2553826 h 2714276"/>
                <a:gd name="connsiteX11" fmla="*/ 1003040 w 12192567"/>
                <a:gd name="connsiteY11" fmla="*/ 2672175 h 2714276"/>
                <a:gd name="connsiteX12" fmla="*/ 427775 w 12192567"/>
                <a:gd name="connsiteY12" fmla="*/ 2574363 h 2714276"/>
                <a:gd name="connsiteX13" fmla="*/ 0 w 12192567"/>
                <a:gd name="connsiteY13" fmla="*/ 2479229 h 2714276"/>
                <a:gd name="connsiteX14" fmla="*/ 0 w 12192567"/>
                <a:gd name="connsiteY14" fmla="*/ 1914193 h 2714276"/>
                <a:gd name="connsiteX15" fmla="*/ 647994 w 12192567"/>
                <a:gd name="connsiteY15" fmla="*/ 2089361 h 2714276"/>
                <a:gd name="connsiteX16" fmla="*/ 1933106 w 12192567"/>
                <a:gd name="connsiteY16" fmla="*/ 2242127 h 2714276"/>
                <a:gd name="connsiteX17" fmla="*/ 3214808 w 12192567"/>
                <a:gd name="connsiteY17" fmla="*/ 2034083 h 2714276"/>
                <a:gd name="connsiteX18" fmla="*/ 4043572 w 12192567"/>
                <a:gd name="connsiteY18" fmla="*/ 1715322 h 2714276"/>
                <a:gd name="connsiteX19" fmla="*/ 4687995 w 12192567"/>
                <a:gd name="connsiteY19" fmla="*/ 1475784 h 2714276"/>
                <a:gd name="connsiteX20" fmla="*/ 5570251 w 12192567"/>
                <a:gd name="connsiteY20" fmla="*/ 1206943 h 2714276"/>
                <a:gd name="connsiteX21" fmla="*/ 7175666 w 12192567"/>
                <a:gd name="connsiteY21" fmla="*/ 1011319 h 2714276"/>
                <a:gd name="connsiteX22" fmla="*/ 8538540 w 12192567"/>
                <a:gd name="connsiteY22" fmla="*/ 1091192 h 2714276"/>
                <a:gd name="connsiteX23" fmla="*/ 8986608 w 12192567"/>
                <a:gd name="connsiteY23" fmla="*/ 1124960 h 2714276"/>
                <a:gd name="connsiteX24" fmla="*/ 10480899 w 12192567"/>
                <a:gd name="connsiteY24" fmla="*/ 954499 h 2714276"/>
                <a:gd name="connsiteX25" fmla="*/ 12162048 w 12192567"/>
                <a:gd name="connsiteY25" fmla="*/ 0 h 2714276"/>
                <a:gd name="connsiteX26" fmla="*/ 12192568 w 12192567"/>
                <a:gd name="connsiteY26" fmla="*/ 0 h 271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567" h="2714276">
                  <a:moveTo>
                    <a:pt x="12192568" y="0"/>
                  </a:moveTo>
                  <a:cubicBezTo>
                    <a:pt x="11813983" y="433051"/>
                    <a:pt x="11324111" y="768940"/>
                    <a:pt x="10780829" y="962454"/>
                  </a:cubicBezTo>
                  <a:cubicBezTo>
                    <a:pt x="10637804" y="1014891"/>
                    <a:pt x="10492425" y="1061889"/>
                    <a:pt x="10346154" y="1103936"/>
                  </a:cubicBezTo>
                  <a:cubicBezTo>
                    <a:pt x="9903524" y="1230808"/>
                    <a:pt x="9443848" y="1282027"/>
                    <a:pt x="8984335" y="1291443"/>
                  </a:cubicBezTo>
                  <a:cubicBezTo>
                    <a:pt x="8853243" y="1292579"/>
                    <a:pt x="8660379" y="1280809"/>
                    <a:pt x="8527501" y="1275939"/>
                  </a:cubicBezTo>
                  <a:cubicBezTo>
                    <a:pt x="8270186" y="1265062"/>
                    <a:pt x="7886000" y="1259055"/>
                    <a:pt x="7623572" y="1254672"/>
                  </a:cubicBezTo>
                  <a:cubicBezTo>
                    <a:pt x="7362361" y="1252075"/>
                    <a:pt x="7102530" y="1244282"/>
                    <a:pt x="6843430" y="1266198"/>
                  </a:cubicBezTo>
                  <a:cubicBezTo>
                    <a:pt x="6216703" y="1324317"/>
                    <a:pt x="5604667" y="1490557"/>
                    <a:pt x="5017227" y="1714348"/>
                  </a:cubicBezTo>
                  <a:cubicBezTo>
                    <a:pt x="4881995" y="1766216"/>
                    <a:pt x="4734100" y="1825878"/>
                    <a:pt x="4599031" y="1880587"/>
                  </a:cubicBezTo>
                  <a:cubicBezTo>
                    <a:pt x="4318338" y="1992929"/>
                    <a:pt x="4053718" y="2117203"/>
                    <a:pt x="3777247" y="2245130"/>
                  </a:cubicBezTo>
                  <a:cubicBezTo>
                    <a:pt x="3496312" y="2376385"/>
                    <a:pt x="3189239" y="2479798"/>
                    <a:pt x="2887037" y="2553826"/>
                  </a:cubicBezTo>
                  <a:cubicBezTo>
                    <a:pt x="2274108" y="2710407"/>
                    <a:pt x="1630741" y="2757649"/>
                    <a:pt x="1003040" y="2672175"/>
                  </a:cubicBezTo>
                  <a:cubicBezTo>
                    <a:pt x="807984" y="2647174"/>
                    <a:pt x="617636" y="2611783"/>
                    <a:pt x="427775" y="2574363"/>
                  </a:cubicBezTo>
                  <a:cubicBezTo>
                    <a:pt x="284507" y="2546440"/>
                    <a:pt x="141807" y="2514864"/>
                    <a:pt x="0" y="2479229"/>
                  </a:cubicBezTo>
                  <a:lnTo>
                    <a:pt x="0" y="1914193"/>
                  </a:lnTo>
                  <a:cubicBezTo>
                    <a:pt x="213319" y="1982052"/>
                    <a:pt x="429642" y="2040415"/>
                    <a:pt x="647994" y="2089361"/>
                  </a:cubicBezTo>
                  <a:cubicBezTo>
                    <a:pt x="1071467" y="2191313"/>
                    <a:pt x="1498025" y="2254627"/>
                    <a:pt x="1933106" y="2242127"/>
                  </a:cubicBezTo>
                  <a:cubicBezTo>
                    <a:pt x="2365914" y="2230844"/>
                    <a:pt x="2799533" y="2153730"/>
                    <a:pt x="3214808" y="2034083"/>
                  </a:cubicBezTo>
                  <a:cubicBezTo>
                    <a:pt x="3497935" y="1951207"/>
                    <a:pt x="3765640" y="1825797"/>
                    <a:pt x="4043572" y="1715322"/>
                  </a:cubicBezTo>
                  <a:cubicBezTo>
                    <a:pt x="4254294" y="1630173"/>
                    <a:pt x="4473539" y="1551193"/>
                    <a:pt x="4687995" y="1475784"/>
                  </a:cubicBezTo>
                  <a:cubicBezTo>
                    <a:pt x="4976641" y="1373020"/>
                    <a:pt x="5271133" y="1277562"/>
                    <a:pt x="5570251" y="1206943"/>
                  </a:cubicBezTo>
                  <a:cubicBezTo>
                    <a:pt x="6093565" y="1077636"/>
                    <a:pt x="6635306" y="991757"/>
                    <a:pt x="7175666" y="1011319"/>
                  </a:cubicBezTo>
                  <a:cubicBezTo>
                    <a:pt x="7614399" y="1028365"/>
                    <a:pt x="8101268" y="1057993"/>
                    <a:pt x="8538540" y="1091192"/>
                  </a:cubicBezTo>
                  <a:cubicBezTo>
                    <a:pt x="8661028" y="1101257"/>
                    <a:pt x="8864445" y="1120657"/>
                    <a:pt x="8986608" y="1124960"/>
                  </a:cubicBezTo>
                  <a:cubicBezTo>
                    <a:pt x="9488818" y="1135837"/>
                    <a:pt x="9996222" y="1091760"/>
                    <a:pt x="10480899" y="954499"/>
                  </a:cubicBezTo>
                  <a:cubicBezTo>
                    <a:pt x="11132465" y="792074"/>
                    <a:pt x="11708947" y="472663"/>
                    <a:pt x="12162048" y="0"/>
                  </a:cubicBezTo>
                  <a:lnTo>
                    <a:pt x="12192568" y="0"/>
                  </a:lnTo>
                  <a:close/>
                </a:path>
              </a:pathLst>
            </a:custGeom>
            <a:solidFill>
              <a:schemeClr val="accent5">
                <a:lumMod val="40000"/>
                <a:lumOff val="60000"/>
                <a:alpha val="34000"/>
              </a:schemeClr>
            </a:solidFill>
            <a:ln w="8117" cap="flat">
              <a:noFill/>
              <a:prstDash val="solid"/>
              <a:miter/>
            </a:ln>
          </p:spPr>
          <p:txBody>
            <a:bodyPr rtlCol="0" anchor="ctr"/>
            <a:lstStyle/>
            <a:p>
              <a:endParaRPr lang="en-CA" sz="1350"/>
            </a:p>
          </p:txBody>
        </p:sp>
      </p:grpSp>
      <p:sp>
        <p:nvSpPr>
          <p:cNvPr id="2" name="Title 1"/>
          <p:cNvSpPr>
            <a:spLocks noGrp="1"/>
          </p:cNvSpPr>
          <p:nvPr>
            <p:ph type="title" hasCustomPrompt="1"/>
          </p:nvPr>
        </p:nvSpPr>
        <p:spPr>
          <a:xfrm>
            <a:off x="432100" y="324000"/>
            <a:ext cx="10896000" cy="1296000"/>
          </a:xfrm>
        </p:spPr>
        <p:txBody>
          <a:bodyPr/>
          <a:lstStyle>
            <a:lvl1pPr>
              <a:defRPr sz="2400">
                <a:latin typeface="Apis For Office Light" panose="020B0404010101010104" pitchFamily="34" charset="0"/>
                <a:ea typeface="Apis For Office Light" panose="020B0404010101010104" pitchFamily="34" charset="0"/>
                <a:cs typeface="Apis For Office Light" panose="020B0404010101010104" pitchFamily="34" charset="0"/>
              </a:defRPr>
            </a:lvl1pPr>
          </a:lstStyle>
          <a:p>
            <a:r>
              <a:rPr lang="en-GB" noProof="0"/>
              <a:t>Click to add title</a:t>
            </a:r>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432101" y="6210000"/>
            <a:ext cx="11351913" cy="324000"/>
          </a:xfrm>
        </p:spPr>
        <p:txBody>
          <a:bodyPr vert="horz" lIns="0" tIns="0" rIns="0" bIns="0" rtlCol="0" anchor="b">
            <a:noAutofit/>
          </a:bodyPr>
          <a:lstStyle>
            <a:lvl1pPr marL="0" indent="0">
              <a:buNone/>
              <a:defRPr lang="en-GB" sz="600" i="1" dirty="0">
                <a:solidFill>
                  <a:srgbClr val="939AA7"/>
                </a:solidFill>
              </a:defRPr>
            </a:lvl1pPr>
          </a:lstStyle>
          <a:p>
            <a:pPr marL="202495" lvl="0" indent="-202495"/>
            <a:r>
              <a:rPr lang="en-GB"/>
              <a:t>Insert notes</a:t>
            </a:r>
          </a:p>
        </p:txBody>
      </p:sp>
    </p:spTree>
    <p:extLst>
      <p:ext uri="{BB962C8B-B14F-4D97-AF65-F5344CB8AC3E}">
        <p14:creationId xmlns:p14="http://schemas.microsoft.com/office/powerpoint/2010/main" val="42897432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66D121A7-F4E2-460A-A8FB-942CCEE5185E}" type="datetime3">
              <a:rPr lang="en-US" smtClean="0"/>
              <a:t>17 April 2026</a:t>
            </a:fld>
            <a:endParaRPr lang="en-GB"/>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9" name="Text Placeholder 4">
            <a:extLst>
              <a:ext uri="{FF2B5EF4-FFF2-40B4-BE49-F238E27FC236}">
                <a16:creationId xmlns:a16="http://schemas.microsoft.com/office/drawing/2014/main" id="{5AEB20A7-190E-485D-98DC-56B0D48A8284}"/>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3596687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0565"/>
            <a:ext cx="6408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5"/>
            <a:ext cx="4164000" cy="42696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D222D8C-AA3D-4B88-B15C-7C22689DAE44}"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59FBA6F5-42D5-4224-8758-445BF948788F}"/>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38677436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2"/>
            <a:ext cx="41640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7"/>
            <a:ext cx="4164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45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D8DC46D-D10D-4B61-A892-8C0001048907}"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6002" y="324000"/>
            <a:ext cx="6732001" cy="6210000"/>
          </a:xfrm>
          <a:solidFill>
            <a:schemeClr val="bg1"/>
          </a:solidFill>
        </p:spPr>
        <p:txBody>
          <a:bodyPr tIns="72000"/>
          <a:lstStyle>
            <a:lvl1pPr marL="0" indent="0" algn="ctr">
              <a:buNone/>
              <a:defRPr sz="1050"/>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450">
                <a:solidFill>
                  <a:schemeClr val="accent6"/>
                </a:solidFill>
              </a:defRPr>
            </a:lvl1pPr>
          </a:lstStyle>
          <a:p>
            <a:pPr lvl="0"/>
            <a:r>
              <a:rPr lang="en-GB"/>
              <a:t>Insert picture text</a:t>
            </a:r>
          </a:p>
        </p:txBody>
      </p:sp>
      <p:sp>
        <p:nvSpPr>
          <p:cNvPr id="4" name="Tagline" descr="{&quot;templafy&quot;:{&quot;id&quot;:&quot;173913be-1100-48d2-aff0-9c93648545a2&quot;}}" title="Form.PLogoChoice.PLogoInsertion">
            <a:extLst>
              <a:ext uri="{FF2B5EF4-FFF2-40B4-BE49-F238E27FC236}">
                <a16:creationId xmlns:a16="http://schemas.microsoft.com/office/drawing/2014/main" id="{AD76CD6D-257F-451B-A84B-5F86799B060C}"/>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3124279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168" y="1059712"/>
            <a:ext cx="103632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3" name="Text Placeholder 2"/>
          <p:cNvSpPr>
            <a:spLocks noGrp="1"/>
          </p:cNvSpPr>
          <p:nvPr>
            <p:ph type="body" idx="1"/>
          </p:nvPr>
        </p:nvSpPr>
        <p:spPr>
          <a:xfrm>
            <a:off x="5230284" y="2931712"/>
            <a:ext cx="6096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D08AA6BE-C031-46DF-91AD-ACBD1C94D749}" type="datetimeFigureOut">
              <a:rPr lang="en-US" smtClean="0"/>
              <a:pPr/>
              <a:t>4/1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949D-EB89-4B16-9822-620BE1538A3C}" type="slidenum">
              <a:rPr lang="en-US" smtClean="0"/>
              <a:pPr/>
              <a:t>‹#›</a:t>
            </a:fld>
            <a:endParaRPr lang="en-US"/>
          </a:p>
        </p:txBody>
      </p:sp>
      <p:sp>
        <p:nvSpPr>
          <p:cNvPr id="7" name="Chevron 6"/>
          <p:cNvSpPr/>
          <p:nvPr/>
        </p:nvSpPr>
        <p:spPr>
          <a:xfrm>
            <a:off x="4848907"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sz="1800"/>
          </a:p>
        </p:txBody>
      </p:sp>
      <p:sp>
        <p:nvSpPr>
          <p:cNvPr id="8" name="Chevron 7"/>
          <p:cNvSpPr/>
          <p:nvPr/>
        </p:nvSpPr>
        <p:spPr>
          <a:xfrm>
            <a:off x="4600352"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sz="1800"/>
          </a:p>
        </p:txBody>
      </p:sp>
    </p:spTree>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2"/>
            <a:ext cx="41640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7"/>
            <a:ext cx="4164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45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6526C65-69A1-4E8E-9984-0D6109B4BEC2}"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050"/>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450">
                <a:solidFill>
                  <a:schemeClr val="accent6"/>
                </a:solidFill>
              </a:defRPr>
            </a:lvl1pPr>
          </a:lstStyle>
          <a:p>
            <a:pPr lvl="0"/>
            <a:r>
              <a:rPr lang="en-GB"/>
              <a:t>Insert picture text</a:t>
            </a:r>
          </a:p>
        </p:txBody>
      </p:sp>
    </p:spTree>
    <p:extLst>
      <p:ext uri="{BB962C8B-B14F-4D97-AF65-F5344CB8AC3E}">
        <p14:creationId xmlns:p14="http://schemas.microsoft.com/office/powerpoint/2010/main" val="14975134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2" y="647702"/>
            <a:ext cx="10895015" cy="1292867"/>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5" y="1944000"/>
            <a:ext cx="5286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27EE2340-579E-4220-A93B-3AFD39A8D022}" type="datetime3">
              <a:rPr lang="en-US" smtClean="0"/>
              <a:t>17 April 2026</a:t>
            </a:fld>
            <a:endParaRPr lang="en-GB"/>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a:p>
        </p:txBody>
      </p:sp>
      <p:sp>
        <p:nvSpPr>
          <p:cNvPr id="10" name="Text Placeholder 4">
            <a:extLst>
              <a:ext uri="{FF2B5EF4-FFF2-40B4-BE49-F238E27FC236}">
                <a16:creationId xmlns:a16="http://schemas.microsoft.com/office/drawing/2014/main" id="{AFC41F91-AFCD-41AB-8885-C909432955C9}"/>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23586300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2" y="647702"/>
            <a:ext cx="10895015" cy="1292867"/>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3412800" cy="4266000"/>
          </a:xfrm>
        </p:spPr>
        <p:txBody>
          <a:bodyPr/>
          <a:lstStyle>
            <a:lvl1pPr>
              <a:defRPr sz="1050"/>
            </a:lvl1pPr>
            <a:lvl2pPr>
              <a:defRPr sz="1050"/>
            </a:lvl2pPr>
            <a:lvl3pPr>
              <a:defRPr sz="1050"/>
            </a:lvl3pPr>
            <a:lvl4pPr>
              <a:defRPr sz="1050"/>
            </a:lvl4pPr>
            <a:lvl5pPr>
              <a:defRPr sz="1050"/>
            </a:lvl5pPr>
            <a:lvl6pPr>
              <a:buNone/>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050"/>
            </a:lvl1pPr>
            <a:lvl2pPr>
              <a:defRPr sz="1050"/>
            </a:lvl2pPr>
            <a:lvl3pPr>
              <a:defRPr sz="1050"/>
            </a:lvl3pPr>
            <a:lvl4pPr>
              <a:defRPr sz="1050"/>
            </a:lvl4pPr>
            <a:lvl5pPr>
              <a:defRPr sz="1050"/>
            </a:lvl5pPr>
            <a:lvl6pPr>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050"/>
            </a:lvl1pPr>
            <a:lvl2pPr>
              <a:defRPr sz="1050"/>
            </a:lvl2pPr>
            <a:lvl3pPr>
              <a:defRPr sz="1050"/>
            </a:lvl3pPr>
            <a:lvl4pPr>
              <a:defRPr sz="1050"/>
            </a:lvl4pPr>
            <a:lvl5pPr>
              <a:defRPr sz="1050"/>
            </a:lvl5pPr>
            <a:lvl6pPr>
              <a:buNone/>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9CC65D2-4706-45DF-B68A-6AB31D8D1B2D}"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653F4E38-94FD-4303-93E2-4CAD4F1F79E1}"/>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7820281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a:t>Click to add title</a:t>
            </a:r>
            <a:endParaRPr lang="nb-NO"/>
          </a:p>
        </p:txBody>
      </p:sp>
      <p:sp>
        <p:nvSpPr>
          <p:cNvPr id="3" name="Content Placeholder 2"/>
          <p:cNvSpPr>
            <a:spLocks noGrp="1"/>
          </p:cNvSpPr>
          <p:nvPr>
            <p:ph idx="1" hasCustomPrompt="1"/>
          </p:nvPr>
        </p:nvSpPr>
        <p:spPr>
          <a:xfrm>
            <a:off x="648000" y="1944000"/>
            <a:ext cx="5286000" cy="1814400"/>
          </a:xfrm>
        </p:spPr>
        <p:txBody>
          <a:bodyPr/>
          <a:lstStyle>
            <a:lvl1pPr>
              <a:defRPr sz="1050"/>
            </a:lvl1pPr>
            <a:lvl2pPr>
              <a:defRPr sz="1050"/>
            </a:lvl2pPr>
            <a:lvl3pPr>
              <a:defRPr sz="1050"/>
            </a:lvl3pPr>
            <a:lvl4pPr>
              <a:defRPr sz="1050"/>
            </a:lvl4pPr>
            <a:lvl5pPr>
              <a:defRPr sz="1050"/>
            </a:lvl5pPr>
            <a:lvl6pPr>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050"/>
            </a:lvl1pPr>
            <a:lvl2pPr>
              <a:defRPr sz="1050"/>
            </a:lvl2pPr>
            <a:lvl3pPr>
              <a:defRPr sz="1050"/>
            </a:lvl3pPr>
            <a:lvl4pPr>
              <a:defRPr sz="1050"/>
            </a:lvl4pPr>
            <a:lvl5pPr>
              <a:defRPr sz="1050"/>
            </a:lvl5pPr>
            <a:lvl6pPr>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050"/>
            </a:lvl1pPr>
            <a:lvl2pPr>
              <a:defRPr sz="1050"/>
            </a:lvl2pPr>
            <a:lvl3pPr>
              <a:defRPr sz="1050"/>
            </a:lvl3pPr>
            <a:lvl4pPr>
              <a:defRPr sz="1050"/>
            </a:lvl4pPr>
            <a:lvl5pPr>
              <a:defRPr sz="1050"/>
            </a:lvl5pPr>
            <a:lvl6pPr>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5" y="4076700"/>
            <a:ext cx="5286000" cy="2133000"/>
          </a:xfrm>
        </p:spPr>
        <p:txBody>
          <a:bodyPr/>
          <a:lstStyle>
            <a:lvl1pPr>
              <a:defRPr sz="1050"/>
            </a:lvl1pPr>
            <a:lvl2pPr>
              <a:defRPr sz="1050"/>
            </a:lvl2pPr>
            <a:lvl3pPr>
              <a:defRPr sz="1050"/>
            </a:lvl3pPr>
            <a:lvl4pPr>
              <a:defRPr sz="1050"/>
            </a:lvl4pPr>
            <a:lvl5pPr>
              <a:defRPr sz="1050"/>
            </a:lvl5pPr>
            <a:lvl6pPr>
              <a:defRPr/>
            </a:lvl6pPr>
            <a:lvl7pPr>
              <a:defRPr/>
            </a:lvl7pPr>
            <a:lvl8pPr>
              <a:defRPr sz="450"/>
            </a:lvl8pPr>
            <a:lvl9pPr>
              <a:defRPr sz="24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C052468-20E3-462E-9717-778AD7EDB57C}"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5" name="Text Placeholder 4">
            <a:extLst>
              <a:ext uri="{FF2B5EF4-FFF2-40B4-BE49-F238E27FC236}">
                <a16:creationId xmlns:a16="http://schemas.microsoft.com/office/drawing/2014/main" id="{45EA0AE0-35D1-469F-9CA2-47B0195CFAFE}"/>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600" i="1" dirty="0">
                <a:solidFill>
                  <a:schemeClr val="accent6"/>
                </a:solidFill>
              </a:defRPr>
            </a:lvl1pPr>
          </a:lstStyle>
          <a:p>
            <a:pPr marL="202495" lvl="0" indent="-202495" defTabSz="685800"/>
            <a:r>
              <a:rPr lang="en-GB"/>
              <a:t>Insert notes</a:t>
            </a:r>
          </a:p>
        </p:txBody>
      </p:sp>
    </p:spTree>
    <p:extLst>
      <p:ext uri="{BB962C8B-B14F-4D97-AF65-F5344CB8AC3E}">
        <p14:creationId xmlns:p14="http://schemas.microsoft.com/office/powerpoint/2010/main" val="20440538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050">
                <a:solidFill>
                  <a:schemeClr val="bg1"/>
                </a:solidFill>
              </a:defRPr>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72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498E64CA-2304-4E9B-B28D-1697778C23C7}"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5cd6002f-a44d-4a74-9c30-f14b301bd1f0&quot;}}" title="Form.PLogoChoice.PLogoInsertionWhite">
            <a:extLst>
              <a:ext uri="{FF2B5EF4-FFF2-40B4-BE49-F238E27FC236}">
                <a16:creationId xmlns:a16="http://schemas.microsoft.com/office/drawing/2014/main" id="{44E7C209-74AB-4928-B52F-1ED3C6CFC5A2}"/>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35207696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050">
                <a:solidFill>
                  <a:schemeClr val="bg1"/>
                </a:solidFill>
              </a:defRPr>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5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F39B2FB7-971C-405A-8476-7CE32CE49AEA}"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73ab4220-910a-45d7-9ebd-62ed5a896302&quot;}}" title="Form.PLogoChoice.PLogoInsertionWhite">
            <a:extLst>
              <a:ext uri="{FF2B5EF4-FFF2-40B4-BE49-F238E27FC236}">
                <a16:creationId xmlns:a16="http://schemas.microsoft.com/office/drawing/2014/main" id="{E3FA8B5C-51AE-4CBF-B3D5-16E4AB91FC04}"/>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2533570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050">
                <a:solidFill>
                  <a:schemeClr val="bg1"/>
                </a:solidFill>
              </a:defRPr>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2" y="648000"/>
            <a:ext cx="8652001" cy="5562000"/>
          </a:xfrm>
        </p:spPr>
        <p:txBody>
          <a:bodyPr anchor="ctr"/>
          <a:lstStyle>
            <a:lvl1pPr>
              <a:lnSpc>
                <a:spcPct val="120000"/>
              </a:lnSpc>
              <a:defRPr sz="72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C6CB76A8-40B8-40AD-BBF9-1424EB95FF77}"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f485d35e-b57e-4dfb-8ebc-8055fa293c3a&quot;}}" title="Form.PLogoChoice.PLogoInsertionWhite">
            <a:extLst>
              <a:ext uri="{FF2B5EF4-FFF2-40B4-BE49-F238E27FC236}">
                <a16:creationId xmlns:a16="http://schemas.microsoft.com/office/drawing/2014/main" id="{152DA9A1-3FA7-4BC8-9172-644A881C6F4B}"/>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25473931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050">
                <a:solidFill>
                  <a:schemeClr val="bg1"/>
                </a:solidFill>
              </a:defRPr>
            </a:lvl1pPr>
          </a:lstStyle>
          <a:p>
            <a:pPr marL="0" marR="0" lvl="0" indent="0" algn="ctr" defTabSz="685783"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5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GB"/>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2647E0DD-2C7D-48C1-B2F5-8560EDCA454D}" type="datetime3">
              <a:rPr lang="en-US" smtClean="0"/>
              <a:t>17 April 2026</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 name="Tagline" descr="{&quot;templafy&quot;:{&quot;id&quot;:&quot;357fc858-2926-4ccb-86bf-1d3b3fbf302c&quot;}}" title="Form.PLogoChoice.PLogoInsertionWhite">
            <a:extLst>
              <a:ext uri="{FF2B5EF4-FFF2-40B4-BE49-F238E27FC236}">
                <a16:creationId xmlns:a16="http://schemas.microsoft.com/office/drawing/2014/main" id="{B6E51AD8-D258-457C-9483-72C95483B714}"/>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602823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4002"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 name="Title 1"/>
          <p:cNvSpPr>
            <a:spLocks noGrp="1"/>
          </p:cNvSpPr>
          <p:nvPr>
            <p:ph type="title" hasCustomPrompt="1"/>
          </p:nvPr>
        </p:nvSpPr>
        <p:spPr>
          <a:xfrm>
            <a:off x="648002" y="648000"/>
            <a:ext cx="8652001" cy="3105000"/>
          </a:xfrm>
        </p:spPr>
        <p:txBody>
          <a:bodyPr anchor="b"/>
          <a:lstStyle>
            <a:lvl1pPr>
              <a:lnSpc>
                <a:spcPct val="100000"/>
              </a:lnSpc>
              <a:defRPr sz="3300" b="0"/>
            </a:lvl1pPr>
          </a:lstStyle>
          <a:p>
            <a:r>
              <a:rPr lang="en-GB" noProof="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050"/>
            </a:lvl1pPr>
            <a:lvl2pPr>
              <a:defRPr sz="1050"/>
            </a:lvl2pPr>
            <a:lvl3pPr>
              <a:defRPr sz="1050"/>
            </a:lvl3pPr>
            <a:lvl4pPr>
              <a:defRPr sz="1050"/>
            </a:lvl4pPr>
            <a:lvl5pPr>
              <a:defRPr sz="105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050"/>
            </a:lvl1pPr>
            <a:lvl2pPr>
              <a:defRPr sz="1050"/>
            </a:lvl2pPr>
            <a:lvl3pPr>
              <a:defRPr sz="1050"/>
            </a:lvl3pPr>
            <a:lvl4pPr>
              <a:defRPr sz="1050"/>
            </a:lvl4pPr>
            <a:lvl5pPr>
              <a:defRPr sz="105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050"/>
            </a:lvl1pPr>
            <a:lvl2pPr>
              <a:defRPr sz="1050"/>
            </a:lvl2pPr>
            <a:lvl3pPr>
              <a:defRPr sz="1050"/>
            </a:lvl3pPr>
            <a:lvl4pPr>
              <a:defRPr sz="1050"/>
            </a:lvl4pPr>
            <a:lvl5pPr>
              <a:defRPr sz="105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450" i="1">
                <a:solidFill>
                  <a:schemeClr val="tx2"/>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2D752CB-4586-4ED8-8DDC-9B3317D94291}"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0356046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3"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33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45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A05D3A1-1237-4E3F-81F8-A718F0128939}"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050"/>
            </a:lvl1pPr>
            <a:lvl2pPr>
              <a:defRPr sz="1050"/>
            </a:lvl2pPr>
            <a:lvl3pPr>
              <a:defRPr sz="1050"/>
            </a:lvl3pPr>
            <a:lvl4pPr>
              <a:defRPr sz="1050"/>
            </a:lvl4pPr>
            <a:lvl5pPr>
              <a:defRPr sz="105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97338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81329"/>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481329"/>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D08AA6BE-C031-46DF-91AD-ACBD1C94D749}" type="datetimeFigureOut">
              <a:rPr lang="en-US" smtClean="0"/>
              <a:pPr/>
              <a:t>4/1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D949D-EB89-4B16-9822-620BE1538A3C}" type="slidenum">
              <a:rPr lang="en-US" smtClean="0"/>
              <a:pPr/>
              <a:t>‹#›</a:t>
            </a:fld>
            <a:endParaRPr lang="en-US"/>
          </a:p>
        </p:txBody>
      </p:sp>
      <p:sp>
        <p:nvSpPr>
          <p:cNvPr id="8" name="Title 7"/>
          <p:cNvSpPr>
            <a:spLocks noGrp="1"/>
          </p:cNvSpPr>
          <p:nvPr>
            <p:ph type="title"/>
          </p:nvPr>
        </p:nvSpPr>
        <p:spPr/>
        <p:txBody>
          <a:bodyPr rtlCol="0"/>
          <a:lstStyle/>
          <a:p>
            <a:r>
              <a:rPr kumimoji="0" lang="en-US"/>
              <a:t>Click to edit Master title style</a:t>
            </a:r>
          </a:p>
        </p:txBody>
      </p:sp>
    </p:spTree>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6002"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3300" b="0"/>
            </a:lvl1pPr>
          </a:lstStyle>
          <a:p>
            <a:r>
              <a:rPr lang="en-GB" noProof="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050"/>
            </a:lvl1pPr>
            <a:lvl2pPr>
              <a:defRPr sz="1050"/>
            </a:lvl2pPr>
            <a:lvl3pPr>
              <a:defRPr sz="1050"/>
            </a:lvl3pPr>
            <a:lvl4pPr>
              <a:defRPr sz="1050"/>
            </a:lvl4pPr>
            <a:lvl5pPr>
              <a:defRPr sz="105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050"/>
            </a:lvl1pPr>
            <a:lvl2pPr>
              <a:defRPr sz="1050"/>
            </a:lvl2pPr>
            <a:lvl3pPr>
              <a:defRPr sz="1050"/>
            </a:lvl3pPr>
            <a:lvl4pPr>
              <a:defRPr sz="1050"/>
            </a:lvl4pPr>
            <a:lvl5pPr>
              <a:defRPr sz="105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45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DE1F3AB-868B-4293-B3DE-7B045891B11B}"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0888678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3"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33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45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D809F60-422C-4C04-9CED-A5F24267A70F}" type="datetime3">
              <a:rPr lang="en-US" smtClean="0"/>
              <a:t>17 April 2026</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050"/>
            </a:lvl1pPr>
            <a:lvl2pPr>
              <a:defRPr sz="1050"/>
            </a:lvl2pPr>
            <a:lvl3pPr>
              <a:defRPr sz="1050"/>
            </a:lvl3pPr>
            <a:lvl4pPr>
              <a:defRPr sz="1050"/>
            </a:lvl4pPr>
            <a:lvl5pPr>
              <a:defRPr sz="105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6002" y="648000"/>
            <a:ext cx="6408001" cy="31050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7003"/>
            <a:ext cx="4164000" cy="2133001"/>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050"/>
            </a:lvl1pPr>
            <a:lvl2pPr>
              <a:defRPr sz="1050"/>
            </a:lvl2pPr>
            <a:lvl3pPr>
              <a:defRPr sz="1050"/>
            </a:lvl3pPr>
            <a:lvl4pPr>
              <a:defRPr sz="1050"/>
            </a:lvl4pPr>
            <a:lvl5pPr>
              <a:defRPr sz="105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203462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5" name="Do not use"/>
          <p:cNvSpPr txBox="1"/>
          <p:nvPr userDrawn="1"/>
        </p:nvSpPr>
        <p:spPr bwMode="white">
          <a:xfrm>
            <a:off x="430216" y="656827"/>
            <a:ext cx="11356977"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3300" b="0" noProof="0">
                <a:solidFill>
                  <a:schemeClr val="bg1"/>
                </a:solidFill>
              </a:rPr>
              <a:t>If you see any </a:t>
            </a:r>
            <a:r>
              <a:rPr lang="en-GB" sz="3300" b="1" i="1" noProof="0">
                <a:solidFill>
                  <a:schemeClr val="bg1"/>
                </a:solidFill>
              </a:rPr>
              <a:t>layouts after this </a:t>
            </a:r>
            <a:r>
              <a:rPr lang="en-GB" sz="3300" b="0" i="0" noProof="0">
                <a:solidFill>
                  <a:schemeClr val="bg1"/>
                </a:solidFill>
              </a:rPr>
              <a:t>one</a:t>
            </a:r>
            <a:r>
              <a:rPr lang="en-GB" sz="3300" b="1" i="1" noProof="0">
                <a:solidFill>
                  <a:schemeClr val="bg1"/>
                </a:solidFill>
              </a:rPr>
              <a:t>,</a:t>
            </a:r>
            <a:br>
              <a:rPr lang="en-GB" sz="3300" b="0" i="0" noProof="0">
                <a:solidFill>
                  <a:schemeClr val="bg1"/>
                </a:solidFill>
              </a:rPr>
            </a:br>
            <a:r>
              <a:rPr lang="en-GB" sz="3300" b="0" noProof="0">
                <a:solidFill>
                  <a:schemeClr val="bg1"/>
                </a:solidFill>
              </a:rPr>
              <a:t>do not use them. These layouts </a:t>
            </a:r>
            <a:r>
              <a:rPr lang="en-GB" sz="3300" b="1" i="1" u="none" noProof="0">
                <a:solidFill>
                  <a:schemeClr val="bg1"/>
                </a:solidFill>
              </a:rPr>
              <a:t>are not </a:t>
            </a:r>
            <a:r>
              <a:rPr lang="en-GB" sz="3300" b="0" noProof="0">
                <a:solidFill>
                  <a:schemeClr val="bg1"/>
                </a:solidFill>
              </a:rPr>
              <a:t>part of our corporate template.</a:t>
            </a:r>
            <a:br>
              <a:rPr lang="en-GB" sz="2100" b="0" noProof="0">
                <a:solidFill>
                  <a:schemeClr val="bg1"/>
                </a:solidFill>
              </a:rPr>
            </a:br>
            <a:br>
              <a:rPr lang="en-GB" sz="2100" b="0" noProof="0">
                <a:solidFill>
                  <a:schemeClr val="bg1"/>
                </a:solidFill>
              </a:rPr>
            </a:br>
            <a:endParaRPr lang="en-GB" sz="21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5" y="3325227"/>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7"/>
            <a:ext cx="10152347" cy="1685077"/>
          </a:xfrm>
          <a:prstGeom prst="rect">
            <a:avLst/>
          </a:prstGeom>
        </p:spPr>
        <p:txBody>
          <a:bodyPr wrap="square">
            <a:spAutoFit/>
          </a:bodyPr>
          <a:lstStyle/>
          <a:p>
            <a:pPr algn="ctr"/>
            <a:r>
              <a:rPr lang="en-GB" sz="10350" b="1" i="1" noProof="0">
                <a:solidFill>
                  <a:schemeClr val="bg1"/>
                </a:solidFill>
              </a:rPr>
              <a:t>Do not use </a:t>
            </a:r>
            <a:endParaRPr lang="en-GB" sz="18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5" y="5186455"/>
            <a:ext cx="11356975"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Due to PowerPoint’s standard Copy/Paste functionality extra undesirable layouts can appear.</a:t>
            </a:r>
          </a:p>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Also notice: Layouts after this might contain potential confidential information.</a:t>
            </a:r>
            <a:br>
              <a:rPr lang="en-GB" sz="1350" b="0" noProof="0">
                <a:solidFill>
                  <a:schemeClr val="bg1"/>
                </a:solidFill>
              </a:rPr>
            </a:br>
            <a:endParaRPr lang="en-GB" sz="1350" b="0" noProof="0">
              <a:solidFill>
                <a:schemeClr val="bg1"/>
              </a:solidFill>
            </a:endParaRPr>
          </a:p>
        </p:txBody>
      </p:sp>
    </p:spTree>
    <p:extLst>
      <p:ext uri="{BB962C8B-B14F-4D97-AF65-F5344CB8AC3E}">
        <p14:creationId xmlns:p14="http://schemas.microsoft.com/office/powerpoint/2010/main" val="24462674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1296000"/>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10897200" cy="324000"/>
          </a:xfrm>
        </p:spPr>
        <p:txBody>
          <a:bodyPr anchor="b"/>
          <a:lstStyle>
            <a:lvl1pPr marL="0" indent="0">
              <a:buNone/>
              <a:defRPr sz="600" i="1">
                <a:solidFill>
                  <a:schemeClr val="tx2"/>
                </a:solidFill>
              </a:defRPr>
            </a:lvl1pPr>
          </a:lstStyle>
          <a:p>
            <a:pPr lvl="0"/>
            <a:r>
              <a:rPr lang="en-GB"/>
              <a:t>Insert notes</a:t>
            </a:r>
          </a:p>
        </p:txBody>
      </p:sp>
    </p:spTree>
    <p:extLst>
      <p:ext uri="{BB962C8B-B14F-4D97-AF65-F5344CB8AC3E}">
        <p14:creationId xmlns:p14="http://schemas.microsoft.com/office/powerpoint/2010/main" val="14615869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496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1296000"/>
          </a:xfrm>
        </p:spPr>
        <p:txBody>
          <a:bodyPr/>
          <a:lstStyle>
            <a:lvl1pPr>
              <a:defRPr sz="2550"/>
            </a:lvl1pPr>
          </a:lstStyle>
          <a:p>
            <a:r>
              <a:rPr lang="en-US" noProof="0"/>
              <a:t>Click to add title</a:t>
            </a:r>
            <a:endParaRPr lang="en-US"/>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892712" y="323850"/>
            <a:ext cx="4162139" cy="126000"/>
          </a:xfrm>
        </p:spPr>
        <p:txBody>
          <a:bodyPr/>
          <a:lstStyle/>
          <a:p>
            <a:endParaRPr lang="en-US"/>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9821461" cy="324000"/>
          </a:xfrm>
        </p:spPr>
        <p:txBody>
          <a:bodyPr anchor="b"/>
          <a:lstStyle>
            <a:lvl1pPr marL="0" indent="0">
              <a:spcBef>
                <a:spcPts val="0"/>
              </a:spcBef>
              <a:spcAft>
                <a:spcPts val="0"/>
              </a:spcAft>
              <a:buNone/>
              <a:defRPr sz="525" i="1">
                <a:solidFill>
                  <a:schemeClr val="tx2"/>
                </a:solidFill>
              </a:defRPr>
            </a:lvl1pPr>
          </a:lstStyle>
          <a:p>
            <a:pPr lvl="0"/>
            <a:r>
              <a:rPr lang="en-US"/>
              <a:t>Insert notes</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648001" y="323850"/>
            <a:ext cx="164025" cy="125850"/>
          </a:xfrm>
        </p:spPr>
        <p:txBody>
          <a:bodyPr/>
          <a:lstStyle>
            <a:lvl1pPr algn="l">
              <a:defRPr>
                <a:solidFill>
                  <a:schemeClr val="tx2"/>
                </a:solid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2256056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0B4626-A0A0-6F33-D2E9-FE363DAFFAA2}"/>
              </a:ext>
            </a:extLst>
          </p:cNvPr>
          <p:cNvSpPr/>
          <p:nvPr userDrawn="1"/>
        </p:nvSpPr>
        <p:spPr>
          <a:xfrm rot="10800000">
            <a:off x="8924004" y="0"/>
            <a:ext cx="3267997"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pic>
        <p:nvPicPr>
          <p:cNvPr id="15" name="Picture 14" descr="A black and white background with hexagons&#10;&#10;Description automatically generated">
            <a:extLst>
              <a:ext uri="{FF2B5EF4-FFF2-40B4-BE49-F238E27FC236}">
                <a16:creationId xmlns:a16="http://schemas.microsoft.com/office/drawing/2014/main" id="{14F18054-FABB-E252-0D6F-653E00F55A1E}"/>
              </a:ext>
            </a:extLst>
          </p:cNvPr>
          <p:cNvPicPr>
            <a:picLocks noChangeAspect="1"/>
          </p:cNvPicPr>
          <p:nvPr userDrawn="1"/>
        </p:nvPicPr>
        <p:blipFill>
          <a:blip r:embed="rId2" cstate="print">
            <a:alphaModFix amt="80000"/>
            <a:extLst>
              <a:ext uri="{28A0092B-C50C-407E-A947-70E740481C1C}">
                <a14:useLocalDpi xmlns:a14="http://schemas.microsoft.com/office/drawing/2010/main" val="0"/>
              </a:ext>
            </a:extLst>
          </a:blip>
          <a:srcRect l="717" t="1317" r="19333" b="-1"/>
          <a:stretch/>
        </p:blipFill>
        <p:spPr>
          <a:xfrm rot="3610313" flipH="1">
            <a:off x="7430170" y="550840"/>
            <a:ext cx="7481455" cy="4615268"/>
          </a:xfrm>
          <a:custGeom>
            <a:avLst/>
            <a:gdLst>
              <a:gd name="connsiteX0" fmla="*/ 7481455 w 7481455"/>
              <a:gd name="connsiteY0" fmla="*/ 3085054 h 4615268"/>
              <a:gd name="connsiteX1" fmla="*/ 5712617 w 7481455"/>
              <a:gd name="connsiteY1" fmla="*/ 0 h 4615268"/>
              <a:gd name="connsiteX2" fmla="*/ 0 w 7481455"/>
              <a:gd name="connsiteY2" fmla="*/ 3275371 h 4615268"/>
              <a:gd name="connsiteX3" fmla="*/ 0 w 7481455"/>
              <a:gd name="connsiteY3" fmla="*/ 3824254 h 4615268"/>
              <a:gd name="connsiteX4" fmla="*/ 453534 w 7481455"/>
              <a:gd name="connsiteY4" fmla="*/ 4615268 h 4615268"/>
              <a:gd name="connsiteX5" fmla="*/ 7481455 w 7481455"/>
              <a:gd name="connsiteY5" fmla="*/ 4615268 h 461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81455" h="4615268">
                <a:moveTo>
                  <a:pt x="7481455" y="3085054"/>
                </a:moveTo>
                <a:lnTo>
                  <a:pt x="5712617" y="0"/>
                </a:lnTo>
                <a:lnTo>
                  <a:pt x="0" y="3275371"/>
                </a:lnTo>
                <a:lnTo>
                  <a:pt x="0" y="3824254"/>
                </a:lnTo>
                <a:lnTo>
                  <a:pt x="453534" y="4615268"/>
                </a:lnTo>
                <a:lnTo>
                  <a:pt x="7481455" y="4615268"/>
                </a:lnTo>
                <a:close/>
              </a:path>
            </a:pathLst>
          </a:custGeom>
        </p:spPr>
      </p:pic>
      <p:sp>
        <p:nvSpPr>
          <p:cNvPr id="2" name="Title 1"/>
          <p:cNvSpPr>
            <a:spLocks noGrp="1"/>
          </p:cNvSpPr>
          <p:nvPr userDrawn="1">
            <p:ph type="ctrTitle" hasCustomPrompt="1"/>
          </p:nvPr>
        </p:nvSpPr>
        <p:spPr>
          <a:xfrm>
            <a:off x="648001" y="648000"/>
            <a:ext cx="7129403" cy="1296000"/>
          </a:xfrm>
        </p:spPr>
        <p:txBody>
          <a:bodyPr vert="horz" lIns="0" tIns="0" rIns="0" bIns="0" rtlCol="0" anchor="t" anchorCtr="0">
            <a:noAutofit/>
          </a:bodyPr>
          <a:lstStyle>
            <a:lvl1pPr>
              <a:defRPr lang="en-GB" sz="3000" b="1"/>
            </a:lvl1pPr>
          </a:lstStyle>
          <a:p>
            <a:pPr marL="0" lvl="0"/>
            <a:r>
              <a:rPr lang="en-GB"/>
              <a:t>Click to add title</a:t>
            </a:r>
          </a:p>
        </p:txBody>
      </p:sp>
    </p:spTree>
    <p:extLst>
      <p:ext uri="{BB962C8B-B14F-4D97-AF65-F5344CB8AC3E}">
        <p14:creationId xmlns:p14="http://schemas.microsoft.com/office/powerpoint/2010/main" val="37159462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2"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8000"/>
            <a:ext cx="8652000" cy="3104851"/>
          </a:xfrm>
        </p:spPr>
        <p:txBody>
          <a:bodyPr bIns="144000" anchor="b"/>
          <a:lstStyle>
            <a:lvl1pPr algn="l">
              <a:lnSpc>
                <a:spcPct val="100000"/>
              </a:lnSpc>
              <a:defRPr sz="4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8001" y="3753001"/>
            <a:ext cx="8652001" cy="1309148"/>
          </a:xfrm>
        </p:spPr>
        <p:txBody>
          <a:bodyPr/>
          <a:lstStyle>
            <a:lvl1pPr marL="0" indent="0">
              <a:buNone/>
              <a:defRPr>
                <a:solidFill>
                  <a:schemeClr val="bg1"/>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9" y="6055200"/>
            <a:ext cx="1920001" cy="154800"/>
          </a:xfrm>
        </p:spPr>
        <p:txBody>
          <a:bodyPr/>
          <a:lstStyle>
            <a:lvl1pPr>
              <a:defRPr sz="1000" b="1">
                <a:solidFill>
                  <a:schemeClr val="bg1"/>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33">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1"/>
            <a:ext cx="36000" cy="47449"/>
          </a:xfrm>
          <a:prstGeom prst="rect">
            <a:avLst/>
          </a:prstGeom>
          <a:noFill/>
        </p:spPr>
        <p:txBody>
          <a:bodyPr wrap="square" lIns="0" tIns="0" rIns="0" bIns="0" rtlCol="0">
            <a:spAutoFit/>
          </a:bodyPr>
          <a:lstStyle/>
          <a:p>
            <a:pPr algn="l">
              <a:lnSpc>
                <a:spcPct val="120000"/>
              </a:lnSpc>
            </a:pPr>
            <a:r>
              <a:rPr lang="en-GB" sz="133">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33">
                <a:noFill/>
              </a:defRPr>
            </a:lvl1pPr>
          </a:lstStyle>
          <a:p>
            <a:fld id="{23AA811B-2EBD-4900-905E-5BE206449611}" type="slidenum">
              <a:rPr lang="en-GB" smtClean="0"/>
              <a:pPr/>
              <a:t>‹#›</a:t>
            </a:fld>
            <a:endParaRPr lang="en-GB"/>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138738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648001" y="648000"/>
            <a:ext cx="8652001" cy="3104851"/>
          </a:xfrm>
        </p:spPr>
        <p:txBody>
          <a:bodyPr bIns="144000" anchor="b"/>
          <a:lstStyle>
            <a:lvl1pPr algn="l">
              <a:lnSpc>
                <a:spcPct val="100000"/>
              </a:lnSpc>
              <a:defRPr sz="4400">
                <a:solidFill>
                  <a:schemeClr val="bg1"/>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9" y="6053913"/>
            <a:ext cx="1920001" cy="154800"/>
          </a:xfrm>
        </p:spPr>
        <p:txBody>
          <a:bodyPr/>
          <a:lstStyle>
            <a:lvl1pPr>
              <a:defRPr sz="1000" b="1">
                <a:solidFill>
                  <a:schemeClr val="bg1"/>
                </a:solidFill>
              </a:defRPr>
            </a:lvl1pPr>
          </a:lstStyle>
          <a:p>
            <a:endParaRPr lang="en-GB"/>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80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8001" y="3753001"/>
            <a:ext cx="8652001" cy="1309148"/>
          </a:xfrm>
        </p:spPr>
        <p:txBody>
          <a:bodyPr/>
          <a:lstStyle>
            <a:lvl1pPr marL="0" indent="0">
              <a:buNone/>
              <a:defRPr>
                <a:solidFill>
                  <a:schemeClr val="bg1"/>
                </a:solidFill>
                <a:latin typeface="+mj-lt"/>
              </a:defRPr>
            </a:lvl1pPr>
          </a:lstStyle>
          <a:p>
            <a:pPr lvl="0"/>
            <a:r>
              <a:rPr lang="en-GB"/>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33">
                <a:noFill/>
              </a:defRPr>
            </a:lvl1pPr>
          </a:lstStyle>
          <a:p>
            <a:endParaRPr lang="en-GB"/>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33">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48380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1" y="648000"/>
            <a:ext cx="8652001" cy="3105000"/>
          </a:xfrm>
        </p:spPr>
        <p:txBody>
          <a:bodyPr bIns="144000" anchor="b"/>
          <a:lstStyle>
            <a:lvl1pPr algn="l">
              <a:lnSpc>
                <a:spcPct val="100000"/>
              </a:lnSpc>
              <a:defRPr sz="4400">
                <a:solidFill>
                  <a:schemeClr val="tx2"/>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8001" y="6055883"/>
            <a:ext cx="1920001" cy="154800"/>
          </a:xfrm>
        </p:spPr>
        <p:txBody>
          <a:bodyPr/>
          <a:lstStyle>
            <a:lvl1pPr>
              <a:defRPr sz="1000" b="1">
                <a:solidFill>
                  <a:schemeClr val="tx2"/>
                </a:solidFill>
              </a:defRPr>
            </a:lvl1pPr>
          </a:lstStyle>
          <a:p>
            <a:endParaRPr lang="en-GB"/>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8001" y="3753001"/>
            <a:ext cx="8652001" cy="1309148"/>
          </a:xfrm>
        </p:spPr>
        <p:txBody>
          <a:bodyPr/>
          <a:lstStyle>
            <a:lvl1pPr marL="0" indent="0">
              <a:buNone/>
              <a:defRPr>
                <a:solidFill>
                  <a:schemeClr val="tx2"/>
                </a:solidFill>
                <a:latin typeface="+mj-lt"/>
              </a:defRPr>
            </a:lvl1pPr>
          </a:lstStyle>
          <a:p>
            <a:pPr lvl="0"/>
            <a:r>
              <a:rPr lang="en-GB"/>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33">
                <a:noFill/>
              </a:defRPr>
            </a:lvl1pPr>
          </a:lstStyle>
          <a:p>
            <a:endParaRPr lang="en-GB"/>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33">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9095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nchor="ctr"/>
          <a:lstStyle>
            <a:lvl1pPr>
              <a:defRPr/>
            </a:lvl1pPr>
            <a:extLst/>
          </a:lstStyle>
          <a:p>
            <a:r>
              <a:rPr kumimoji="0" lang="en-US"/>
              <a:t>Click to edit Master title style</a:t>
            </a:r>
          </a:p>
        </p:txBody>
      </p:sp>
      <p:sp>
        <p:nvSpPr>
          <p:cNvPr id="3" name="Text Placeholder 2"/>
          <p:cNvSpPr>
            <a:spLocks noGrp="1"/>
          </p:cNvSpPr>
          <p:nvPr>
            <p:ph type="body" idx="1"/>
          </p:nvPr>
        </p:nvSpPr>
        <p:spPr>
          <a:xfrm>
            <a:off x="609600" y="5410200"/>
            <a:ext cx="5386917"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3369" y="5410200"/>
            <a:ext cx="5389033"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1444295"/>
            <a:ext cx="5386917"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193368" y="1444295"/>
            <a:ext cx="5389033"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D08AA6BE-C031-46DF-91AD-ACBD1C94D749}" type="datetimeFigureOut">
              <a:rPr lang="en-US" smtClean="0"/>
              <a:pPr/>
              <a:t>4/17/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ED949D-EB89-4B16-9822-620BE1538A3C}"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7" y="2163600"/>
            <a:ext cx="6408844" cy="2379600"/>
          </a:xfrm>
        </p:spPr>
        <p:txBody>
          <a:bodyPr anchor="ctr"/>
          <a:lstStyle>
            <a:lvl1pPr algn="l">
              <a:lnSpc>
                <a:spcPct val="100000"/>
              </a:lnSpc>
              <a:defRPr sz="4400">
                <a:solidFill>
                  <a:schemeClr val="tx2"/>
                </a:solidFill>
              </a:defRPr>
            </a:lvl1pPr>
          </a:lstStyle>
          <a:p>
            <a:r>
              <a:rPr lang="en-GB"/>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799507"/>
            <a:ext cx="1920000" cy="154800"/>
          </a:xfrm>
        </p:spPr>
        <p:txBody>
          <a:bodyPr anchor="b"/>
          <a:lstStyle>
            <a:lvl1pPr marL="0" indent="0">
              <a:buNone/>
              <a:defRPr sz="1000" b="1">
                <a:solidFill>
                  <a:schemeClr val="tx2"/>
                </a:solidFill>
              </a:defRPr>
            </a:lvl1pPr>
          </a:lstStyle>
          <a:p>
            <a:pPr lvl="0"/>
            <a:r>
              <a:rPr lang="en-GB"/>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5136001" y="6055200"/>
            <a:ext cx="1920001" cy="154800"/>
          </a:xfrm>
        </p:spPr>
        <p:txBody>
          <a:bodyPr/>
          <a:lstStyle>
            <a:lvl1pPr>
              <a:defRPr sz="1000" b="1">
                <a:solidFill>
                  <a:schemeClr val="tx2"/>
                </a:solidFill>
              </a:defRPr>
            </a:lvl1pPr>
          </a:lstStyle>
          <a:p>
            <a:endParaRPr lang="en-GB"/>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80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33">
                <a:noFill/>
              </a:defRPr>
            </a:lvl1pPr>
          </a:lstStyle>
          <a:p>
            <a:endParaRPr lang="en-GB"/>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33">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7454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a:t>01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2"/>
            <a:ext cx="4162127" cy="1107996"/>
          </a:xfrm>
          <a:prstGeom prst="rect">
            <a:avLst/>
          </a:prstGeom>
          <a:noFill/>
        </p:spPr>
        <p:txBody>
          <a:bodyPr wrap="square" lIns="0" tIns="0" rIns="0" bIns="0" rtlCol="0">
            <a:spAutoFit/>
          </a:bodyPr>
          <a:lstStyle/>
          <a:p>
            <a:pPr algn="r"/>
            <a:r>
              <a:rPr lang="en-GB" sz="720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80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348804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1"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a:t>01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800"/>
          </a:p>
        </p:txBody>
      </p:sp>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95505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anded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C2AD94F7-3470-4EDF-8360-C604BB358116}" type="datetime3">
              <a:rPr lang="en-US" smtClean="0"/>
              <a:t>17 April 2026</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80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1"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322686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1"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lnSpc>
                <a:spcPts val="2600"/>
              </a:lnSpc>
              <a:spcBef>
                <a:spcPts val="0"/>
              </a:spcBef>
              <a:spcAft>
                <a:spcPts val="0"/>
              </a:spcAft>
              <a:buFont typeface="Arial" panose="020B0604020202020204" pitchFamily="34" charset="0"/>
              <a:buChar char="​"/>
              <a:tabLst/>
              <a:defRPr>
                <a:solidFill>
                  <a:schemeClr val="tx2"/>
                </a:solidFill>
              </a:defRPr>
            </a:lvl1pPr>
            <a:lvl2pPr marL="269993" indent="-269993">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noProof="0"/>
              <a:t>Agenda point</a:t>
            </a:r>
          </a:p>
          <a:p>
            <a:pPr lvl="1"/>
            <a:r>
              <a:rPr lang="en-GB" noProof="0"/>
              <a:t>Second level</a:t>
            </a:r>
          </a:p>
          <a:p>
            <a:pPr lvl="2"/>
            <a:r>
              <a:rPr lang="en-GB" noProof="0"/>
              <a:t>Third level</a:t>
            </a:r>
          </a:p>
          <a:p>
            <a:pPr marL="269993" lvl="1" indent="-269993" algn="l" defTabSz="914377" rtl="0" eaLnBrk="1" latinLnBrk="0" hangingPunct="1">
              <a:lnSpc>
                <a:spcPts val="2600"/>
              </a:lnSpc>
              <a:spcBef>
                <a:spcPts val="0"/>
              </a:spcBef>
              <a:spcAft>
                <a:spcPts val="0"/>
              </a:spcAft>
              <a:buFont typeface="Arial" panose="020B0604020202020204" pitchFamily="34" charset="0"/>
              <a:buChar char="•"/>
            </a:pPr>
            <a:r>
              <a:rPr lang="en-GB" noProof="0"/>
              <a:t>Fourth level</a:t>
            </a:r>
          </a:p>
          <a:p>
            <a:pPr lvl="4"/>
            <a:r>
              <a:rPr lang="en-GB" noProof="0"/>
              <a:t>Fifth level</a:t>
            </a:r>
          </a:p>
          <a:p>
            <a:pPr marL="269993" lvl="1" indent="-269993" algn="l" defTabSz="914377" rtl="0" eaLnBrk="1" latinLnBrk="0" hangingPunct="1">
              <a:lnSpc>
                <a:spcPts val="2600"/>
              </a:lnSpc>
              <a:spcBef>
                <a:spcPts val="0"/>
              </a:spcBef>
              <a:spcAft>
                <a:spcPts val="0"/>
              </a:spcAft>
              <a:buFont typeface="Arial" panose="020B0604020202020204" pitchFamily="34" charset="0"/>
              <a:buChar char="•"/>
            </a:pPr>
            <a:r>
              <a:rPr lang="en-GB" noProof="0"/>
              <a:t>6</a:t>
            </a:r>
          </a:p>
          <a:p>
            <a:pPr lvl="6"/>
            <a:r>
              <a:rPr lang="en-GB" noProof="0"/>
              <a:t>7</a:t>
            </a:r>
          </a:p>
          <a:p>
            <a:pPr marL="269993" lvl="1" indent="-269993" algn="l" defTabSz="914377" rtl="0" eaLnBrk="1" latinLnBrk="0" hangingPunct="1">
              <a:lnSpc>
                <a:spcPts val="2600"/>
              </a:lnSpc>
              <a:spcBef>
                <a:spcPts val="0"/>
              </a:spcBef>
              <a:spcAft>
                <a:spcPts val="0"/>
              </a:spcAft>
              <a:buFont typeface="Arial" panose="020B0604020202020204" pitchFamily="34" charset="0"/>
              <a:buChar char="•"/>
            </a:pPr>
            <a:r>
              <a:rPr lang="en-GB" noProof="0"/>
              <a:t>8</a:t>
            </a:r>
          </a:p>
          <a:p>
            <a:pPr lvl="8"/>
            <a:r>
              <a:rPr lang="en-GB" noProof="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8001" y="648000"/>
            <a:ext cx="1920001" cy="5562000"/>
          </a:xfrm>
        </p:spPr>
        <p:txBody>
          <a:bodyPr anchor="ctr"/>
          <a:lstStyle>
            <a:lvl1pPr marL="0" indent="0">
              <a:lnSpc>
                <a:spcPts val="2600"/>
              </a:lnSpc>
              <a:spcBef>
                <a:spcPts val="0"/>
              </a:spcBef>
              <a:spcAft>
                <a:spcPts val="0"/>
              </a:spcAft>
              <a:buFont typeface="Arial" panose="020B0604020202020204" pitchFamily="34" charset="0"/>
              <a:buChar char="​"/>
              <a:defRPr sz="2000">
                <a:solidFill>
                  <a:schemeClr val="tx2"/>
                </a:solidFill>
              </a:defRPr>
            </a:lvl1pPr>
            <a:lvl2pPr marL="269993" indent="-269993">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a:t>09.00-09.30</a:t>
            </a:r>
          </a:p>
          <a:p>
            <a:pPr lvl="1"/>
            <a:r>
              <a:rPr lang="en-GB"/>
              <a:t>Second level</a:t>
            </a:r>
          </a:p>
          <a:p>
            <a:pPr lvl="2"/>
            <a:r>
              <a:rPr lang="en-GB"/>
              <a:t>Third level</a:t>
            </a:r>
          </a:p>
          <a:p>
            <a:pPr marL="269993" lvl="1" indent="-269993" algn="l" defTabSz="914377" rtl="0" eaLnBrk="1" latinLnBrk="0" hangingPunct="1">
              <a:lnSpc>
                <a:spcPts val="2600"/>
              </a:lnSpc>
              <a:spcBef>
                <a:spcPts val="0"/>
              </a:spcBef>
              <a:spcAft>
                <a:spcPts val="0"/>
              </a:spcAft>
              <a:buFont typeface="Arial" panose="020B0604020202020204" pitchFamily="34" charset="0"/>
              <a:buChar char="•"/>
            </a:pPr>
            <a:r>
              <a:rPr lang="en-GB"/>
              <a:t>Fourth level</a:t>
            </a:r>
          </a:p>
          <a:p>
            <a:pPr lvl="4"/>
            <a:r>
              <a:rPr lang="en-GB"/>
              <a:t>Fifth level</a:t>
            </a:r>
          </a:p>
          <a:p>
            <a:pPr marL="269993" lvl="1" indent="-269993" algn="l" defTabSz="914377" rtl="0" eaLnBrk="1" latinLnBrk="0" hangingPunct="1">
              <a:lnSpc>
                <a:spcPts val="2600"/>
              </a:lnSpc>
              <a:spcBef>
                <a:spcPts val="0"/>
              </a:spcBef>
              <a:spcAft>
                <a:spcPts val="0"/>
              </a:spcAft>
              <a:buFont typeface="Arial" panose="020B0604020202020204" pitchFamily="34" charset="0"/>
              <a:buChar char="•"/>
            </a:pPr>
            <a:r>
              <a:rPr lang="en-GB"/>
              <a:t>6</a:t>
            </a:r>
          </a:p>
          <a:p>
            <a:pPr lvl="6"/>
            <a:r>
              <a:rPr lang="en-GB"/>
              <a:t>7</a:t>
            </a:r>
          </a:p>
          <a:p>
            <a:pPr marL="269993" lvl="1" indent="-269993" algn="l" defTabSz="914377" rtl="0" eaLnBrk="1" latinLnBrk="0" hangingPunct="1">
              <a:lnSpc>
                <a:spcPts val="2600"/>
              </a:lnSpc>
              <a:spcBef>
                <a:spcPts val="0"/>
              </a:spcBef>
              <a:spcAft>
                <a:spcPts val="0"/>
              </a:spcAft>
              <a:buFont typeface="Arial" panose="020B0604020202020204" pitchFamily="34" charset="0"/>
              <a:buChar char="•"/>
            </a:pPr>
            <a:r>
              <a:rPr lang="en-GB"/>
              <a:t>8</a:t>
            </a:r>
          </a:p>
          <a:p>
            <a:pPr lvl="8"/>
            <a:r>
              <a:rPr lang="en-GB"/>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80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53843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648001" y="648000"/>
            <a:ext cx="8652001" cy="5562000"/>
          </a:xfrm>
        </p:spPr>
        <p:txBody>
          <a:bodyPr anchor="ctr"/>
          <a:lstStyle>
            <a:lvl1pPr algn="l">
              <a:defRPr sz="4400" b="1">
                <a:solidFill>
                  <a:schemeClr val="bg1"/>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80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303979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5" y="647701"/>
            <a:ext cx="8902835" cy="5562300"/>
          </a:xfrm>
        </p:spPr>
        <p:txBody>
          <a:bodyPr anchor="ctr">
            <a:noAutofit/>
          </a:bodyPr>
          <a:lstStyle>
            <a:lvl1pPr marL="0" indent="0">
              <a:buNone/>
              <a:defRPr sz="41299">
                <a:solidFill>
                  <a:srgbClr val="EBE8E5"/>
                </a:solidFill>
              </a:defRPr>
            </a:lvl1pPr>
          </a:lstStyle>
          <a:p>
            <a:pPr lvl="0"/>
            <a:r>
              <a:rPr lang="en-GB"/>
              <a:t>01</a:t>
            </a:r>
          </a:p>
        </p:txBody>
      </p:sp>
      <p:sp>
        <p:nvSpPr>
          <p:cNvPr id="2" name="Title 1"/>
          <p:cNvSpPr>
            <a:spLocks noGrp="1"/>
          </p:cNvSpPr>
          <p:nvPr>
            <p:ph type="ctrTitle" hasCustomPrompt="1"/>
          </p:nvPr>
        </p:nvSpPr>
        <p:spPr>
          <a:xfrm>
            <a:off x="1623602" y="648000"/>
            <a:ext cx="7675975" cy="5562000"/>
          </a:xfrm>
        </p:spPr>
        <p:txBody>
          <a:bodyPr anchor="ctr"/>
          <a:lstStyle>
            <a:lvl1pPr algn="l">
              <a:defRPr sz="4400" b="1">
                <a:solidFill>
                  <a:schemeClr val="tx2"/>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80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65887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1" y="647701"/>
            <a:ext cx="8976151" cy="5886300"/>
          </a:xfrm>
          <a:solidFill>
            <a:srgbClr val="D8EAF8"/>
          </a:solidFill>
        </p:spPr>
        <p:txBody>
          <a:bodyPr/>
          <a:lstStyle>
            <a:lvl1pPr marL="0" indent="0">
              <a:buNone/>
              <a:defRPr sz="133">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1" cy="5238000"/>
          </a:xfrm>
        </p:spPr>
        <p:txBody>
          <a:bodyPr anchor="ctr"/>
          <a:lstStyle>
            <a:lvl1pPr>
              <a:lnSpc>
                <a:spcPct val="100000"/>
              </a:lnSpc>
              <a:defRPr sz="44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6436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2" y="3429002"/>
            <a:ext cx="11543999" cy="3104999"/>
          </a:xfrm>
          <a:solidFill>
            <a:srgbClr val="D8EAF8"/>
          </a:solidFill>
        </p:spPr>
        <p:txBody>
          <a:bodyPr/>
          <a:lstStyle>
            <a:lvl1pPr marL="0" indent="0">
              <a:buNone/>
              <a:defRPr sz="133">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1" cy="5238000"/>
          </a:xfrm>
        </p:spPr>
        <p:txBody>
          <a:bodyPr anchor="ctr"/>
          <a:lstStyle>
            <a:lvl1pPr>
              <a:lnSpc>
                <a:spcPct val="100000"/>
              </a:lnSpc>
              <a:defRPr sz="44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GB"/>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GB"/>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5292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8001" y="648000"/>
            <a:ext cx="10896001" cy="324000"/>
          </a:xfrm>
        </p:spPr>
        <p:txBody>
          <a:bodyPr/>
          <a:lstStyle>
            <a:lvl1pPr marL="0" indent="0">
              <a:buNone/>
              <a:defRPr sz="1400" b="1" cap="all" baseline="0"/>
            </a:lvl1pPr>
          </a:lstStyle>
          <a:p>
            <a:pPr lvl="0"/>
            <a:r>
              <a:rPr lang="en-GB"/>
              <a:t>Click to add trumpet</a:t>
            </a:r>
          </a:p>
        </p:txBody>
      </p:sp>
    </p:spTree>
    <p:extLst>
      <p:ext uri="{BB962C8B-B14F-4D97-AF65-F5344CB8AC3E}">
        <p14:creationId xmlns:p14="http://schemas.microsoft.com/office/powerpoint/2010/main" val="223097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08AA6BE-C031-46DF-91AD-ACBD1C94D749}" type="datetimeFigureOut">
              <a:rPr lang="en-US" smtClean="0"/>
              <a:pPr/>
              <a:t>4/17/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ED949D-EB89-4B16-9822-620BE1538A3C}" type="slidenum">
              <a:rPr lang="en-US" smtClean="0"/>
              <a:pPr/>
              <a:t>‹#›</a:t>
            </a:fld>
            <a:endParaRPr lang="en-US"/>
          </a:p>
        </p:txBody>
      </p:sp>
      <p:sp>
        <p:nvSpPr>
          <p:cNvPr id="6" name="Title 5"/>
          <p:cNvSpPr>
            <a:spLocks noGrp="1"/>
          </p:cNvSpPr>
          <p:nvPr>
            <p:ph type="title"/>
          </p:nvPr>
        </p:nvSpPr>
        <p:spPr/>
        <p:txBody>
          <a:bodyPr rtlCol="0"/>
          <a:lstStyle/>
          <a:p>
            <a:r>
              <a:rPr kumimoji="0" lang="en-US"/>
              <a:t>Click to edit Master title style</a:t>
            </a:r>
          </a:p>
        </p:txBody>
      </p:sp>
    </p:spTree>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85157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1"/>
            <a:ext cx="6408000" cy="4266167"/>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1"/>
            <a:ext cx="4164000" cy="4266167"/>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410391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1" y="1944000"/>
            <a:ext cx="4163713"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2"/>
            <a:ext cx="4164000" cy="4265999"/>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65607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10356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1" y="647700"/>
            <a:ext cx="64083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5"/>
            <a:ext cx="1920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5"/>
            <a:ext cx="4164000" cy="4269435"/>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1"/>
            <a:ext cx="4488000" cy="5886299"/>
          </a:xfrm>
          <a:solidFill>
            <a:schemeClr val="bg1"/>
          </a:solidFill>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244497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5"/>
            <a:ext cx="4164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6001" y="647701"/>
            <a:ext cx="6732001" cy="5886300"/>
          </a:xfrm>
          <a:solidFill>
            <a:schemeClr val="bg1"/>
          </a:solidFill>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52108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5"/>
            <a:ext cx="4164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1"/>
            <a:ext cx="4164001" cy="5886300"/>
          </a:xfrm>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a:t>Insert picture text</a:t>
            </a:r>
          </a:p>
        </p:txBody>
      </p:sp>
    </p:spTree>
    <p:extLst>
      <p:ext uri="{BB962C8B-B14F-4D97-AF65-F5344CB8AC3E}">
        <p14:creationId xmlns:p14="http://schemas.microsoft.com/office/powerpoint/2010/main" val="17707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1" y="647700"/>
            <a:ext cx="6408300" cy="1292867"/>
          </a:xfrm>
        </p:spPr>
        <p:txBody>
          <a:bodyPr/>
          <a:lstStyle/>
          <a:p>
            <a:r>
              <a:rPr lang="en-GB" noProof="0"/>
              <a:t>Click to add title</a:t>
            </a:r>
          </a:p>
        </p:txBody>
      </p:sp>
      <p:sp>
        <p:nvSpPr>
          <p:cNvPr id="3" name="Content Placeholder 2"/>
          <p:cNvSpPr>
            <a:spLocks noGrp="1"/>
          </p:cNvSpPr>
          <p:nvPr>
            <p:ph idx="1" hasCustomPrompt="1"/>
          </p:nvPr>
        </p:nvSpPr>
        <p:spPr>
          <a:xfrm>
            <a:off x="648000" y="1940565"/>
            <a:ext cx="1920000" cy="4269435"/>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5"/>
            <a:ext cx="4164000" cy="4269435"/>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647701"/>
            <a:ext cx="1920000" cy="5886300"/>
          </a:xfrm>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a:t>Insert picture text</a:t>
            </a:r>
          </a:p>
        </p:txBody>
      </p:sp>
    </p:spTree>
    <p:extLst>
      <p:ext uri="{BB962C8B-B14F-4D97-AF65-F5344CB8AC3E}">
        <p14:creationId xmlns:p14="http://schemas.microsoft.com/office/powerpoint/2010/main" val="239627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2"/>
            <a:ext cx="5286220" cy="1651119"/>
          </a:xfrm>
        </p:spPr>
        <p:txBody>
          <a:bodyPr anchor="t"/>
          <a:lstStyle>
            <a:lvl1pPr>
              <a:lnSpc>
                <a:spcPct val="100000"/>
              </a:lnSpc>
              <a:defRPr sz="3600" b="0"/>
            </a:lvl1pPr>
          </a:lstStyle>
          <a:p>
            <a:r>
              <a:rPr lang="en-GB" noProof="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2" y="2488125"/>
            <a:ext cx="5286375" cy="3713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4" y="647701"/>
            <a:ext cx="5610217" cy="5886300"/>
          </a:xfrm>
          <a:solidFill>
            <a:srgbClr val="D8EAF8"/>
          </a:solidFill>
        </p:spPr>
        <p:txBody>
          <a:bodyPr/>
          <a:lstStyle>
            <a:lvl1pPr marL="0" indent="0">
              <a:buNone/>
              <a:defRPr sz="133">
                <a:no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1" y="968517"/>
            <a:ext cx="4965401" cy="5241483"/>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857671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1" y="647700"/>
            <a:ext cx="10895015" cy="1292867"/>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5" y="1944000"/>
            <a:ext cx="5286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02687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8AA6BE-C031-46DF-91AD-ACBD1C94D749}" type="datetimeFigureOut">
              <a:rPr lang="en-US" smtClean="0"/>
              <a:pPr/>
              <a:t>4/1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5ED949D-EB89-4B16-9822-620BE1538A3C}"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1" y="647700"/>
            <a:ext cx="10895015" cy="1292867"/>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22123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1" y="647700"/>
            <a:ext cx="10895015" cy="1292867"/>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12758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5"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49501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1" y="647700"/>
            <a:ext cx="4162425" cy="1292867"/>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75082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1" y="647700"/>
            <a:ext cx="4162425" cy="1292867"/>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55535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1" y="647700"/>
            <a:ext cx="4162425" cy="1292867"/>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586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8001"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90532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1" y="647700"/>
            <a:ext cx="10896601" cy="900000"/>
          </a:xfrm>
        </p:spPr>
        <p:txBody>
          <a:bodyPr/>
          <a:lstStyle>
            <a:lvl1pPr>
              <a:defRPr sz="2800" b="1"/>
            </a:lvl1pPr>
          </a:lstStyle>
          <a:p>
            <a:r>
              <a:rPr lang="en-GB" noProof="0"/>
              <a:t>Click to add title</a:t>
            </a:r>
          </a:p>
        </p:txBody>
      </p:sp>
      <p:sp>
        <p:nvSpPr>
          <p:cNvPr id="3" name="Content Placeholder 2"/>
          <p:cNvSpPr>
            <a:spLocks noGrp="1"/>
          </p:cNvSpPr>
          <p:nvPr>
            <p:ph idx="1" hasCustomPrompt="1"/>
          </p:nvPr>
        </p:nvSpPr>
        <p:spPr>
          <a:xfrm>
            <a:off x="648000" y="1547701"/>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1"/>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45930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418435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63518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219200" y="4876800"/>
            <a:ext cx="9975701"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a:t>Click to edit Master title style</a:t>
            </a:r>
          </a:p>
        </p:txBody>
      </p:sp>
      <p:sp>
        <p:nvSpPr>
          <p:cNvPr id="3" name="Text Placeholder 2"/>
          <p:cNvSpPr>
            <a:spLocks noGrp="1"/>
          </p:cNvSpPr>
          <p:nvPr>
            <p:ph type="body" idx="2"/>
          </p:nvPr>
        </p:nvSpPr>
        <p:spPr>
          <a:xfrm>
            <a:off x="5892800" y="5355102"/>
            <a:ext cx="5299456"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a:t>Click to edit Master text styles</a:t>
            </a:r>
          </a:p>
        </p:txBody>
      </p:sp>
      <p:sp>
        <p:nvSpPr>
          <p:cNvPr id="4" name="Content Placeholder 3"/>
          <p:cNvSpPr>
            <a:spLocks noGrp="1"/>
          </p:cNvSpPr>
          <p:nvPr>
            <p:ph sz="half" idx="1"/>
          </p:nvPr>
        </p:nvSpPr>
        <p:spPr>
          <a:xfrm>
            <a:off x="1219200" y="274320"/>
            <a:ext cx="9973056"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a:xfrm>
            <a:off x="8969376" y="6407944"/>
            <a:ext cx="2560320" cy="365760"/>
          </a:xfrm>
        </p:spPr>
        <p:txBody>
          <a:bodyPr/>
          <a:lstStyle/>
          <a:p>
            <a:fld id="{D08AA6BE-C031-46DF-91AD-ACBD1C94D749}" type="datetimeFigureOut">
              <a:rPr lang="en-US" smtClean="0"/>
              <a:pPr/>
              <a:t>4/1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D949D-EB89-4B16-9822-620BE1538A3C}"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5" y="2518126"/>
            <a:ext cx="2555453" cy="1821751"/>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800"/>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33">
                <a:noFill/>
              </a:defRPr>
            </a:lvl1pPr>
          </a:lstStyle>
          <a:p>
            <a:endParaRPr lang="en-GB" sz="133"/>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33">
                <a:noFill/>
              </a:defRPr>
            </a:lvl1pPr>
          </a:lstStyle>
          <a:p>
            <a:endParaRPr lang="en-GB" sz="133"/>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33">
                <a:noFill/>
              </a:defRPr>
            </a:lvl1pPr>
          </a:lstStyle>
          <a:p>
            <a:fld id="{23AA811B-2EBD-4900-905E-5BE206449611}" type="slidenum">
              <a:rPr lang="en-GB" smtClean="0"/>
              <a:pPr/>
              <a:t>‹#›</a:t>
            </a:fld>
            <a:endParaRPr lang="en-GB" sz="133"/>
          </a:p>
        </p:txBody>
      </p:sp>
    </p:spTree>
    <p:extLst>
      <p:ext uri="{BB962C8B-B14F-4D97-AF65-F5344CB8AC3E}">
        <p14:creationId xmlns:p14="http://schemas.microsoft.com/office/powerpoint/2010/main" val="108985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5" y="2518126"/>
            <a:ext cx="2555453" cy="1821751"/>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800"/>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33">
                <a:noFill/>
              </a:defRPr>
            </a:lvl1pPr>
          </a:lstStyle>
          <a:p>
            <a:endParaRPr lang="en-GB" sz="133"/>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33">
                <a:noFill/>
              </a:defRPr>
            </a:lvl1pPr>
          </a:lstStyle>
          <a:p>
            <a:endParaRPr lang="en-GB" sz="133"/>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33">
                <a:noFill/>
              </a:defRPr>
            </a:lvl1pPr>
          </a:lstStyle>
          <a:p>
            <a:fld id="{23AA811B-2EBD-4900-905E-5BE206449611}" type="slidenum">
              <a:rPr lang="en-GB" smtClean="0"/>
              <a:pPr/>
              <a:t>‹#›</a:t>
            </a:fld>
            <a:endParaRPr lang="en-GB" sz="133"/>
          </a:p>
        </p:txBody>
      </p:sp>
    </p:spTree>
    <p:extLst>
      <p:ext uri="{BB962C8B-B14F-4D97-AF65-F5344CB8AC3E}">
        <p14:creationId xmlns:p14="http://schemas.microsoft.com/office/powerpoint/2010/main" val="202805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81"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8"/>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377"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sz="900">
                <a:solidFill>
                  <a:srgbClr val="000000"/>
                </a:solidFill>
                <a:latin typeface="+mn-lt"/>
                <a:ea typeface="Arial" panose="020B0604020202020204" pitchFamily="34" charset="0"/>
                <a:cs typeface="Arial" panose="020B0604020202020204" pitchFamily="34" charset="0"/>
              </a:rPr>
              <a:t>Click on the arrow next to </a:t>
            </a:r>
            <a:r>
              <a:rPr lang="en-GB" sz="900" b="1">
                <a:solidFill>
                  <a:srgbClr val="000000"/>
                </a:solidFill>
                <a:latin typeface="+mn-lt"/>
                <a:ea typeface="Arial" panose="020B0604020202020204" pitchFamily="34" charset="0"/>
                <a:cs typeface="Arial" panose="020B0604020202020204" pitchFamily="34" charset="0"/>
              </a:rPr>
              <a:t>Layout</a:t>
            </a:r>
            <a:br>
              <a:rPr lang="en-GB" sz="900" b="1">
                <a:solidFill>
                  <a:srgbClr val="000000"/>
                </a:solidFill>
                <a:latin typeface="+mn-lt"/>
                <a:ea typeface="Arial" panose="020B0604020202020204" pitchFamily="34" charset="0"/>
                <a:cs typeface="Arial" panose="020B0604020202020204" pitchFamily="34" charset="0"/>
              </a:rPr>
            </a:br>
            <a:r>
              <a:rPr lang="en-GB" sz="90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377"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81" y="3322849"/>
            <a:ext cx="257143" cy="285715"/>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2" y="2599669"/>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3" y="3118827"/>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2" y="4313403"/>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2" y="5641557"/>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4" y="3928567"/>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7"/>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377" rtl="0" eaLnBrk="1" fontAlgn="auto" latinLnBrk="0" hangingPunct="1">
              <a:lnSpc>
                <a:spcPct val="100000"/>
              </a:lnSpc>
              <a:spcBef>
                <a:spcPts val="1200"/>
              </a:spcBef>
              <a:spcAft>
                <a:spcPts val="600"/>
              </a:spcAft>
              <a:buClrTx/>
              <a:buSzTx/>
              <a:buFontTx/>
              <a:buNone/>
              <a:tabLst/>
              <a:defRPr/>
            </a:pPr>
            <a:r>
              <a:rPr lang="en-GB" sz="160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SLIDES &amp; SLIDE ELEMENTS</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1266197" y="4635850"/>
            <a:ext cx="650851"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1" y="5077013"/>
            <a:ext cx="475428" cy="176763"/>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5"/>
            <a:ext cx="0" cy="0"/>
          </a:xfrm>
        </p:spPr>
        <p:txBody>
          <a:bodyPr/>
          <a:lstStyle>
            <a:lvl1pPr>
              <a:defRPr sz="133">
                <a:noFill/>
              </a:defRPr>
            </a:lvl1pPr>
          </a:lstStyle>
          <a:p>
            <a:endParaRPr lang="en-GB"/>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33">
                <a:noFill/>
              </a:defRPr>
            </a:lvl1pPr>
          </a:lstStyle>
          <a:p>
            <a:endParaRPr lang="en-GB"/>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33">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0086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bwMode="white">
          <a:xfrm>
            <a:off x="430214" y="656825"/>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5" y="3325227"/>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5"/>
            <a:ext cx="10152347"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5"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49922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2 placeholders">
    <p:spTree>
      <p:nvGrpSpPr>
        <p:cNvPr id="1" name=""/>
        <p:cNvGrpSpPr/>
        <p:nvPr/>
      </p:nvGrpSpPr>
      <p:grpSpPr>
        <a:xfrm>
          <a:off x="0" y="0"/>
          <a:ext cx="0" cy="0"/>
          <a:chOff x="0" y="0"/>
          <a:chExt cx="0" cy="0"/>
        </a:xfrm>
      </p:grpSpPr>
      <p:sp>
        <p:nvSpPr>
          <p:cNvPr id="18" name="Title 1"/>
          <p:cNvSpPr>
            <a:spLocks noGrp="1" noSelect="1" noRot="1" noMove="1" noResize="1" noEditPoints="1" noAdjustHandles="1" noChangeArrowheads="1" noChangeShapeType="1" noTextEdit="1"/>
          </p:cNvSpPr>
          <p:nvPr>
            <p:ph type="title"/>
            <p:custDataLst>
              <p:tags r:id="rId1"/>
            </p:custDataLst>
          </p:nvPr>
        </p:nvSpPr>
        <p:spPr>
          <a:xfrm>
            <a:off x="422400" y="687228"/>
            <a:ext cx="11347200" cy="521883"/>
          </a:xfrm>
        </p:spPr>
        <p:txBody>
          <a:bodyPr anchor="ctr" anchorCtr="0"/>
          <a:lstStyle>
            <a:lvl1pPr>
              <a:defRPr sz="3200"/>
            </a:lvl1pPr>
          </a:lstStyle>
          <a:p>
            <a:r>
              <a:rPr lang="en-US" noProof="0"/>
              <a:t>Click to edit Master title style</a:t>
            </a:r>
            <a:endParaRPr lang="en-GB" noProof="0"/>
          </a:p>
        </p:txBody>
      </p:sp>
      <p:sp>
        <p:nvSpPr>
          <p:cNvPr id="36" name="Content Placeholder 2"/>
          <p:cNvSpPr>
            <a:spLocks noGrp="1" noSelect="1" noRot="1" noMove="1" noResize="1" noEditPoints="1" noAdjustHandles="1" noChangeArrowheads="1" noChangeShapeType="1" noTextEdit="1"/>
          </p:cNvSpPr>
          <p:nvPr>
            <p:ph idx="1"/>
            <p:custDataLst>
              <p:tags r:id="rId2"/>
            </p:custDataLst>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3"/>
              </a:buClr>
              <a:defRPr>
                <a:solidFill>
                  <a:schemeClr val="accent2"/>
                </a:solidFill>
              </a:defRPr>
            </a:lvl3pPr>
            <a:lvl4pPr>
              <a:buClr>
                <a:srgbClr val="001423"/>
              </a:buClr>
              <a:defRPr>
                <a:solidFill>
                  <a:schemeClr val="accent2"/>
                </a:solidFill>
              </a:defRPr>
            </a:lvl4pPr>
            <a:lvl5pPr>
              <a:buClr>
                <a:srgbClr val="001423"/>
              </a:buClr>
              <a:defRPr>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Content Placeholder 2"/>
          <p:cNvSpPr>
            <a:spLocks noGrp="1" noSelect="1" noRot="1" noMove="1" noResize="1" noEditPoints="1" noAdjustHandles="1" noChangeArrowheads="1" noChangeShapeType="1" noTextEdit="1"/>
          </p:cNvSpPr>
          <p:nvPr>
            <p:ph idx="10"/>
            <p:custDataLst>
              <p:tags r:id="rId3"/>
            </p:custDataLst>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3"/>
              </a:buClr>
              <a:defRPr>
                <a:solidFill>
                  <a:schemeClr val="accent2"/>
                </a:solidFill>
              </a:defRPr>
            </a:lvl3pPr>
            <a:lvl4pPr>
              <a:buClr>
                <a:srgbClr val="001423"/>
              </a:buClr>
              <a:defRPr>
                <a:solidFill>
                  <a:schemeClr val="accent2"/>
                </a:solidFill>
              </a:defRPr>
            </a:lvl4pPr>
            <a:lvl5pPr>
              <a:buClr>
                <a:srgbClr val="001423"/>
              </a:buClr>
              <a:defRPr>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5563943" y="138544"/>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36" eaLnBrk="1" hangingPunct="1">
              <a:spcBef>
                <a:spcPct val="0"/>
              </a:spcBef>
              <a:defRPr sz="800" b="0">
                <a:solidFill>
                  <a:schemeClr val="accent3"/>
                </a:solidFill>
              </a:defRPr>
            </a:lvl1pPr>
          </a:lstStyle>
          <a:p>
            <a:endParaRPr lang="en-GB"/>
          </a:p>
        </p:txBody>
      </p:sp>
      <p:sp>
        <p:nvSpPr>
          <p:cNvPr id="11"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9582872" y="138544"/>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36" eaLnBrk="1" hangingPunct="1">
              <a:spcBef>
                <a:spcPct val="0"/>
              </a:spcBef>
              <a:defRPr sz="800" b="0">
                <a:solidFill>
                  <a:schemeClr val="accent3"/>
                </a:solidFill>
              </a:defRPr>
            </a:lvl1pPr>
          </a:lstStyle>
          <a:p>
            <a:fld id="{12CF0161-2D09-4043-A712-840E40E96D8E}" type="datetimeFigureOut">
              <a:rPr lang="en-GB" smtClean="0"/>
              <a:t>17/04/2026</a:t>
            </a:fld>
            <a:endParaRPr lang="en-GB"/>
          </a:p>
        </p:txBody>
      </p:sp>
      <p:sp>
        <p:nvSpPr>
          <p:cNvPr id="13"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11353096" y="140068"/>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59" eaLnBrk="1" hangingPunct="1">
              <a:defRPr sz="800" b="0" smtClean="0">
                <a:solidFill>
                  <a:schemeClr val="accent3"/>
                </a:solidFill>
              </a:defRPr>
            </a:lvl1pPr>
          </a:lstStyle>
          <a:p>
            <a:fld id="{48B0985D-C2D3-44FC-A4FB-341F9C762EA9}" type="slidenum">
              <a:rPr lang="en-GB" smtClean="0"/>
              <a:t>‹#›</a:t>
            </a:fld>
            <a:endParaRPr lang="en-GB"/>
          </a:p>
        </p:txBody>
      </p:sp>
    </p:spTree>
    <p:extLst>
      <p:ext uri="{BB962C8B-B14F-4D97-AF65-F5344CB8AC3E}">
        <p14:creationId xmlns:p14="http://schemas.microsoft.com/office/powerpoint/2010/main" val="6905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4.5">
    <p:spTree>
      <p:nvGrpSpPr>
        <p:cNvPr id="1" name=""/>
        <p:cNvGrpSpPr/>
        <p:nvPr/>
      </p:nvGrpSpPr>
      <p:grpSpPr>
        <a:xfrm>
          <a:off x="0" y="0"/>
          <a:ext cx="0" cy="0"/>
          <a:chOff x="0" y="0"/>
          <a:chExt cx="0" cy="0"/>
        </a:xfrm>
      </p:grpSpPr>
      <p:sp>
        <p:nvSpPr>
          <p:cNvPr id="2" name="Title 1"/>
          <p:cNvSpPr>
            <a:spLocks noGrp="1"/>
          </p:cNvSpPr>
          <p:nvPr>
            <p:ph type="title"/>
          </p:nvPr>
        </p:nvSpPr>
        <p:spPr>
          <a:xfrm>
            <a:off x="422400" y="686400"/>
            <a:ext cx="9993717" cy="523200"/>
          </a:xfrm>
        </p:spPr>
        <p:txBody>
          <a:bodyPr/>
          <a:lstStyle>
            <a:lvl1pPr>
              <a:defRPr b="1" i="0">
                <a:latin typeface="+mj-lt"/>
                <a:ea typeface="Apis" panose="020B0504010101010104" pitchFamily="34" charset="0"/>
                <a:cs typeface="Apis" panose="020B0504010101010104" pitchFamily="34" charset="0"/>
              </a:defRPr>
            </a:lvl1pPr>
          </a:lstStyle>
          <a:p>
            <a:r>
              <a:rPr lang="en-US"/>
              <a:t>Click to edit Master title style</a:t>
            </a:r>
            <a:endParaRPr lang="en-GB"/>
          </a:p>
        </p:txBody>
      </p:sp>
      <p:sp>
        <p:nvSpPr>
          <p:cNvPr id="10" name="Rectangle 9">
            <a:extLst>
              <a:ext uri="{FF2B5EF4-FFF2-40B4-BE49-F238E27FC236}">
                <a16:creationId xmlns:a16="http://schemas.microsoft.com/office/drawing/2014/main" id="{4093DCE2-924E-9275-5590-7F608B2995C1}"/>
              </a:ext>
            </a:extLst>
          </p:cNvPr>
          <p:cNvSpPr/>
          <p:nvPr userDrawn="1"/>
        </p:nvSpPr>
        <p:spPr>
          <a:xfrm rot="16200000">
            <a:off x="6025967" y="691965"/>
            <a:ext cx="140068" cy="1219200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2400"/>
          </a:p>
        </p:txBody>
      </p:sp>
      <p:sp>
        <p:nvSpPr>
          <p:cNvPr id="11" name="Rectangle 10">
            <a:extLst>
              <a:ext uri="{FF2B5EF4-FFF2-40B4-BE49-F238E27FC236}">
                <a16:creationId xmlns:a16="http://schemas.microsoft.com/office/drawing/2014/main" id="{E1ABC368-A780-D390-6854-7722E6E12961}"/>
              </a:ext>
            </a:extLst>
          </p:cNvPr>
          <p:cNvSpPr/>
          <p:nvPr userDrawn="1"/>
        </p:nvSpPr>
        <p:spPr>
          <a:xfrm rot="16200000">
            <a:off x="5960692" y="486619"/>
            <a:ext cx="270624" cy="12192000"/>
          </a:xfrm>
          <a:prstGeom prst="rect">
            <a:avLst/>
          </a:prstGeom>
          <a:solidFill>
            <a:schemeClr val="accent5">
              <a:alpha val="50448"/>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2400"/>
          </a:p>
        </p:txBody>
      </p:sp>
      <p:sp>
        <p:nvSpPr>
          <p:cNvPr id="14" name="Rectangle 13">
            <a:extLst>
              <a:ext uri="{FF2B5EF4-FFF2-40B4-BE49-F238E27FC236}">
                <a16:creationId xmlns:a16="http://schemas.microsoft.com/office/drawing/2014/main" id="{6CA5416D-986D-89F5-89E3-30E58A25EAAB}"/>
              </a:ext>
            </a:extLst>
          </p:cNvPr>
          <p:cNvSpPr/>
          <p:nvPr userDrawn="1"/>
        </p:nvSpPr>
        <p:spPr>
          <a:xfrm rot="16200000">
            <a:off x="5897849" y="153154"/>
            <a:ext cx="396307" cy="12191999"/>
          </a:xfrm>
          <a:prstGeom prst="rect">
            <a:avLst/>
          </a:prstGeom>
          <a:solidFill>
            <a:schemeClr val="accent5">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2400"/>
          </a:p>
        </p:txBody>
      </p:sp>
      <p:sp>
        <p:nvSpPr>
          <p:cNvPr id="17" name="Text Placeholder 2">
            <a:extLst>
              <a:ext uri="{FF2B5EF4-FFF2-40B4-BE49-F238E27FC236}">
                <a16:creationId xmlns:a16="http://schemas.microsoft.com/office/drawing/2014/main" id="{248C7299-6122-8730-49ED-4FFDDBE91540}"/>
              </a:ext>
            </a:extLst>
          </p:cNvPr>
          <p:cNvSpPr>
            <a:spLocks noGrp="1"/>
          </p:cNvSpPr>
          <p:nvPr>
            <p:ph type="body" sz="quarter" idx="14" hasCustomPrompt="1"/>
          </p:nvPr>
        </p:nvSpPr>
        <p:spPr>
          <a:xfrm>
            <a:off x="423333" y="5629781"/>
            <a:ext cx="11366400" cy="395817"/>
          </a:xfrm>
        </p:spPr>
        <p:txBody>
          <a:bodyPr anchor="b" anchorCtr="0">
            <a:noAutofit/>
          </a:bodyPr>
          <a:lstStyle>
            <a:lvl1pPr marL="0" indent="0">
              <a:buNone/>
              <a:defRPr sz="933">
                <a:solidFill>
                  <a:schemeClr val="bg2"/>
                </a:solidFill>
              </a:defRPr>
            </a:lvl1pPr>
          </a:lstStyle>
          <a:p>
            <a:pPr lvl="0"/>
            <a:r>
              <a:rPr lang="en-GB"/>
              <a:t>Footer </a:t>
            </a:r>
          </a:p>
        </p:txBody>
      </p:sp>
    </p:spTree>
    <p:extLst>
      <p:ext uri="{BB962C8B-B14F-4D97-AF65-F5344CB8AC3E}">
        <p14:creationId xmlns:p14="http://schemas.microsoft.com/office/powerpoint/2010/main" val="190877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422401"/>
            <a:ext cx="11347200" cy="4268283"/>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423584" y="366185"/>
            <a:ext cx="11347200" cy="521883"/>
          </a:xfrm>
        </p:spPr>
        <p:txBody>
          <a:bodyPr anchor="ctr" anchorCtr="0"/>
          <a:lstStyle>
            <a:lvl1pPr>
              <a:defRPr sz="3200"/>
            </a:lvl1pPr>
          </a:lstStyle>
          <a:p>
            <a:r>
              <a:rPr lang="en-US" noProof="0"/>
              <a:t>Click to edit Master title style</a:t>
            </a:r>
            <a:endParaRPr lang="en-GB" noProof="0"/>
          </a:p>
        </p:txBody>
      </p:sp>
      <p:sp>
        <p:nvSpPr>
          <p:cNvPr id="3" name="Content Placeholder 2"/>
          <p:cNvSpPr>
            <a:spLocks noGrp="1"/>
          </p:cNvSpPr>
          <p:nvPr>
            <p:ph sz="quarter" idx="10"/>
          </p:nvPr>
        </p:nvSpPr>
        <p:spPr>
          <a:xfrm>
            <a:off x="421222" y="6381751"/>
            <a:ext cx="11349567" cy="319616"/>
          </a:xfrm>
        </p:spPr>
        <p:txBody>
          <a:bodyPr anchor="b">
            <a:noAutofit/>
          </a:bodyPr>
          <a:lstStyle>
            <a:lvl1pPr marL="0" indent="0">
              <a:buNone/>
              <a:defRPr sz="933">
                <a:solidFill>
                  <a:srgbClr val="001965"/>
                </a:solidFill>
              </a:defRPr>
            </a:lvl1pPr>
            <a:lvl2pPr marL="353450" indent="0">
              <a:buNone/>
              <a:defRPr sz="933">
                <a:solidFill>
                  <a:srgbClr val="82786F"/>
                </a:solidFill>
              </a:defRPr>
            </a:lvl2pPr>
            <a:lvl3pPr marL="715361" indent="0">
              <a:buNone/>
              <a:defRPr sz="933">
                <a:solidFill>
                  <a:srgbClr val="82786F"/>
                </a:solidFill>
              </a:defRPr>
            </a:lvl3pPr>
            <a:lvl4pPr marL="1077277" indent="0">
              <a:buNone/>
              <a:defRPr sz="933">
                <a:solidFill>
                  <a:srgbClr val="82786F"/>
                </a:solidFill>
              </a:defRPr>
            </a:lvl4pPr>
            <a:lvl5pPr marL="1430723" indent="0">
              <a:buNone/>
              <a:defRPr sz="933">
                <a:solidFill>
                  <a:srgbClr val="82786F"/>
                </a:solidFill>
              </a:defRPr>
            </a:lvl5pPr>
          </a:lstStyle>
          <a:p>
            <a:pPr lvl="0"/>
            <a:r>
              <a:rPr lang="en-US"/>
              <a:t>Click to edit Master text styles</a:t>
            </a:r>
          </a:p>
        </p:txBody>
      </p:sp>
    </p:spTree>
    <p:extLst>
      <p:ext uri="{BB962C8B-B14F-4D97-AF65-F5344CB8AC3E}">
        <p14:creationId xmlns:p14="http://schemas.microsoft.com/office/powerpoint/2010/main" val="405613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dirty="0"/>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264927829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425095" y="1749631"/>
            <a:ext cx="5466201"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29" name="Picture Placeholder 8"/>
          <p:cNvSpPr>
            <a:spLocks noGrp="1"/>
          </p:cNvSpPr>
          <p:nvPr>
            <p:ph type="pic" sz="quarter" idx="27" hasCustomPrompt="1"/>
          </p:nvPr>
        </p:nvSpPr>
        <p:spPr>
          <a:xfrm>
            <a:off x="9249600" y="1749632"/>
            <a:ext cx="2520000" cy="3941051"/>
          </a:xfrm>
          <a:prstGeom prst="roundRect">
            <a:avLst>
              <a:gd name="adj" fmla="val 5068"/>
            </a:avLst>
          </a:prstGeom>
          <a:solidFill>
            <a:schemeClr val="accent6"/>
          </a:solidFill>
        </p:spPr>
        <p:txBody>
          <a:bodyPr rIns="0" anchor="ctr" anchorCtr="0">
            <a:normAutofit/>
          </a:bodyPr>
          <a:lstStyle>
            <a:lvl1pPr marL="0" indent="0" algn="ctr">
              <a:buNone/>
              <a:defRPr sz="2000" baseline="0">
                <a:solidFill>
                  <a:schemeClr val="bg1"/>
                </a:solidFill>
              </a:defRPr>
            </a:lvl1pPr>
          </a:lstStyle>
          <a:p>
            <a:pPr algn="ctr"/>
            <a:r>
              <a:rPr lang="en-GB" dirty="0"/>
              <a:t>Please insert host image here.</a:t>
            </a:r>
          </a:p>
        </p:txBody>
      </p:sp>
      <p:sp>
        <p:nvSpPr>
          <p:cNvPr id="30" name="Picture Placeholder 8"/>
          <p:cNvSpPr>
            <a:spLocks noGrp="1"/>
          </p:cNvSpPr>
          <p:nvPr>
            <p:ph type="pic" sz="quarter" idx="28" hasCustomPrompt="1"/>
          </p:nvPr>
        </p:nvSpPr>
        <p:spPr>
          <a:xfrm>
            <a:off x="6302499" y="1749629"/>
            <a:ext cx="2520000" cy="3941051"/>
          </a:xfrm>
          <a:prstGeom prst="roundRect">
            <a:avLst>
              <a:gd name="adj" fmla="val 5068"/>
            </a:avLst>
          </a:prstGeom>
          <a:solidFill>
            <a:schemeClr val="accent6"/>
          </a:solidFill>
        </p:spPr>
        <p:txBody>
          <a:bodyPr rIns="0" anchor="ctr" anchorCtr="0">
            <a:normAutofit/>
          </a:bodyPr>
          <a:lstStyle>
            <a:lvl1pPr marL="0" indent="0" algn="ctr">
              <a:buNone/>
              <a:defRPr sz="2000" baseline="0">
                <a:solidFill>
                  <a:schemeClr val="bg1"/>
                </a:solidFill>
              </a:defRPr>
            </a:lvl1pPr>
          </a:lstStyle>
          <a:p>
            <a:pPr algn="ctr"/>
            <a:r>
              <a:rPr lang="en-GB" dirty="0"/>
              <a:t>Please insert host image here.</a:t>
            </a:r>
          </a:p>
        </p:txBody>
      </p:sp>
      <p:sp>
        <p:nvSpPr>
          <p:cNvPr id="12" name="Text Placeholder 2"/>
          <p:cNvSpPr>
            <a:spLocks noGrp="1"/>
          </p:cNvSpPr>
          <p:nvPr>
            <p:ph type="body" sz="quarter" idx="10" hasCustomPrompt="1"/>
          </p:nvPr>
        </p:nvSpPr>
        <p:spPr>
          <a:xfrm>
            <a:off x="423334" y="5877637"/>
            <a:ext cx="10303807" cy="582431"/>
          </a:xfrm>
        </p:spPr>
        <p:txBody>
          <a:bodyPr anchor="b">
            <a:noAutofit/>
          </a:bodyPr>
          <a:lstStyle>
            <a:lvl1pPr marL="0" indent="0">
              <a:buNone/>
              <a:defRPr sz="1067">
                <a:solidFill>
                  <a:srgbClr val="AEA79F"/>
                </a:solidFill>
              </a:defRPr>
            </a:lvl1pPr>
            <a:lvl2pPr>
              <a:defRPr sz="1067">
                <a:solidFill>
                  <a:srgbClr val="82786F"/>
                </a:solidFill>
              </a:defRPr>
            </a:lvl2pPr>
            <a:lvl3pPr>
              <a:defRPr sz="1067">
                <a:solidFill>
                  <a:srgbClr val="82786F"/>
                </a:solidFill>
              </a:defRPr>
            </a:lvl3pPr>
            <a:lvl4pPr>
              <a:defRPr sz="1067">
                <a:solidFill>
                  <a:srgbClr val="82786F"/>
                </a:solidFill>
              </a:defRPr>
            </a:lvl4pPr>
            <a:lvl5pPr>
              <a:defRPr sz="1067">
                <a:solidFill>
                  <a:srgbClr val="82786F"/>
                </a:solidFill>
              </a:defRPr>
            </a:lvl5pPr>
          </a:lstStyle>
          <a:p>
            <a:pPr lvl="0"/>
            <a:r>
              <a:rPr lang="en-US" dirty="0"/>
              <a:t>Reference</a:t>
            </a:r>
          </a:p>
        </p:txBody>
      </p:sp>
      <p:sp>
        <p:nvSpPr>
          <p:cNvPr id="9" name="Rectangle 5"/>
          <p:cNvSpPr>
            <a:spLocks noGrp="1" noChangeArrowheads="1"/>
          </p:cNvSpPr>
          <p:nvPr>
            <p:ph type="ftr" sz="quarter" idx="3"/>
          </p:nvPr>
        </p:nvSpPr>
        <p:spPr bwMode="auto">
          <a:xfrm>
            <a:off x="7902450" y="125268"/>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dirty="0"/>
              <a:t>Header</a:t>
            </a:r>
          </a:p>
        </p:txBody>
      </p:sp>
    </p:spTree>
    <p:extLst>
      <p:ext uri="{BB962C8B-B14F-4D97-AF65-F5344CB8AC3E}">
        <p14:creationId xmlns:p14="http://schemas.microsoft.com/office/powerpoint/2010/main" val="3567598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043035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521643" y="5443402"/>
            <a:ext cx="95504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a:t>Click to edit Master text styles</a:t>
            </a:r>
          </a:p>
        </p:txBody>
      </p:sp>
      <p:sp>
        <p:nvSpPr>
          <p:cNvPr id="3" name="Picture Placeholder 2"/>
          <p:cNvSpPr>
            <a:spLocks noGrp="1"/>
          </p:cNvSpPr>
          <p:nvPr>
            <p:ph type="pic" idx="1"/>
          </p:nvPr>
        </p:nvSpPr>
        <p:spPr>
          <a:xfrm>
            <a:off x="304800" y="189968"/>
            <a:ext cx="115824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dirty="0"/>
              <a:t>Click icon to add picture</a:t>
            </a:r>
          </a:p>
        </p:txBody>
      </p:sp>
      <p:sp>
        <p:nvSpPr>
          <p:cNvPr id="5" name="Date Placeholder 4"/>
          <p:cNvSpPr>
            <a:spLocks noGrp="1"/>
          </p:cNvSpPr>
          <p:nvPr>
            <p:ph type="dt" sz="half" idx="10"/>
          </p:nvPr>
        </p:nvSpPr>
        <p:spPr/>
        <p:txBody>
          <a:bodyPr/>
          <a:lstStyle>
            <a:lvl1pPr>
              <a:defRPr>
                <a:solidFill>
                  <a:schemeClr val="tx1"/>
                </a:solidFill>
              </a:defRPr>
            </a:lvl1pPr>
            <a:extLst/>
          </a:lstStyle>
          <a:p>
            <a:fld id="{D08AA6BE-C031-46DF-91AD-ACBD1C94D749}" type="datetimeFigureOut">
              <a:rPr lang="en-US" smtClean="0"/>
              <a:pPr/>
              <a:t>4/17/2026</a:t>
            </a:fld>
            <a:endParaRPr lang="en-US"/>
          </a:p>
        </p:txBody>
      </p:sp>
      <p:sp>
        <p:nvSpPr>
          <p:cNvPr id="6" name="Footer Placeholder 5"/>
          <p:cNvSpPr>
            <a:spLocks noGrp="1"/>
          </p:cNvSpPr>
          <p:nvPr>
            <p:ph type="ftr" sz="quarter" idx="11"/>
          </p:nvPr>
        </p:nvSpPr>
        <p:spPr>
          <a:xfrm>
            <a:off x="5840097" y="6407945"/>
            <a:ext cx="3134241" cy="365125"/>
          </a:xfrm>
        </p:spPr>
        <p:txBody>
          <a:bodyPr/>
          <a:lstStyle>
            <a:lvl1pPr>
              <a:defRPr>
                <a:solidFill>
                  <a:schemeClr val="tx1"/>
                </a:solidFill>
              </a:defRPr>
            </a:lvl1pPr>
            <a:extLst/>
          </a:lstStyle>
          <a:p>
            <a:endParaRPr lang="en-US"/>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fld id="{E5ED949D-EB89-4B16-9822-620BE1538A3C}" type="slidenum">
              <a:rPr lang="en-US" smtClean="0"/>
              <a:pPr/>
              <a:t>‹#›</a:t>
            </a:fld>
            <a:endParaRPr lang="en-US"/>
          </a:p>
        </p:txBody>
      </p:sp>
      <p:sp>
        <p:nvSpPr>
          <p:cNvPr id="2" name="Title 1"/>
          <p:cNvSpPr>
            <a:spLocks noGrp="1"/>
          </p:cNvSpPr>
          <p:nvPr>
            <p:ph type="title"/>
          </p:nvPr>
        </p:nvSpPr>
        <p:spPr>
          <a:xfrm>
            <a:off x="304800" y="4865122"/>
            <a:ext cx="10767243"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a:t>Click to edit Master title style</a:t>
            </a:r>
          </a:p>
        </p:txBody>
      </p:sp>
      <p:sp>
        <p:nvSpPr>
          <p:cNvPr id="8" name="Freeform 7"/>
          <p:cNvSpPr>
            <a:spLocks/>
          </p:cNvSpPr>
          <p:nvPr/>
        </p:nvSpPr>
        <p:spPr bwMode="auto">
          <a:xfrm>
            <a:off x="955249" y="5001994"/>
            <a:ext cx="5069337" cy="1443111"/>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329" y="347"/>
                </a:moveTo>
                <a:lnTo>
                  <a:pt x="7156" y="682"/>
                </a:lnTo>
                <a:lnTo>
                  <a:pt x="5229" y="682"/>
                </a:lnTo>
                <a:lnTo>
                  <a:pt x="-328" y="345"/>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9" name="Freeform 8"/>
          <p:cNvSpPr>
            <a:spLocks/>
          </p:cNvSpPr>
          <p:nvPr/>
        </p:nvSpPr>
        <p:spPr bwMode="auto">
          <a:xfrm>
            <a:off x="-71414" y="5785023"/>
            <a:ext cx="506933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817" y="97"/>
                </a:moveTo>
                <a:lnTo>
                  <a:pt x="6408" y="682"/>
                </a:lnTo>
                <a:lnTo>
                  <a:pt x="5232" y="685"/>
                </a:lnTo>
                <a:lnTo>
                  <a:pt x="829" y="101"/>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0" name="Right Triangle 9"/>
          <p:cNvSpPr>
            <a:spLocks/>
          </p:cNvSpPr>
          <p:nvPr/>
        </p:nvSpPr>
        <p:spPr bwMode="auto">
          <a:xfrm>
            <a:off x="-8056" y="5791253"/>
            <a:ext cx="4536419"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eaLnBrk="1" latinLnBrk="0" hangingPunct="1"/>
            <a:endParaRPr kumimoji="0" lang="en-US" sz="1800"/>
          </a:p>
        </p:txBody>
      </p:sp>
      <p:cxnSp>
        <p:nvCxnSpPr>
          <p:cNvPr id="11" name="Straight Connector 10"/>
          <p:cNvCxnSpPr/>
          <p:nvPr/>
        </p:nvCxnSpPr>
        <p:spPr>
          <a:xfrm>
            <a:off x="-12316" y="5787739"/>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11552149"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sz="1800"/>
          </a:p>
        </p:txBody>
      </p:sp>
      <p:sp>
        <p:nvSpPr>
          <p:cNvPr id="13" name="Chevron 12"/>
          <p:cNvSpPr/>
          <p:nvPr/>
        </p:nvSpPr>
        <p:spPr>
          <a:xfrm>
            <a:off x="11303595"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sz="1800"/>
          </a:p>
        </p:txBody>
      </p:sp>
    </p:spTree>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A. Content_fixe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8" y="6210000"/>
            <a:ext cx="10899337" cy="324000"/>
          </a:xfrm>
        </p:spPr>
        <p:txBody>
          <a:bodyPr anchor="b"/>
          <a:lstStyle>
            <a:lvl1pPr marL="0" indent="0">
              <a:spcBef>
                <a:spcPts val="0"/>
              </a:spcBef>
              <a:spcAft>
                <a:spcPts val="0"/>
              </a:spcAft>
              <a:buNone/>
              <a:defRPr sz="700" i="1">
                <a:solidFill>
                  <a:schemeClr val="tx2"/>
                </a:solidFill>
              </a:defRPr>
            </a:lvl1pPr>
          </a:lstStyle>
          <a:p>
            <a:pPr lvl="0"/>
            <a:r>
              <a:rPr lang="en-GB" dirty="0"/>
              <a:t>Footnote</a:t>
            </a:r>
          </a:p>
        </p:txBody>
      </p:sp>
      <p:sp>
        <p:nvSpPr>
          <p:cNvPr id="4" name="Title 3">
            <a:extLst>
              <a:ext uri="{FF2B5EF4-FFF2-40B4-BE49-F238E27FC236}">
                <a16:creationId xmlns:a16="http://schemas.microsoft.com/office/drawing/2014/main" id="{DE7BA4D6-17A2-4AB7-ACD0-593108A81484}"/>
              </a:ext>
            </a:extLst>
          </p:cNvPr>
          <p:cNvSpPr>
            <a:spLocks noGrp="1"/>
          </p:cNvSpPr>
          <p:nvPr>
            <p:ph type="title"/>
          </p:nvPr>
        </p:nvSpPr>
        <p:spPr/>
        <p:txBody>
          <a:bodyPr/>
          <a:lstStyle>
            <a:lvl1pPr>
              <a:defRPr sz="3200"/>
            </a:lvl1pPr>
          </a:lstStyle>
          <a:p>
            <a:r>
              <a:rPr lang="en-US" dirty="0"/>
              <a:t>Click to edit Master title style</a:t>
            </a:r>
            <a:endParaRPr lang="en-GB" dirty="0"/>
          </a:p>
        </p:txBody>
      </p:sp>
      <p:sp>
        <p:nvSpPr>
          <p:cNvPr id="17" name="Text Placeholder 16">
            <a:extLst>
              <a:ext uri="{FF2B5EF4-FFF2-40B4-BE49-F238E27FC236}">
                <a16:creationId xmlns:a16="http://schemas.microsoft.com/office/drawing/2014/main" id="{8E56E277-C7C5-435D-8AD2-D5694A7BB966}"/>
              </a:ext>
            </a:extLst>
          </p:cNvPr>
          <p:cNvSpPr>
            <a:spLocks noGrp="1"/>
          </p:cNvSpPr>
          <p:nvPr>
            <p:ph type="body" sz="quarter" idx="15" hasCustomPrompt="1"/>
          </p:nvPr>
        </p:nvSpPr>
        <p:spPr>
          <a:xfrm>
            <a:off x="1" y="6553200"/>
            <a:ext cx="11555505" cy="304800"/>
          </a:xfrm>
        </p:spPr>
        <p:txBody>
          <a:bodyPr vert="horz" lIns="90000" tIns="46800" rIns="90000" bIns="46800" rtlCol="0" anchor="b">
            <a:noAutofit/>
          </a:bodyPr>
          <a:lstStyle>
            <a:lvl1pPr marL="0" indent="0">
              <a:spcAft>
                <a:spcPts val="0"/>
              </a:spcAft>
              <a:buNone/>
              <a:defRPr lang="en-GB" sz="700" i="1" dirty="0"/>
            </a:lvl1pPr>
          </a:lstStyle>
          <a:p>
            <a:pPr marL="270000" lvl="0" indent="-270000">
              <a:spcBef>
                <a:spcPts val="0"/>
              </a:spcBef>
              <a:spcAft>
                <a:spcPts val="0"/>
              </a:spcAft>
            </a:pPr>
            <a:r>
              <a:rPr lang="en-US" dirty="0"/>
              <a:t>Reference </a:t>
            </a:r>
            <a:endParaRPr lang="en-GB" dirty="0"/>
          </a:p>
        </p:txBody>
      </p:sp>
    </p:spTree>
    <p:extLst>
      <p:ext uri="{BB962C8B-B14F-4D97-AF65-F5344CB8AC3E}">
        <p14:creationId xmlns:p14="http://schemas.microsoft.com/office/powerpoint/2010/main" val="42787821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5_C. 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E32B7F-C97C-220C-AED6-FE1987F93630}"/>
              </a:ext>
            </a:extLst>
          </p:cNvPr>
          <p:cNvSpPr/>
          <p:nvPr userDrawn="1"/>
        </p:nvSpPr>
        <p:spPr>
          <a:xfrm>
            <a:off x="356870" y="5521325"/>
            <a:ext cx="2113280" cy="894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grpSp>
        <p:nvGrpSpPr>
          <p:cNvPr id="3" name="Group 2">
            <a:extLst>
              <a:ext uri="{FF2B5EF4-FFF2-40B4-BE49-F238E27FC236}">
                <a16:creationId xmlns:a16="http://schemas.microsoft.com/office/drawing/2014/main" id="{5F7DF160-77BF-74F9-2368-C43F6A6D2CEA}"/>
              </a:ext>
            </a:extLst>
          </p:cNvPr>
          <p:cNvGrpSpPr/>
          <p:nvPr userDrawn="1"/>
        </p:nvGrpSpPr>
        <p:grpSpPr>
          <a:xfrm>
            <a:off x="2118081" y="5288438"/>
            <a:ext cx="6523086" cy="1107996"/>
            <a:chOff x="5243185" y="5538857"/>
            <a:chExt cx="6729848" cy="1139308"/>
          </a:xfrm>
        </p:grpSpPr>
        <p:sp>
          <p:nvSpPr>
            <p:cNvPr id="13" name="Rectangle 12">
              <a:extLst>
                <a:ext uri="{FF2B5EF4-FFF2-40B4-BE49-F238E27FC236}">
                  <a16:creationId xmlns:a16="http://schemas.microsoft.com/office/drawing/2014/main" id="{AF0747DF-00F5-0EE6-5BC7-397E2494D607}"/>
                </a:ext>
              </a:extLst>
            </p:cNvPr>
            <p:cNvSpPr/>
            <p:nvPr userDrawn="1"/>
          </p:nvSpPr>
          <p:spPr>
            <a:xfrm>
              <a:off x="5244842" y="5679162"/>
              <a:ext cx="139958" cy="14058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endParaRPr lang="en-US" sz="2000" noProof="0" err="1"/>
            </a:p>
          </p:txBody>
        </p:sp>
        <p:sp>
          <p:nvSpPr>
            <p:cNvPr id="14" name="Rectangle 13">
              <a:extLst>
                <a:ext uri="{FF2B5EF4-FFF2-40B4-BE49-F238E27FC236}">
                  <a16:creationId xmlns:a16="http://schemas.microsoft.com/office/drawing/2014/main" id="{E0056DC8-1D84-79BC-1537-329F74F69227}"/>
                </a:ext>
              </a:extLst>
            </p:cNvPr>
            <p:cNvSpPr/>
            <p:nvPr userDrawn="1"/>
          </p:nvSpPr>
          <p:spPr>
            <a:xfrm>
              <a:off x="5243185" y="5805388"/>
              <a:ext cx="139958" cy="14058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endParaRPr lang="en-US" sz="2000" noProof="0" err="1"/>
            </a:p>
          </p:txBody>
        </p:sp>
        <p:sp>
          <p:nvSpPr>
            <p:cNvPr id="15" name="Rectangle 14">
              <a:extLst>
                <a:ext uri="{FF2B5EF4-FFF2-40B4-BE49-F238E27FC236}">
                  <a16:creationId xmlns:a16="http://schemas.microsoft.com/office/drawing/2014/main" id="{78DA5AEF-B616-0C37-2197-D9415BA190CB}"/>
                </a:ext>
              </a:extLst>
            </p:cNvPr>
            <p:cNvSpPr/>
            <p:nvPr userDrawn="1"/>
          </p:nvSpPr>
          <p:spPr>
            <a:xfrm>
              <a:off x="5243185" y="5936361"/>
              <a:ext cx="139958" cy="14058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endParaRPr lang="en-US" sz="2000" noProof="0" err="1"/>
            </a:p>
          </p:txBody>
        </p:sp>
        <p:sp>
          <p:nvSpPr>
            <p:cNvPr id="16" name="Rectangle 15">
              <a:extLst>
                <a:ext uri="{FF2B5EF4-FFF2-40B4-BE49-F238E27FC236}">
                  <a16:creationId xmlns:a16="http://schemas.microsoft.com/office/drawing/2014/main" id="{848528BE-516A-C4FB-5F0C-6FA722ABD5C9}"/>
                </a:ext>
              </a:extLst>
            </p:cNvPr>
            <p:cNvSpPr/>
            <p:nvPr userDrawn="1"/>
          </p:nvSpPr>
          <p:spPr>
            <a:xfrm>
              <a:off x="5243185" y="6086276"/>
              <a:ext cx="139958" cy="14058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endParaRPr lang="en-US" sz="2000" noProof="0" err="1"/>
            </a:p>
          </p:txBody>
        </p:sp>
        <p:sp>
          <p:nvSpPr>
            <p:cNvPr id="11" name="Rectangle 10">
              <a:extLst>
                <a:ext uri="{FF2B5EF4-FFF2-40B4-BE49-F238E27FC236}">
                  <a16:creationId xmlns:a16="http://schemas.microsoft.com/office/drawing/2014/main" id="{47BA5BA7-4EE0-9E55-5295-B3F82E35167A}"/>
                </a:ext>
              </a:extLst>
            </p:cNvPr>
            <p:cNvSpPr/>
            <p:nvPr userDrawn="1"/>
          </p:nvSpPr>
          <p:spPr>
            <a:xfrm>
              <a:off x="5244842" y="5538857"/>
              <a:ext cx="139958" cy="14058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endParaRPr lang="en-US" sz="2000" noProof="0" err="1"/>
            </a:p>
          </p:txBody>
        </p:sp>
        <p:sp>
          <p:nvSpPr>
            <p:cNvPr id="7" name="TextBox 6">
              <a:extLst>
                <a:ext uri="{FF2B5EF4-FFF2-40B4-BE49-F238E27FC236}">
                  <a16:creationId xmlns:a16="http://schemas.microsoft.com/office/drawing/2014/main" id="{EFE6FECC-849B-6855-C4AE-48C72116F355}"/>
                </a:ext>
              </a:extLst>
            </p:cNvPr>
            <p:cNvSpPr txBox="1"/>
            <p:nvPr userDrawn="1"/>
          </p:nvSpPr>
          <p:spPr>
            <a:xfrm>
              <a:off x="5269715" y="5538857"/>
              <a:ext cx="6703318" cy="1139308"/>
            </a:xfrm>
            <a:prstGeom prst="rect">
              <a:avLst/>
            </a:prstGeom>
            <a:noFill/>
          </p:spPr>
          <p:txBody>
            <a:bodyPr wrap="square" lIns="0" tIns="0" rIns="0" bIns="0" rtlCol="0">
              <a:spAutoFit/>
            </a:bodyPr>
            <a:lstStyle/>
            <a:p>
              <a:pPr algn="just"/>
              <a:r>
                <a:rPr lang="en-ZA" sz="900" kern="1200" dirty="0">
                  <a:solidFill>
                    <a:schemeClr val="tx1"/>
                  </a:solidFill>
                  <a:effectLst/>
                  <a:latin typeface="+mn-lt"/>
                  <a:ea typeface="+mn-ea"/>
                  <a:cs typeface="+mn-cs"/>
                </a:rPr>
                <a:t>S4 Semaglutide®️ 0,25 mg, solution for injection in pre-filled pen. Semaglutide 0,68 mg/ml. Reg. No.: 58/21.13/0223. </a:t>
              </a:r>
            </a:p>
            <a:p>
              <a:pPr algn="just"/>
              <a:r>
                <a:rPr lang="en-ZA" sz="900" kern="1200" dirty="0">
                  <a:solidFill>
                    <a:schemeClr val="tx1"/>
                  </a:solidFill>
                  <a:effectLst/>
                  <a:latin typeface="+mn-lt"/>
                  <a:ea typeface="+mn-ea"/>
                  <a:cs typeface="+mn-cs"/>
                </a:rPr>
                <a:t>S4 Semaglutide® 0,5 mg, solution for injection in pre-filled pen. Semaglutide 1,34 mg/ml. Reg. No.: 58/21.13/0224. </a:t>
              </a:r>
            </a:p>
            <a:p>
              <a:pPr algn="just"/>
              <a:r>
                <a:rPr lang="en-ZA" sz="900" kern="1200" dirty="0">
                  <a:solidFill>
                    <a:schemeClr val="tx1"/>
                  </a:solidFill>
                  <a:effectLst/>
                  <a:latin typeface="+mn-lt"/>
                  <a:ea typeface="+mn-ea"/>
                  <a:cs typeface="+mn-cs"/>
                </a:rPr>
                <a:t>S4 Semaglutide® 1 mg, solution for injection in pre-filled</a:t>
              </a:r>
              <a:r>
                <a:rPr lang="en-US" sz="900" kern="1200" dirty="0">
                  <a:solidFill>
                    <a:schemeClr val="tx1"/>
                  </a:solidFill>
                  <a:effectLst/>
                  <a:latin typeface="+mn-lt"/>
                  <a:ea typeface="+mn-ea"/>
                  <a:cs typeface="+mn-cs"/>
                </a:rPr>
                <a:t> </a:t>
              </a:r>
              <a:r>
                <a:rPr lang="en-ZA" sz="900" kern="1200" dirty="0">
                  <a:solidFill>
                    <a:schemeClr val="tx1"/>
                  </a:solidFill>
                  <a:effectLst/>
                  <a:latin typeface="+mn-lt"/>
                  <a:ea typeface="+mn-ea"/>
                  <a:cs typeface="+mn-cs"/>
                </a:rPr>
                <a:t>pen. Semaglutide 1,34 mg/ml. Reg. No.: 58/21.13/0225. </a:t>
              </a:r>
            </a:p>
            <a:p>
              <a:pPr algn="just"/>
              <a:r>
                <a:rPr lang="en-ZA" sz="900" kern="1200" dirty="0">
                  <a:solidFill>
                    <a:schemeClr val="tx1"/>
                  </a:solidFill>
                  <a:effectLst/>
                  <a:latin typeface="+mn-lt"/>
                  <a:ea typeface="+mn-ea"/>
                  <a:cs typeface="+mn-cs"/>
                </a:rPr>
                <a:t>S4 Semaglutide® 1,7 mg, solution for injection in pre-filled pen. Semaglutide 2,27 mg/ml. Reg. No.: 58/21.13/0226. </a:t>
              </a:r>
            </a:p>
            <a:p>
              <a:pPr algn="just"/>
              <a:r>
                <a:rPr lang="en-ZA" sz="900" kern="1200" dirty="0">
                  <a:solidFill>
                    <a:schemeClr val="tx1"/>
                  </a:solidFill>
                  <a:effectLst/>
                  <a:latin typeface="+mn-lt"/>
                  <a:ea typeface="+mn-ea"/>
                  <a:cs typeface="+mn-cs"/>
                </a:rPr>
                <a:t>S4 Semaglutide® 2,4 mg, solution for injection in pre-filled pen. Semaglutide 3,2 mg/ml. Reg. No.: 58/21.13/0227. </a:t>
              </a:r>
            </a:p>
            <a:p>
              <a:pPr algn="just"/>
              <a:endParaRPr lang="en-ZA" sz="900" kern="1200" dirty="0">
                <a:solidFill>
                  <a:schemeClr val="tx1"/>
                </a:solidFill>
                <a:effectLst/>
                <a:latin typeface="+mn-lt"/>
                <a:ea typeface="+mn-ea"/>
                <a:cs typeface="+mn-cs"/>
              </a:endParaRPr>
            </a:p>
            <a:p>
              <a:pPr algn="just"/>
              <a:r>
                <a:rPr lang="en-ZA" sz="900" kern="1200" dirty="0">
                  <a:solidFill>
                    <a:schemeClr val="tx1"/>
                  </a:solidFill>
                  <a:effectLst/>
                  <a:latin typeface="+mn-lt"/>
                  <a:ea typeface="+mn-ea"/>
                  <a:cs typeface="+mn-cs"/>
                </a:rPr>
                <a:t>For</a:t>
              </a:r>
              <a:r>
                <a:rPr lang="en-US" sz="900" kern="1200" dirty="0">
                  <a:solidFill>
                    <a:schemeClr val="tx1"/>
                  </a:solidFill>
                  <a:effectLst/>
                  <a:latin typeface="+mn-lt"/>
                  <a:ea typeface="+mn-ea"/>
                  <a:cs typeface="+mn-cs"/>
                </a:rPr>
                <a:t> </a:t>
              </a:r>
              <a:r>
                <a:rPr lang="en-ZA" sz="900" kern="1200" dirty="0">
                  <a:solidFill>
                    <a:schemeClr val="tx1"/>
                  </a:solidFill>
                  <a:effectLst/>
                  <a:latin typeface="+mn-lt"/>
                  <a:ea typeface="+mn-ea"/>
                  <a:cs typeface="+mn-cs"/>
                </a:rPr>
                <a:t>full prescribing information, refer to the Professional Information approved by the South African Health Products Regulatory Authority (SAHPRA).</a:t>
              </a:r>
              <a:endParaRPr lang="en-US" sz="900" kern="1200" dirty="0">
                <a:solidFill>
                  <a:schemeClr val="tx1"/>
                </a:solidFill>
                <a:effectLst/>
                <a:latin typeface="+mn-lt"/>
                <a:ea typeface="+mn-ea"/>
                <a:cs typeface="+mn-cs"/>
              </a:endParaRPr>
            </a:p>
          </p:txBody>
        </p:sp>
      </p:grpSp>
      <p:pic>
        <p:nvPicPr>
          <p:cNvPr id="5" name="Picture 4">
            <a:extLst>
              <a:ext uri="{FF2B5EF4-FFF2-40B4-BE49-F238E27FC236}">
                <a16:creationId xmlns:a16="http://schemas.microsoft.com/office/drawing/2014/main" id="{B3E0513A-B901-A7A3-7752-047D80FC6BB9}"/>
              </a:ext>
            </a:extLst>
          </p:cNvPr>
          <p:cNvPicPr>
            <a:picLocks noChangeAspect="1"/>
          </p:cNvPicPr>
          <p:nvPr userDrawn="1"/>
        </p:nvPicPr>
        <p:blipFill>
          <a:blip r:embed="rId2"/>
          <a:srcRect l="2457" t="6742" r="73016" b="5480"/>
          <a:stretch>
            <a:fillRect/>
          </a:stretch>
        </p:blipFill>
        <p:spPr>
          <a:xfrm>
            <a:off x="641350" y="5038643"/>
            <a:ext cx="1324951" cy="1295858"/>
          </a:xfrm>
          <a:prstGeom prst="rect">
            <a:avLst/>
          </a:prstGeom>
        </p:spPr>
      </p:pic>
      <p:sp>
        <p:nvSpPr>
          <p:cNvPr id="6" name="TextBox 5">
            <a:extLst>
              <a:ext uri="{FF2B5EF4-FFF2-40B4-BE49-F238E27FC236}">
                <a16:creationId xmlns:a16="http://schemas.microsoft.com/office/drawing/2014/main" id="{522D25EC-6366-29B0-27C8-22028EDCD1EA}"/>
              </a:ext>
            </a:extLst>
          </p:cNvPr>
          <p:cNvSpPr txBox="1"/>
          <p:nvPr userDrawn="1"/>
        </p:nvSpPr>
        <p:spPr>
          <a:xfrm>
            <a:off x="2118081" y="5038642"/>
            <a:ext cx="6255029" cy="205890"/>
          </a:xfrm>
          <a:prstGeom prst="rect">
            <a:avLst/>
          </a:prstGeom>
          <a:noFill/>
        </p:spPr>
        <p:txBody>
          <a:bodyPr wrap="square" lIns="0" tIns="0" rIns="0" bIns="0" rtlCol="0">
            <a:spAutoFit/>
          </a:bodyPr>
          <a:lstStyle/>
          <a:p>
            <a:pPr algn="l">
              <a:lnSpc>
                <a:spcPct val="120000"/>
              </a:lnSpc>
            </a:pPr>
            <a:r>
              <a:rPr lang="en-US" sz="1200" b="1" dirty="0">
                <a:solidFill>
                  <a:schemeClr val="tx1"/>
                </a:solidFill>
              </a:rPr>
              <a:t>Scan QR Code for Full Semaglutide® Abbreviated Professional Information</a:t>
            </a:r>
          </a:p>
        </p:txBody>
      </p:sp>
      <p:pic>
        <p:nvPicPr>
          <p:cNvPr id="10" name="Picture 9" descr="A blue cow with a circle and a moon&#10;&#10;AI-generated content may be incorrect.">
            <a:extLst>
              <a:ext uri="{FF2B5EF4-FFF2-40B4-BE49-F238E27FC236}">
                <a16:creationId xmlns:a16="http://schemas.microsoft.com/office/drawing/2014/main" id="{AABA3EAB-4EA9-747C-692E-C2F80571FB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01239" y="5054999"/>
            <a:ext cx="1589912" cy="1131488"/>
          </a:xfrm>
          <a:prstGeom prst="rect">
            <a:avLst/>
          </a:prstGeom>
        </p:spPr>
      </p:pic>
      <p:pic>
        <p:nvPicPr>
          <p:cNvPr id="9" name="Picture 8">
            <a:extLst>
              <a:ext uri="{FF2B5EF4-FFF2-40B4-BE49-F238E27FC236}">
                <a16:creationId xmlns:a16="http://schemas.microsoft.com/office/drawing/2014/main" id="{F260B5B0-8A41-934A-80D6-34A9A1F4FE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26039" y="685800"/>
            <a:ext cx="6717924" cy="3943350"/>
          </a:xfrm>
          <a:prstGeom prst="rect">
            <a:avLst/>
          </a:prstGeom>
        </p:spPr>
      </p:pic>
    </p:spTree>
    <p:extLst>
      <p:ext uri="{BB962C8B-B14F-4D97-AF65-F5344CB8AC3E}">
        <p14:creationId xmlns:p14="http://schemas.microsoft.com/office/powerpoint/2010/main" val="42824199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1" y="1962814"/>
            <a:ext cx="8652001" cy="1871629"/>
          </a:xfrm>
        </p:spPr>
        <p:txBody>
          <a:bodyPr tIns="91440" bIns="91440" anchor="b" anchorCtr="0"/>
          <a:lstStyle>
            <a:lvl1pPr algn="l">
              <a:lnSpc>
                <a:spcPct val="100000"/>
              </a:lnSpc>
              <a:defRPr sz="4400">
                <a:solidFill>
                  <a:schemeClr val="tx2"/>
                </a:solidFill>
                <a:latin typeface="+mj-lt"/>
              </a:defRPr>
            </a:lvl1pPr>
          </a:lstStyle>
          <a:p>
            <a:r>
              <a:rPr lang="en-GB"/>
              <a:t>Click to add title</a:t>
            </a:r>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a:p>
        </p:txBody>
      </p:sp>
      <p:sp>
        <p:nvSpPr>
          <p:cNvPr id="5" name="Text Placeholder 4">
            <a:extLst>
              <a:ext uri="{FF2B5EF4-FFF2-40B4-BE49-F238E27FC236}">
                <a16:creationId xmlns:a16="http://schemas.microsoft.com/office/drawing/2014/main" id="{E6F71D66-8A8E-4C10-A476-314785641A0A}"/>
              </a:ext>
            </a:extLst>
          </p:cNvPr>
          <p:cNvSpPr>
            <a:spLocks noGrp="1"/>
          </p:cNvSpPr>
          <p:nvPr>
            <p:ph type="body" sz="quarter" idx="17"/>
          </p:nvPr>
        </p:nvSpPr>
        <p:spPr>
          <a:xfrm>
            <a:off x="647701" y="3941233"/>
            <a:ext cx="8652001" cy="940659"/>
          </a:xfrm>
        </p:spPr>
        <p:txBody>
          <a:bodyPr/>
          <a:lstStyle>
            <a:lvl1pPr marL="0" indent="0">
              <a:buNone/>
              <a:defRPr>
                <a:solidFill>
                  <a:schemeClr val="accent5"/>
                </a:solidFill>
                <a:latin typeface="+mj-lt"/>
              </a:defRPr>
            </a:lvl1pPr>
            <a:lvl2pPr marL="269993" indent="0">
              <a:buNone/>
              <a:defRPr/>
            </a:lvl2pPr>
          </a:lstStyle>
          <a:p>
            <a:pPr lvl="0"/>
            <a:r>
              <a:rPr lang="en-US"/>
              <a:t>Click to edit Master text styles</a:t>
            </a:r>
          </a:p>
        </p:txBody>
      </p:sp>
      <p:sp>
        <p:nvSpPr>
          <p:cNvPr id="15" name="Date Placeholder 6">
            <a:extLst>
              <a:ext uri="{FF2B5EF4-FFF2-40B4-BE49-F238E27FC236}">
                <a16:creationId xmlns:a16="http://schemas.microsoft.com/office/drawing/2014/main" id="{AA4298F5-860C-4CD1-BA18-36787A8004F4}"/>
              </a:ext>
            </a:extLst>
          </p:cNvPr>
          <p:cNvSpPr>
            <a:spLocks noGrp="1"/>
          </p:cNvSpPr>
          <p:nvPr>
            <p:ph type="dt" sz="half" idx="10"/>
          </p:nvPr>
        </p:nvSpPr>
        <p:spPr>
          <a:xfrm>
            <a:off x="2892000" y="324000"/>
            <a:ext cx="1920000" cy="125851"/>
          </a:xfrm>
        </p:spPr>
        <p:txBody>
          <a:bodyPr/>
          <a:lstStyle/>
          <a:p>
            <a:fld id="{3406E89B-F1B0-48A4-8827-107446FBFBCE}" type="datetime3">
              <a:rPr lang="en-US" smtClean="0"/>
              <a:t>17 April 2026</a:t>
            </a:fld>
            <a:endParaRPr lang="en-GB"/>
          </a:p>
        </p:txBody>
      </p:sp>
      <p:sp>
        <p:nvSpPr>
          <p:cNvPr id="9" name="Text Placeholder 8">
            <a:extLst>
              <a:ext uri="{FF2B5EF4-FFF2-40B4-BE49-F238E27FC236}">
                <a16:creationId xmlns:a16="http://schemas.microsoft.com/office/drawing/2014/main" id="{2EA2B237-553D-4D16-B830-94B4CC58C931}"/>
              </a:ext>
            </a:extLst>
          </p:cNvPr>
          <p:cNvSpPr>
            <a:spLocks noGrp="1"/>
          </p:cNvSpPr>
          <p:nvPr>
            <p:ph type="body" sz="quarter" idx="18"/>
          </p:nvPr>
        </p:nvSpPr>
        <p:spPr>
          <a:xfrm>
            <a:off x="647700" y="4974329"/>
            <a:ext cx="8652933" cy="690033"/>
          </a:xfrm>
        </p:spPr>
        <p:txBody>
          <a:bodyPr/>
          <a:lstStyle>
            <a:lvl1pPr marL="0" indent="0">
              <a:buNone/>
              <a:defRPr sz="1600">
                <a:solidFill>
                  <a:schemeClr val="accent3"/>
                </a:solidFill>
                <a:latin typeface="+mj-lt"/>
              </a:defRPr>
            </a:lvl1pPr>
            <a:lvl2pPr marL="269993" indent="0">
              <a:buNone/>
              <a:defRPr/>
            </a:lvl2pPr>
          </a:lstStyle>
          <a:p>
            <a:pPr lvl="0"/>
            <a:r>
              <a:rPr lang="en-US"/>
              <a:t>Click to edit Master text styles</a:t>
            </a:r>
          </a:p>
        </p:txBody>
      </p:sp>
    </p:spTree>
    <p:extLst>
      <p:ext uri="{BB962C8B-B14F-4D97-AF65-F5344CB8AC3E}">
        <p14:creationId xmlns:p14="http://schemas.microsoft.com/office/powerpoint/2010/main" val="42434355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7" y="2163600"/>
            <a:ext cx="6408844" cy="2379600"/>
          </a:xfrm>
        </p:spPr>
        <p:txBody>
          <a:bodyPr anchor="ctr"/>
          <a:lstStyle>
            <a:lvl1pPr algn="l">
              <a:lnSpc>
                <a:spcPct val="100000"/>
              </a:lnSpc>
              <a:defRPr sz="4400">
                <a:solidFill>
                  <a:schemeClr val="tx2"/>
                </a:solidFill>
                <a:latin typeface="+mj-lt"/>
              </a:defRPr>
            </a:lvl1pPr>
          </a:lstStyle>
          <a:p>
            <a:r>
              <a:rPr lang="en-GB"/>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latin typeface="+mj-lt"/>
              </a:defRPr>
            </a:lvl1pPr>
          </a:lstStyle>
          <a:p>
            <a:pPr lvl="0"/>
            <a:r>
              <a:rPr lang="en-GB"/>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latin typeface="+mj-lt"/>
              </a:defRPr>
            </a:lvl1pPr>
          </a:lstStyle>
          <a:p>
            <a:pPr lvl="0"/>
            <a:r>
              <a:rPr lang="en-GB"/>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latin typeface="+mj-lt"/>
              </a:defRPr>
            </a:lvl1pPr>
          </a:lstStyle>
          <a:p>
            <a:pPr lvl="0"/>
            <a:r>
              <a:rPr lang="en-GB"/>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6" y="5644800"/>
            <a:ext cx="1920001" cy="154800"/>
          </a:xfrm>
        </p:spPr>
        <p:txBody>
          <a:bodyPr/>
          <a:lstStyle>
            <a:lvl1pPr>
              <a:defRPr sz="1000" b="1">
                <a:solidFill>
                  <a:schemeClr val="tx2"/>
                </a:solidFill>
                <a:latin typeface="+mj-lt"/>
              </a:defRPr>
            </a:lvl1pPr>
          </a:lstStyle>
          <a:p>
            <a:fld id="{3F25DEB1-9082-41D4-925C-113F57199754}" type="datetime3">
              <a:rPr lang="en-US" smtClean="0"/>
              <a:pPr/>
              <a:t>17 April 2026</a:t>
            </a:fld>
            <a:endParaRPr lang="en-GB"/>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377"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351"/>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401"/>
            <a:ext cx="1919288" cy="308313"/>
          </a:xfrm>
          <a:prstGeom prst="rect">
            <a:avLst/>
          </a:prstGeom>
        </p:spPr>
        <p:txBody>
          <a:bodyPr vert="horz" lIns="0" tIns="0" rIns="0" bIns="0" rtlCol="0" anchor="t"/>
          <a:lstStyle>
            <a:lvl1pPr algn="l">
              <a:defRPr sz="1000">
                <a:solidFill>
                  <a:schemeClr val="tx2"/>
                </a:solidFill>
                <a:latin typeface="+mj-lt"/>
              </a:defRPr>
            </a:lvl1pPr>
          </a:lstStyle>
          <a:p>
            <a:endParaRPr lang="en-GB"/>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9793214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2"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4400">
                <a:solidFill>
                  <a:schemeClr val="bg1"/>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2000" y="5652000"/>
            <a:ext cx="1920001" cy="154800"/>
          </a:xfrm>
        </p:spPr>
        <p:txBody>
          <a:bodyPr/>
          <a:lstStyle>
            <a:lvl1pPr>
              <a:defRPr sz="1000" b="1">
                <a:solidFill>
                  <a:schemeClr val="bg1"/>
                </a:solidFill>
              </a:defRPr>
            </a:lvl1pPr>
          </a:lstStyle>
          <a:p>
            <a:fld id="{7B858949-D512-4872-BBCD-5659279A21E8}" type="datetime3">
              <a:rPr lang="en-US" smtClean="0"/>
              <a:t>17 April 2026</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1"/>
            <a:ext cx="36000" cy="47449"/>
          </a:xfrm>
          <a:prstGeom prst="rect">
            <a:avLst/>
          </a:prstGeom>
          <a:noFill/>
        </p:spPr>
        <p:txBody>
          <a:bodyPr wrap="square" lIns="0" tIns="0" rIns="0" bIns="0" rtlCol="0">
            <a:spAutoFit/>
          </a:bodyPr>
          <a:lstStyle/>
          <a:p>
            <a:pPr algn="l">
              <a:lnSpc>
                <a:spcPct val="120000"/>
              </a:lnSpc>
            </a:pPr>
            <a:r>
              <a:rPr lang="da-DK" sz="133">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a:p>
        </p:txBody>
      </p:sp>
      <p:sp>
        <p:nvSpPr>
          <p:cNvPr id="3" name="Tagline" descr="{&quot;templafy&quot;:{&quot;id&quot;:&quot;6e4d522e-d4e2-4af1-98ae-a9c35f4d2b82&quot;}}" title="Form.PLogoChoice.PLogoInsertionWhite">
            <a:extLst>
              <a:ext uri="{FF2B5EF4-FFF2-40B4-BE49-F238E27FC236}">
                <a16:creationId xmlns:a16="http://schemas.microsoft.com/office/drawing/2014/main" id="{CC218D6D-FEFB-46D0-8813-C99976F4CA16}"/>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10601532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
        <p:nvSpPr>
          <p:cNvPr id="2" name="Title 1"/>
          <p:cNvSpPr>
            <a:spLocks noGrp="1"/>
          </p:cNvSpPr>
          <p:nvPr>
            <p:ph type="ctrTitle" hasCustomPrompt="1"/>
          </p:nvPr>
        </p:nvSpPr>
        <p:spPr>
          <a:xfrm>
            <a:off x="648001" y="648000"/>
            <a:ext cx="8652001" cy="5562000"/>
          </a:xfrm>
        </p:spPr>
        <p:txBody>
          <a:bodyPr bIns="144000" anchor="ctr"/>
          <a:lstStyle>
            <a:lvl1pPr algn="l">
              <a:lnSpc>
                <a:spcPct val="100000"/>
              </a:lnSpc>
              <a:defRPr sz="4400">
                <a:solidFill>
                  <a:schemeClr val="bg1"/>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2000" y="5652000"/>
            <a:ext cx="1920001" cy="154800"/>
          </a:xfrm>
        </p:spPr>
        <p:txBody>
          <a:bodyPr/>
          <a:lstStyle>
            <a:lvl1pPr>
              <a:defRPr sz="1000" b="1">
                <a:solidFill>
                  <a:schemeClr val="bg1"/>
                </a:solidFill>
              </a:defRPr>
            </a:lvl1pPr>
          </a:lstStyle>
          <a:p>
            <a:fld id="{A96FA12F-F025-4B95-888A-37270D121E6F}" type="datetime3">
              <a:rPr lang="en-US" smtClean="0"/>
              <a:t>17 April 2026</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351"/>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a:p>
        </p:txBody>
      </p:sp>
      <p:sp>
        <p:nvSpPr>
          <p:cNvPr id="5" name="Tagline" descr="{&quot;templafy&quot;:{&quot;id&quot;:&quot;e4f6bce7-501b-43d5-add4-96cf351eca04&quot;}}" title="Form.PLogoChoice.PLogoInsertionWhite">
            <a:extLst>
              <a:ext uri="{FF2B5EF4-FFF2-40B4-BE49-F238E27FC236}">
                <a16:creationId xmlns:a16="http://schemas.microsoft.com/office/drawing/2014/main" id="{9CE848CF-6894-4564-ABE3-C9ED24818DCD}"/>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28987304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1" y="648000"/>
            <a:ext cx="8652001" cy="5562000"/>
          </a:xfrm>
        </p:spPr>
        <p:txBody>
          <a:bodyPr bIns="144000" anchor="ctr"/>
          <a:lstStyle>
            <a:lvl1pPr algn="l">
              <a:lnSpc>
                <a:spcPct val="100000"/>
              </a:lnSpc>
              <a:defRPr sz="4400">
                <a:solidFill>
                  <a:schemeClr val="tx2"/>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tx2"/>
                </a:solidFill>
              </a:defRPr>
            </a:lvl1pPr>
          </a:lstStyle>
          <a:p>
            <a:pPr lvl="0"/>
            <a:r>
              <a:rPr lang="en-GB"/>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tx2"/>
                </a:solidFill>
              </a:defRPr>
            </a:lvl1pPr>
          </a:lstStyle>
          <a:p>
            <a:pPr lvl="0"/>
            <a:r>
              <a:rPr lang="en-GB"/>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tx2"/>
                </a:solidFill>
              </a:defRPr>
            </a:lvl1pPr>
          </a:lstStyle>
          <a:p>
            <a:pPr lvl="0"/>
            <a:r>
              <a:rPr lang="en-GB"/>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2000" y="5652000"/>
            <a:ext cx="1920001" cy="154800"/>
          </a:xfrm>
        </p:spPr>
        <p:txBody>
          <a:bodyPr/>
          <a:lstStyle>
            <a:lvl1pPr>
              <a:defRPr sz="1000" b="1">
                <a:solidFill>
                  <a:schemeClr val="tx2"/>
                </a:solidFill>
              </a:defRPr>
            </a:lvl1pPr>
          </a:lstStyle>
          <a:p>
            <a:fld id="{CA27F7B4-F98D-4CAF-BB7C-3984BBCDBD89}" type="datetime3">
              <a:rPr lang="en-US" smtClean="0"/>
              <a:t>17 April 2026</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351"/>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a:p>
        </p:txBody>
      </p:sp>
      <p:sp>
        <p:nvSpPr>
          <p:cNvPr id="3" name="Tagline" descr="{&quot;templafy&quot;:{&quot;id&quot;:&quot;237cc8ce-a8bb-493a-8167-0dbb0fdc5d51&quot;}}" title="Form.PLogoChoice.PLogoInsertion">
            <a:extLst>
              <a:ext uri="{FF2B5EF4-FFF2-40B4-BE49-F238E27FC236}">
                <a16:creationId xmlns:a16="http://schemas.microsoft.com/office/drawing/2014/main" id="{8AE78219-5CBB-4760-B800-636AFE0A99A8}"/>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37757827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a:t>01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0871100-7668-411B-B68C-7B09658A607B}" type="datetime3">
              <a:rPr lang="en-US" smtClean="0"/>
              <a:t>17 April 2026</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2"/>
            <a:ext cx="4162127" cy="1107996"/>
          </a:xfrm>
          <a:prstGeom prst="rect">
            <a:avLst/>
          </a:prstGeom>
          <a:noFill/>
        </p:spPr>
        <p:txBody>
          <a:bodyPr wrap="square" lIns="0" tIns="0" rIns="0" bIns="0" rtlCol="0">
            <a:spAutoFit/>
          </a:bodyPr>
          <a:lstStyle/>
          <a:p>
            <a:pPr algn="r"/>
            <a:r>
              <a:rPr lang="en-GB" sz="720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351"/>
          </a:p>
        </p:txBody>
      </p:sp>
      <p:sp>
        <p:nvSpPr>
          <p:cNvPr id="5" name="Tagline" descr="{&quot;templafy&quot;:{&quot;id&quot;:&quot;a6a0294e-5049-4413-9e6f-1ecdf818f736&quot;}}" title="Form.PLogoChoice.PLogoInsertionWhite">
            <a:extLst>
              <a:ext uri="{FF2B5EF4-FFF2-40B4-BE49-F238E27FC236}">
                <a16:creationId xmlns:a16="http://schemas.microsoft.com/office/drawing/2014/main" id="{3EF1636C-932C-4747-B37D-D0B1E2D9AB18}"/>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41562004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1"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a:t>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8001"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a:t>09.00-09.30</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nb-NO"/>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38D42A5E-FF40-420E-88A3-CB59E3EB27EF}" type="datetime3">
              <a:rPr lang="en-US" smtClean="0"/>
              <a:t>17 April 2026</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351"/>
          </a:p>
        </p:txBody>
      </p:sp>
      <p:sp>
        <p:nvSpPr>
          <p:cNvPr id="2" name="image" descr="{&quot;templafy&quot;:{&quot;id&quot;:&quot;8518b275-2630-4365-80b5-ce84dc501d06&quot;}}" title="Form.PLogoChoice.PLogoInsertion">
            <a:extLst>
              <a:ext uri="{FF2B5EF4-FFF2-40B4-BE49-F238E27FC236}">
                <a16:creationId xmlns:a16="http://schemas.microsoft.com/office/drawing/2014/main" id="{B3C1CADE-9463-4A8D-B4E6-273C0EC9AFF5}"/>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16179181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
        <p:nvSpPr>
          <p:cNvPr id="2" name="Title 1"/>
          <p:cNvSpPr>
            <a:spLocks noGrp="1"/>
          </p:cNvSpPr>
          <p:nvPr>
            <p:ph type="ctrTitle" hasCustomPrompt="1"/>
          </p:nvPr>
        </p:nvSpPr>
        <p:spPr>
          <a:xfrm>
            <a:off x="648001" y="648000"/>
            <a:ext cx="8652001" cy="5562000"/>
          </a:xfrm>
        </p:spPr>
        <p:txBody>
          <a:bodyPr anchor="ctr"/>
          <a:lstStyle>
            <a:lvl1pPr algn="l">
              <a:defRPr sz="4400" b="1">
                <a:solidFill>
                  <a:schemeClr val="bg1"/>
                </a:solidFill>
              </a:defRPr>
            </a:lvl1pPr>
          </a:lstStyle>
          <a:p>
            <a:r>
              <a:rPr lang="en-GB" noProof="0"/>
              <a:t>Click to add title</a:t>
            </a:r>
            <a:endParaRPr lang="en-GB"/>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8C5F5319-D51F-4DBA-A0E1-97AB58098185}" type="datetime3">
              <a:rPr lang="en-US" smtClean="0"/>
              <a:t>17 April 2026</a:t>
            </a:fld>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1050" i="1">
                <a:solidFill>
                  <a:schemeClr val="bg1"/>
                </a:solidFill>
              </a:defRPr>
            </a:lvl1pPr>
          </a:lstStyle>
          <a:p>
            <a:pPr lvl="0"/>
            <a:r>
              <a:rPr lang="en-GB"/>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sz="1351"/>
          </a:p>
        </p:txBody>
      </p:sp>
      <p:sp>
        <p:nvSpPr>
          <p:cNvPr id="6" name="Tagline" descr="{&quot;templafy&quot;:{&quot;id&quot;:&quot;8b7bd7f1-2abb-4aba-8fa3-6bed6534d10c&quot;}}" title="Form.PLogoChoice.PLogoInsertionWhite">
            <a:extLst>
              <a:ext uri="{FF2B5EF4-FFF2-40B4-BE49-F238E27FC236}">
                <a16:creationId xmlns:a16="http://schemas.microsoft.com/office/drawing/2014/main" id="{D9E9F619-DDA7-4396-BEF5-E42E21A0A600}"/>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3093694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8.xml"/><Relationship Id="rId117" Type="http://schemas.openxmlformats.org/officeDocument/2006/relationships/tags" Target="../tags/tag82.xml"/><Relationship Id="rId21" Type="http://schemas.openxmlformats.org/officeDocument/2006/relationships/slideLayout" Target="../slideLayouts/slideLayout33.xml"/><Relationship Id="rId42" Type="http://schemas.openxmlformats.org/officeDocument/2006/relationships/tags" Target="../tags/tag7.xml"/><Relationship Id="rId47" Type="http://schemas.openxmlformats.org/officeDocument/2006/relationships/tags" Target="../tags/tag12.xml"/><Relationship Id="rId63" Type="http://schemas.openxmlformats.org/officeDocument/2006/relationships/tags" Target="../tags/tag28.xml"/><Relationship Id="rId68" Type="http://schemas.openxmlformats.org/officeDocument/2006/relationships/tags" Target="../tags/tag33.xml"/><Relationship Id="rId84" Type="http://schemas.openxmlformats.org/officeDocument/2006/relationships/tags" Target="../tags/tag49.xml"/><Relationship Id="rId89" Type="http://schemas.openxmlformats.org/officeDocument/2006/relationships/tags" Target="../tags/tag54.xml"/><Relationship Id="rId112" Type="http://schemas.openxmlformats.org/officeDocument/2006/relationships/tags" Target="../tags/tag77.xml"/><Relationship Id="rId16" Type="http://schemas.openxmlformats.org/officeDocument/2006/relationships/slideLayout" Target="../slideLayouts/slideLayout28.xml"/><Relationship Id="rId107" Type="http://schemas.openxmlformats.org/officeDocument/2006/relationships/tags" Target="../tags/tag72.xml"/><Relationship Id="rId11" Type="http://schemas.openxmlformats.org/officeDocument/2006/relationships/slideLayout" Target="../slideLayouts/slideLayout23.xml"/><Relationship Id="rId32" Type="http://schemas.openxmlformats.org/officeDocument/2006/relationships/slideLayout" Target="../slideLayouts/slideLayout44.xml"/><Relationship Id="rId37" Type="http://schemas.openxmlformats.org/officeDocument/2006/relationships/tags" Target="../tags/tag2.xml"/><Relationship Id="rId53" Type="http://schemas.openxmlformats.org/officeDocument/2006/relationships/tags" Target="../tags/tag18.xml"/><Relationship Id="rId58" Type="http://schemas.openxmlformats.org/officeDocument/2006/relationships/tags" Target="../tags/tag23.xml"/><Relationship Id="rId74" Type="http://schemas.openxmlformats.org/officeDocument/2006/relationships/tags" Target="../tags/tag39.xml"/><Relationship Id="rId79" Type="http://schemas.openxmlformats.org/officeDocument/2006/relationships/tags" Target="../tags/tag44.xml"/><Relationship Id="rId102" Type="http://schemas.openxmlformats.org/officeDocument/2006/relationships/tags" Target="../tags/tag67.xml"/><Relationship Id="rId123" Type="http://schemas.openxmlformats.org/officeDocument/2006/relationships/tags" Target="../tags/tag88.xml"/><Relationship Id="rId5" Type="http://schemas.openxmlformats.org/officeDocument/2006/relationships/slideLayout" Target="../slideLayouts/slideLayout17.xml"/><Relationship Id="rId90" Type="http://schemas.openxmlformats.org/officeDocument/2006/relationships/tags" Target="../tags/tag55.xml"/><Relationship Id="rId95" Type="http://schemas.openxmlformats.org/officeDocument/2006/relationships/tags" Target="../tags/tag60.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43" Type="http://schemas.openxmlformats.org/officeDocument/2006/relationships/tags" Target="../tags/tag8.xml"/><Relationship Id="rId48" Type="http://schemas.openxmlformats.org/officeDocument/2006/relationships/tags" Target="../tags/tag13.xml"/><Relationship Id="rId64" Type="http://schemas.openxmlformats.org/officeDocument/2006/relationships/tags" Target="../tags/tag29.xml"/><Relationship Id="rId69" Type="http://schemas.openxmlformats.org/officeDocument/2006/relationships/tags" Target="../tags/tag34.xml"/><Relationship Id="rId113" Type="http://schemas.openxmlformats.org/officeDocument/2006/relationships/tags" Target="../tags/tag78.xml"/><Relationship Id="rId118" Type="http://schemas.openxmlformats.org/officeDocument/2006/relationships/tags" Target="../tags/tag83.xml"/><Relationship Id="rId80" Type="http://schemas.openxmlformats.org/officeDocument/2006/relationships/tags" Target="../tags/tag45.xml"/><Relationship Id="rId85" Type="http://schemas.openxmlformats.org/officeDocument/2006/relationships/tags" Target="../tags/tag50.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33" Type="http://schemas.openxmlformats.org/officeDocument/2006/relationships/slideLayout" Target="../slideLayouts/slideLayout45.xml"/><Relationship Id="rId38" Type="http://schemas.openxmlformats.org/officeDocument/2006/relationships/tags" Target="../tags/tag3.xml"/><Relationship Id="rId59" Type="http://schemas.openxmlformats.org/officeDocument/2006/relationships/tags" Target="../tags/tag24.xml"/><Relationship Id="rId103" Type="http://schemas.openxmlformats.org/officeDocument/2006/relationships/tags" Target="../tags/tag68.xml"/><Relationship Id="rId108" Type="http://schemas.openxmlformats.org/officeDocument/2006/relationships/tags" Target="../tags/tag73.xml"/><Relationship Id="rId54" Type="http://schemas.openxmlformats.org/officeDocument/2006/relationships/tags" Target="../tags/tag19.xml"/><Relationship Id="rId70" Type="http://schemas.openxmlformats.org/officeDocument/2006/relationships/tags" Target="../tags/tag35.xml"/><Relationship Id="rId75" Type="http://schemas.openxmlformats.org/officeDocument/2006/relationships/tags" Target="../tags/tag40.xml"/><Relationship Id="rId91" Type="http://schemas.openxmlformats.org/officeDocument/2006/relationships/tags" Target="../tags/tag56.xml"/><Relationship Id="rId96" Type="http://schemas.openxmlformats.org/officeDocument/2006/relationships/tags" Target="../tags/tag6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49" Type="http://schemas.openxmlformats.org/officeDocument/2006/relationships/tags" Target="../tags/tag14.xml"/><Relationship Id="rId114" Type="http://schemas.openxmlformats.org/officeDocument/2006/relationships/tags" Target="../tags/tag79.xml"/><Relationship Id="rId119" Type="http://schemas.openxmlformats.org/officeDocument/2006/relationships/tags" Target="../tags/tag84.xml"/><Relationship Id="rId44" Type="http://schemas.openxmlformats.org/officeDocument/2006/relationships/tags" Target="../tags/tag9.xml"/><Relationship Id="rId60" Type="http://schemas.openxmlformats.org/officeDocument/2006/relationships/tags" Target="../tags/tag25.xml"/><Relationship Id="rId65" Type="http://schemas.openxmlformats.org/officeDocument/2006/relationships/tags" Target="../tags/tag30.xml"/><Relationship Id="rId81" Type="http://schemas.openxmlformats.org/officeDocument/2006/relationships/tags" Target="../tags/tag46.xml"/><Relationship Id="rId86" Type="http://schemas.openxmlformats.org/officeDocument/2006/relationships/tags" Target="../tags/tag5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9" Type="http://schemas.openxmlformats.org/officeDocument/2006/relationships/tags" Target="../tags/tag4.xml"/><Relationship Id="rId109" Type="http://schemas.openxmlformats.org/officeDocument/2006/relationships/tags" Target="../tags/tag74.xml"/><Relationship Id="rId34" Type="http://schemas.openxmlformats.org/officeDocument/2006/relationships/slideLayout" Target="../slideLayouts/slideLayout46.xml"/><Relationship Id="rId50" Type="http://schemas.openxmlformats.org/officeDocument/2006/relationships/tags" Target="../tags/tag15.xml"/><Relationship Id="rId55" Type="http://schemas.openxmlformats.org/officeDocument/2006/relationships/tags" Target="../tags/tag20.xml"/><Relationship Id="rId76" Type="http://schemas.openxmlformats.org/officeDocument/2006/relationships/tags" Target="../tags/tag41.xml"/><Relationship Id="rId97" Type="http://schemas.openxmlformats.org/officeDocument/2006/relationships/tags" Target="../tags/tag62.xml"/><Relationship Id="rId104" Type="http://schemas.openxmlformats.org/officeDocument/2006/relationships/tags" Target="../tags/tag69.xml"/><Relationship Id="rId120" Type="http://schemas.openxmlformats.org/officeDocument/2006/relationships/tags" Target="../tags/tag85.xml"/><Relationship Id="rId7" Type="http://schemas.openxmlformats.org/officeDocument/2006/relationships/slideLayout" Target="../slideLayouts/slideLayout19.xml"/><Relationship Id="rId71" Type="http://schemas.openxmlformats.org/officeDocument/2006/relationships/tags" Target="../tags/tag36.xml"/><Relationship Id="rId92" Type="http://schemas.openxmlformats.org/officeDocument/2006/relationships/tags" Target="../tags/tag57.xml"/><Relationship Id="rId2" Type="http://schemas.openxmlformats.org/officeDocument/2006/relationships/slideLayout" Target="../slideLayouts/slideLayout14.xml"/><Relationship Id="rId29" Type="http://schemas.openxmlformats.org/officeDocument/2006/relationships/slideLayout" Target="../slideLayouts/slideLayout41.xml"/><Relationship Id="rId24" Type="http://schemas.openxmlformats.org/officeDocument/2006/relationships/slideLayout" Target="../slideLayouts/slideLayout36.xml"/><Relationship Id="rId40" Type="http://schemas.openxmlformats.org/officeDocument/2006/relationships/tags" Target="../tags/tag5.xml"/><Relationship Id="rId45" Type="http://schemas.openxmlformats.org/officeDocument/2006/relationships/tags" Target="../tags/tag10.xml"/><Relationship Id="rId66" Type="http://schemas.openxmlformats.org/officeDocument/2006/relationships/tags" Target="../tags/tag31.xml"/><Relationship Id="rId87" Type="http://schemas.openxmlformats.org/officeDocument/2006/relationships/tags" Target="../tags/tag52.xml"/><Relationship Id="rId110" Type="http://schemas.openxmlformats.org/officeDocument/2006/relationships/tags" Target="../tags/tag75.xml"/><Relationship Id="rId115" Type="http://schemas.openxmlformats.org/officeDocument/2006/relationships/tags" Target="../tags/tag80.xml"/><Relationship Id="rId61" Type="http://schemas.openxmlformats.org/officeDocument/2006/relationships/tags" Target="../tags/tag26.xml"/><Relationship Id="rId82" Type="http://schemas.openxmlformats.org/officeDocument/2006/relationships/tags" Target="../tags/tag47.xml"/><Relationship Id="rId19" Type="http://schemas.openxmlformats.org/officeDocument/2006/relationships/slideLayout" Target="../slideLayouts/slideLayout31.xml"/><Relationship Id="rId14" Type="http://schemas.openxmlformats.org/officeDocument/2006/relationships/slideLayout" Target="../slideLayouts/slideLayout26.xml"/><Relationship Id="rId30" Type="http://schemas.openxmlformats.org/officeDocument/2006/relationships/slideLayout" Target="../slideLayouts/slideLayout42.xml"/><Relationship Id="rId35" Type="http://schemas.openxmlformats.org/officeDocument/2006/relationships/theme" Target="../theme/theme2.xml"/><Relationship Id="rId56" Type="http://schemas.openxmlformats.org/officeDocument/2006/relationships/tags" Target="../tags/tag21.xml"/><Relationship Id="rId77" Type="http://schemas.openxmlformats.org/officeDocument/2006/relationships/tags" Target="../tags/tag42.xml"/><Relationship Id="rId100" Type="http://schemas.openxmlformats.org/officeDocument/2006/relationships/tags" Target="../tags/tag65.xml"/><Relationship Id="rId105" Type="http://schemas.openxmlformats.org/officeDocument/2006/relationships/tags" Target="../tags/tag70.xml"/><Relationship Id="rId8" Type="http://schemas.openxmlformats.org/officeDocument/2006/relationships/slideLayout" Target="../slideLayouts/slideLayout20.xml"/><Relationship Id="rId51" Type="http://schemas.openxmlformats.org/officeDocument/2006/relationships/tags" Target="../tags/tag16.xml"/><Relationship Id="rId72" Type="http://schemas.openxmlformats.org/officeDocument/2006/relationships/tags" Target="../tags/tag37.xml"/><Relationship Id="rId93" Type="http://schemas.openxmlformats.org/officeDocument/2006/relationships/tags" Target="../tags/tag58.xml"/><Relationship Id="rId98" Type="http://schemas.openxmlformats.org/officeDocument/2006/relationships/tags" Target="../tags/tag63.xml"/><Relationship Id="rId121" Type="http://schemas.openxmlformats.org/officeDocument/2006/relationships/tags" Target="../tags/tag86.xml"/><Relationship Id="rId3" Type="http://schemas.openxmlformats.org/officeDocument/2006/relationships/slideLayout" Target="../slideLayouts/slideLayout15.xml"/><Relationship Id="rId25" Type="http://schemas.openxmlformats.org/officeDocument/2006/relationships/slideLayout" Target="../slideLayouts/slideLayout37.xml"/><Relationship Id="rId46" Type="http://schemas.openxmlformats.org/officeDocument/2006/relationships/tags" Target="../tags/tag11.xml"/><Relationship Id="rId67" Type="http://schemas.openxmlformats.org/officeDocument/2006/relationships/tags" Target="../tags/tag32.xml"/><Relationship Id="rId116" Type="http://schemas.openxmlformats.org/officeDocument/2006/relationships/tags" Target="../tags/tag81.xml"/><Relationship Id="rId20" Type="http://schemas.openxmlformats.org/officeDocument/2006/relationships/slideLayout" Target="../slideLayouts/slideLayout32.xml"/><Relationship Id="rId41" Type="http://schemas.openxmlformats.org/officeDocument/2006/relationships/tags" Target="../tags/tag6.xml"/><Relationship Id="rId62" Type="http://schemas.openxmlformats.org/officeDocument/2006/relationships/tags" Target="../tags/tag27.xml"/><Relationship Id="rId83" Type="http://schemas.openxmlformats.org/officeDocument/2006/relationships/tags" Target="../tags/tag48.xml"/><Relationship Id="rId88" Type="http://schemas.openxmlformats.org/officeDocument/2006/relationships/tags" Target="../tags/tag53.xml"/><Relationship Id="rId111" Type="http://schemas.openxmlformats.org/officeDocument/2006/relationships/tags" Target="../tags/tag76.xml"/><Relationship Id="rId15" Type="http://schemas.openxmlformats.org/officeDocument/2006/relationships/slideLayout" Target="../slideLayouts/slideLayout27.xml"/><Relationship Id="rId36" Type="http://schemas.openxmlformats.org/officeDocument/2006/relationships/tags" Target="../tags/tag1.xml"/><Relationship Id="rId57" Type="http://schemas.openxmlformats.org/officeDocument/2006/relationships/tags" Target="../tags/tag22.xml"/><Relationship Id="rId106" Type="http://schemas.openxmlformats.org/officeDocument/2006/relationships/tags" Target="../tags/tag71.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52" Type="http://schemas.openxmlformats.org/officeDocument/2006/relationships/tags" Target="../tags/tag17.xml"/><Relationship Id="rId73" Type="http://schemas.openxmlformats.org/officeDocument/2006/relationships/tags" Target="../tags/tag38.xml"/><Relationship Id="rId78" Type="http://schemas.openxmlformats.org/officeDocument/2006/relationships/tags" Target="../tags/tag43.xml"/><Relationship Id="rId94" Type="http://schemas.openxmlformats.org/officeDocument/2006/relationships/tags" Target="../tags/tag59.xml"/><Relationship Id="rId99" Type="http://schemas.openxmlformats.org/officeDocument/2006/relationships/tags" Target="../tags/tag64.xml"/><Relationship Id="rId101" Type="http://schemas.openxmlformats.org/officeDocument/2006/relationships/tags" Target="../tags/tag66.xml"/><Relationship Id="rId122" Type="http://schemas.openxmlformats.org/officeDocument/2006/relationships/tags" Target="../tags/tag87.xml"/></Relationships>
</file>

<file path=ppt/slideMasters/_rels/slideMaster3.xml.rels><?xml version="1.0" encoding="UTF-8" standalone="yes"?>
<Relationships xmlns="http://schemas.openxmlformats.org/package/2006/relationships"><Relationship Id="rId117" Type="http://schemas.openxmlformats.org/officeDocument/2006/relationships/tags" Target="../tags/tag159.xml"/><Relationship Id="rId21" Type="http://schemas.openxmlformats.org/officeDocument/2006/relationships/slideLayout" Target="../slideLayouts/slideLayout67.xml"/><Relationship Id="rId42" Type="http://schemas.openxmlformats.org/officeDocument/2006/relationships/slideLayout" Target="../slideLayouts/slideLayout88.xml"/><Relationship Id="rId63" Type="http://schemas.openxmlformats.org/officeDocument/2006/relationships/tags" Target="../tags/tag105.xml"/><Relationship Id="rId84" Type="http://schemas.openxmlformats.org/officeDocument/2006/relationships/tags" Target="../tags/tag126.xml"/><Relationship Id="rId16" Type="http://schemas.openxmlformats.org/officeDocument/2006/relationships/slideLayout" Target="../slideLayouts/slideLayout62.xml"/><Relationship Id="rId107" Type="http://schemas.openxmlformats.org/officeDocument/2006/relationships/tags" Target="../tags/tag149.xml"/><Relationship Id="rId11" Type="http://schemas.openxmlformats.org/officeDocument/2006/relationships/slideLayout" Target="../slideLayouts/slideLayout57.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53" Type="http://schemas.openxmlformats.org/officeDocument/2006/relationships/tags" Target="../tags/tag95.xml"/><Relationship Id="rId58" Type="http://schemas.openxmlformats.org/officeDocument/2006/relationships/tags" Target="../tags/tag100.xml"/><Relationship Id="rId74" Type="http://schemas.openxmlformats.org/officeDocument/2006/relationships/tags" Target="../tags/tag116.xml"/><Relationship Id="rId79" Type="http://schemas.openxmlformats.org/officeDocument/2006/relationships/tags" Target="../tags/tag121.xml"/><Relationship Id="rId102" Type="http://schemas.openxmlformats.org/officeDocument/2006/relationships/tags" Target="../tags/tag144.xml"/><Relationship Id="rId123" Type="http://schemas.openxmlformats.org/officeDocument/2006/relationships/tags" Target="../tags/tag165.xml"/><Relationship Id="rId128" Type="http://schemas.openxmlformats.org/officeDocument/2006/relationships/tags" Target="../tags/tag170.xml"/><Relationship Id="rId5" Type="http://schemas.openxmlformats.org/officeDocument/2006/relationships/slideLayout" Target="../slideLayouts/slideLayout51.xml"/><Relationship Id="rId90" Type="http://schemas.openxmlformats.org/officeDocument/2006/relationships/tags" Target="../tags/tag132.xml"/><Relationship Id="rId95" Type="http://schemas.openxmlformats.org/officeDocument/2006/relationships/tags" Target="../tags/tag137.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43" Type="http://schemas.openxmlformats.org/officeDocument/2006/relationships/slideLayout" Target="../slideLayouts/slideLayout89.xml"/><Relationship Id="rId48" Type="http://schemas.openxmlformats.org/officeDocument/2006/relationships/tags" Target="../tags/tag90.xml"/><Relationship Id="rId64" Type="http://schemas.openxmlformats.org/officeDocument/2006/relationships/tags" Target="../tags/tag106.xml"/><Relationship Id="rId69" Type="http://schemas.openxmlformats.org/officeDocument/2006/relationships/tags" Target="../tags/tag111.xml"/><Relationship Id="rId113" Type="http://schemas.openxmlformats.org/officeDocument/2006/relationships/tags" Target="../tags/tag155.xml"/><Relationship Id="rId118" Type="http://schemas.openxmlformats.org/officeDocument/2006/relationships/tags" Target="../tags/tag160.xml"/><Relationship Id="rId134" Type="http://schemas.openxmlformats.org/officeDocument/2006/relationships/tags" Target="../tags/tag176.xml"/><Relationship Id="rId80" Type="http://schemas.openxmlformats.org/officeDocument/2006/relationships/tags" Target="../tags/tag122.xml"/><Relationship Id="rId85" Type="http://schemas.openxmlformats.org/officeDocument/2006/relationships/tags" Target="../tags/tag127.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59" Type="http://schemas.openxmlformats.org/officeDocument/2006/relationships/tags" Target="../tags/tag101.xml"/><Relationship Id="rId103" Type="http://schemas.openxmlformats.org/officeDocument/2006/relationships/tags" Target="../tags/tag145.xml"/><Relationship Id="rId108" Type="http://schemas.openxmlformats.org/officeDocument/2006/relationships/tags" Target="../tags/tag150.xml"/><Relationship Id="rId124" Type="http://schemas.openxmlformats.org/officeDocument/2006/relationships/tags" Target="../tags/tag166.xml"/><Relationship Id="rId129" Type="http://schemas.openxmlformats.org/officeDocument/2006/relationships/tags" Target="../tags/tag171.xml"/><Relationship Id="rId54" Type="http://schemas.openxmlformats.org/officeDocument/2006/relationships/tags" Target="../tags/tag96.xml"/><Relationship Id="rId70" Type="http://schemas.openxmlformats.org/officeDocument/2006/relationships/tags" Target="../tags/tag112.xml"/><Relationship Id="rId75" Type="http://schemas.openxmlformats.org/officeDocument/2006/relationships/tags" Target="../tags/tag117.xml"/><Relationship Id="rId91" Type="http://schemas.openxmlformats.org/officeDocument/2006/relationships/tags" Target="../tags/tag133.xml"/><Relationship Id="rId96" Type="http://schemas.openxmlformats.org/officeDocument/2006/relationships/tags" Target="../tags/tag13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49" Type="http://schemas.openxmlformats.org/officeDocument/2006/relationships/tags" Target="../tags/tag91.xml"/><Relationship Id="rId114" Type="http://schemas.openxmlformats.org/officeDocument/2006/relationships/tags" Target="../tags/tag156.xml"/><Relationship Id="rId119" Type="http://schemas.openxmlformats.org/officeDocument/2006/relationships/tags" Target="../tags/tag161.xml"/><Relationship Id="rId44" Type="http://schemas.openxmlformats.org/officeDocument/2006/relationships/slideLayout" Target="../slideLayouts/slideLayout90.xml"/><Relationship Id="rId60" Type="http://schemas.openxmlformats.org/officeDocument/2006/relationships/tags" Target="../tags/tag102.xml"/><Relationship Id="rId65" Type="http://schemas.openxmlformats.org/officeDocument/2006/relationships/tags" Target="../tags/tag107.xml"/><Relationship Id="rId81" Type="http://schemas.openxmlformats.org/officeDocument/2006/relationships/tags" Target="../tags/tag123.xml"/><Relationship Id="rId86" Type="http://schemas.openxmlformats.org/officeDocument/2006/relationships/tags" Target="../tags/tag128.xml"/><Relationship Id="rId130" Type="http://schemas.openxmlformats.org/officeDocument/2006/relationships/tags" Target="../tags/tag172.xml"/><Relationship Id="rId135" Type="http://schemas.openxmlformats.org/officeDocument/2006/relationships/tags" Target="../tags/tag177.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9" Type="http://schemas.openxmlformats.org/officeDocument/2006/relationships/slideLayout" Target="../slideLayouts/slideLayout85.xml"/><Relationship Id="rId109" Type="http://schemas.openxmlformats.org/officeDocument/2006/relationships/tags" Target="../tags/tag151.xml"/><Relationship Id="rId34" Type="http://schemas.openxmlformats.org/officeDocument/2006/relationships/slideLayout" Target="../slideLayouts/slideLayout80.xml"/><Relationship Id="rId50" Type="http://schemas.openxmlformats.org/officeDocument/2006/relationships/tags" Target="../tags/tag92.xml"/><Relationship Id="rId55" Type="http://schemas.openxmlformats.org/officeDocument/2006/relationships/tags" Target="../tags/tag97.xml"/><Relationship Id="rId76" Type="http://schemas.openxmlformats.org/officeDocument/2006/relationships/tags" Target="../tags/tag118.xml"/><Relationship Id="rId97" Type="http://schemas.openxmlformats.org/officeDocument/2006/relationships/tags" Target="../tags/tag139.xml"/><Relationship Id="rId104" Type="http://schemas.openxmlformats.org/officeDocument/2006/relationships/tags" Target="../tags/tag146.xml"/><Relationship Id="rId120" Type="http://schemas.openxmlformats.org/officeDocument/2006/relationships/tags" Target="../tags/tag162.xml"/><Relationship Id="rId125" Type="http://schemas.openxmlformats.org/officeDocument/2006/relationships/tags" Target="../tags/tag167.xml"/><Relationship Id="rId7" Type="http://schemas.openxmlformats.org/officeDocument/2006/relationships/slideLayout" Target="../slideLayouts/slideLayout53.xml"/><Relationship Id="rId71" Type="http://schemas.openxmlformats.org/officeDocument/2006/relationships/tags" Target="../tags/tag113.xml"/><Relationship Id="rId92" Type="http://schemas.openxmlformats.org/officeDocument/2006/relationships/tags" Target="../tags/tag134.xml"/><Relationship Id="rId2" Type="http://schemas.openxmlformats.org/officeDocument/2006/relationships/slideLayout" Target="../slideLayouts/slideLayout48.xml"/><Relationship Id="rId29" Type="http://schemas.openxmlformats.org/officeDocument/2006/relationships/slideLayout" Target="../slideLayouts/slideLayout75.xml"/><Relationship Id="rId24" Type="http://schemas.openxmlformats.org/officeDocument/2006/relationships/slideLayout" Target="../slideLayouts/slideLayout70.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66" Type="http://schemas.openxmlformats.org/officeDocument/2006/relationships/tags" Target="../tags/tag108.xml"/><Relationship Id="rId87" Type="http://schemas.openxmlformats.org/officeDocument/2006/relationships/tags" Target="../tags/tag129.xml"/><Relationship Id="rId110" Type="http://schemas.openxmlformats.org/officeDocument/2006/relationships/tags" Target="../tags/tag152.xml"/><Relationship Id="rId115" Type="http://schemas.openxmlformats.org/officeDocument/2006/relationships/tags" Target="../tags/tag157.xml"/><Relationship Id="rId131" Type="http://schemas.openxmlformats.org/officeDocument/2006/relationships/tags" Target="../tags/tag173.xml"/><Relationship Id="rId136" Type="http://schemas.openxmlformats.org/officeDocument/2006/relationships/oleObject" Target="../embeddings/oleObject1.bin"/><Relationship Id="rId61" Type="http://schemas.openxmlformats.org/officeDocument/2006/relationships/tags" Target="../tags/tag103.xml"/><Relationship Id="rId82" Type="http://schemas.openxmlformats.org/officeDocument/2006/relationships/tags" Target="../tags/tag124.xml"/><Relationship Id="rId19" Type="http://schemas.openxmlformats.org/officeDocument/2006/relationships/slideLayout" Target="../slideLayouts/slideLayout65.xml"/><Relationship Id="rId14" Type="http://schemas.openxmlformats.org/officeDocument/2006/relationships/slideLayout" Target="../slideLayouts/slideLayout60.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56" Type="http://schemas.openxmlformats.org/officeDocument/2006/relationships/tags" Target="../tags/tag98.xml"/><Relationship Id="rId77" Type="http://schemas.openxmlformats.org/officeDocument/2006/relationships/tags" Target="../tags/tag119.xml"/><Relationship Id="rId100" Type="http://schemas.openxmlformats.org/officeDocument/2006/relationships/tags" Target="../tags/tag142.xml"/><Relationship Id="rId105" Type="http://schemas.openxmlformats.org/officeDocument/2006/relationships/tags" Target="../tags/tag147.xml"/><Relationship Id="rId126" Type="http://schemas.openxmlformats.org/officeDocument/2006/relationships/tags" Target="../tags/tag168.xml"/><Relationship Id="rId8" Type="http://schemas.openxmlformats.org/officeDocument/2006/relationships/slideLayout" Target="../slideLayouts/slideLayout54.xml"/><Relationship Id="rId51" Type="http://schemas.openxmlformats.org/officeDocument/2006/relationships/tags" Target="../tags/tag93.xml"/><Relationship Id="rId72" Type="http://schemas.openxmlformats.org/officeDocument/2006/relationships/tags" Target="../tags/tag114.xml"/><Relationship Id="rId93" Type="http://schemas.openxmlformats.org/officeDocument/2006/relationships/tags" Target="../tags/tag135.xml"/><Relationship Id="rId98" Type="http://schemas.openxmlformats.org/officeDocument/2006/relationships/tags" Target="../tags/tag140.xml"/><Relationship Id="rId121" Type="http://schemas.openxmlformats.org/officeDocument/2006/relationships/tags" Target="../tags/tag163.xml"/><Relationship Id="rId3" Type="http://schemas.openxmlformats.org/officeDocument/2006/relationships/slideLayout" Target="../slideLayouts/slideLayout49.xml"/><Relationship Id="rId25" Type="http://schemas.openxmlformats.org/officeDocument/2006/relationships/slideLayout" Target="../slideLayouts/slideLayout71.xml"/><Relationship Id="rId46" Type="http://schemas.openxmlformats.org/officeDocument/2006/relationships/theme" Target="../theme/theme3.xml"/><Relationship Id="rId67" Type="http://schemas.openxmlformats.org/officeDocument/2006/relationships/tags" Target="../tags/tag109.xml"/><Relationship Id="rId116" Type="http://schemas.openxmlformats.org/officeDocument/2006/relationships/tags" Target="../tags/tag158.xml"/><Relationship Id="rId137" Type="http://schemas.openxmlformats.org/officeDocument/2006/relationships/image" Target="../media/image5.emf"/><Relationship Id="rId20" Type="http://schemas.openxmlformats.org/officeDocument/2006/relationships/slideLayout" Target="../slideLayouts/slideLayout66.xml"/><Relationship Id="rId41" Type="http://schemas.openxmlformats.org/officeDocument/2006/relationships/slideLayout" Target="../slideLayouts/slideLayout87.xml"/><Relationship Id="rId62" Type="http://schemas.openxmlformats.org/officeDocument/2006/relationships/tags" Target="../tags/tag104.xml"/><Relationship Id="rId83" Type="http://schemas.openxmlformats.org/officeDocument/2006/relationships/tags" Target="../tags/tag125.xml"/><Relationship Id="rId88" Type="http://schemas.openxmlformats.org/officeDocument/2006/relationships/tags" Target="../tags/tag130.xml"/><Relationship Id="rId111" Type="http://schemas.openxmlformats.org/officeDocument/2006/relationships/tags" Target="../tags/tag153.xml"/><Relationship Id="rId132" Type="http://schemas.openxmlformats.org/officeDocument/2006/relationships/tags" Target="../tags/tag174.xml"/><Relationship Id="rId15" Type="http://schemas.openxmlformats.org/officeDocument/2006/relationships/slideLayout" Target="../slideLayouts/slideLayout61.xml"/><Relationship Id="rId36" Type="http://schemas.openxmlformats.org/officeDocument/2006/relationships/slideLayout" Target="../slideLayouts/slideLayout82.xml"/><Relationship Id="rId57" Type="http://schemas.openxmlformats.org/officeDocument/2006/relationships/tags" Target="../tags/tag99.xml"/><Relationship Id="rId106" Type="http://schemas.openxmlformats.org/officeDocument/2006/relationships/tags" Target="../tags/tag148.xml"/><Relationship Id="rId127" Type="http://schemas.openxmlformats.org/officeDocument/2006/relationships/tags" Target="../tags/tag169.xml"/><Relationship Id="rId10" Type="http://schemas.openxmlformats.org/officeDocument/2006/relationships/slideLayout" Target="../slideLayouts/slideLayout56.xml"/><Relationship Id="rId31" Type="http://schemas.openxmlformats.org/officeDocument/2006/relationships/slideLayout" Target="../slideLayouts/slideLayout77.xml"/><Relationship Id="rId52" Type="http://schemas.openxmlformats.org/officeDocument/2006/relationships/tags" Target="../tags/tag94.xml"/><Relationship Id="rId73" Type="http://schemas.openxmlformats.org/officeDocument/2006/relationships/tags" Target="../tags/tag115.xml"/><Relationship Id="rId78" Type="http://schemas.openxmlformats.org/officeDocument/2006/relationships/tags" Target="../tags/tag120.xml"/><Relationship Id="rId94" Type="http://schemas.openxmlformats.org/officeDocument/2006/relationships/tags" Target="../tags/tag136.xml"/><Relationship Id="rId99" Type="http://schemas.openxmlformats.org/officeDocument/2006/relationships/tags" Target="../tags/tag141.xml"/><Relationship Id="rId101" Type="http://schemas.openxmlformats.org/officeDocument/2006/relationships/tags" Target="../tags/tag143.xml"/><Relationship Id="rId122" Type="http://schemas.openxmlformats.org/officeDocument/2006/relationships/tags" Target="../tags/tag164.xml"/><Relationship Id="rId4" Type="http://schemas.openxmlformats.org/officeDocument/2006/relationships/slideLayout" Target="../slideLayouts/slideLayout50.xml"/><Relationship Id="rId9" Type="http://schemas.openxmlformats.org/officeDocument/2006/relationships/slideLayout" Target="../slideLayouts/slideLayout55.xml"/><Relationship Id="rId26" Type="http://schemas.openxmlformats.org/officeDocument/2006/relationships/slideLayout" Target="../slideLayouts/slideLayout72.xml"/><Relationship Id="rId47" Type="http://schemas.openxmlformats.org/officeDocument/2006/relationships/tags" Target="../tags/tag89.xml"/><Relationship Id="rId68" Type="http://schemas.openxmlformats.org/officeDocument/2006/relationships/tags" Target="../tags/tag110.xml"/><Relationship Id="rId89" Type="http://schemas.openxmlformats.org/officeDocument/2006/relationships/tags" Target="../tags/tag131.xml"/><Relationship Id="rId112" Type="http://schemas.openxmlformats.org/officeDocument/2006/relationships/tags" Target="../tags/tag154.xml"/><Relationship Id="rId133" Type="http://schemas.openxmlformats.org/officeDocument/2006/relationships/tags" Target="../tags/tag17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7.xml"/><Relationship Id="rId117" Type="http://schemas.openxmlformats.org/officeDocument/2006/relationships/tags" Target="../tags/tag264.xml"/><Relationship Id="rId21" Type="http://schemas.openxmlformats.org/officeDocument/2006/relationships/slideLayout" Target="../slideLayouts/slideLayout112.xml"/><Relationship Id="rId42" Type="http://schemas.openxmlformats.org/officeDocument/2006/relationships/tags" Target="../tags/tag189.xml"/><Relationship Id="rId47" Type="http://schemas.openxmlformats.org/officeDocument/2006/relationships/tags" Target="../tags/tag194.xml"/><Relationship Id="rId63" Type="http://schemas.openxmlformats.org/officeDocument/2006/relationships/tags" Target="../tags/tag210.xml"/><Relationship Id="rId68" Type="http://schemas.openxmlformats.org/officeDocument/2006/relationships/tags" Target="../tags/tag215.xml"/><Relationship Id="rId84" Type="http://schemas.openxmlformats.org/officeDocument/2006/relationships/tags" Target="../tags/tag231.xml"/><Relationship Id="rId89" Type="http://schemas.openxmlformats.org/officeDocument/2006/relationships/tags" Target="../tags/tag236.xml"/><Relationship Id="rId112" Type="http://schemas.openxmlformats.org/officeDocument/2006/relationships/tags" Target="../tags/tag259.xml"/><Relationship Id="rId16" Type="http://schemas.openxmlformats.org/officeDocument/2006/relationships/slideLayout" Target="../slideLayouts/slideLayout107.xml"/><Relationship Id="rId107" Type="http://schemas.openxmlformats.org/officeDocument/2006/relationships/tags" Target="../tags/tag254.xml"/><Relationship Id="rId11" Type="http://schemas.openxmlformats.org/officeDocument/2006/relationships/slideLayout" Target="../slideLayouts/slideLayout102.xml"/><Relationship Id="rId32" Type="http://schemas.openxmlformats.org/officeDocument/2006/relationships/slideLayout" Target="../slideLayouts/slideLayout123.xml"/><Relationship Id="rId37" Type="http://schemas.openxmlformats.org/officeDocument/2006/relationships/tags" Target="../tags/tag184.xml"/><Relationship Id="rId53" Type="http://schemas.openxmlformats.org/officeDocument/2006/relationships/tags" Target="../tags/tag200.xml"/><Relationship Id="rId58" Type="http://schemas.openxmlformats.org/officeDocument/2006/relationships/tags" Target="../tags/tag205.xml"/><Relationship Id="rId74" Type="http://schemas.openxmlformats.org/officeDocument/2006/relationships/tags" Target="../tags/tag221.xml"/><Relationship Id="rId79" Type="http://schemas.openxmlformats.org/officeDocument/2006/relationships/tags" Target="../tags/tag226.xml"/><Relationship Id="rId102" Type="http://schemas.openxmlformats.org/officeDocument/2006/relationships/tags" Target="../tags/tag249.xml"/><Relationship Id="rId123" Type="http://schemas.openxmlformats.org/officeDocument/2006/relationships/tags" Target="../tags/tag270.xml"/><Relationship Id="rId5" Type="http://schemas.openxmlformats.org/officeDocument/2006/relationships/slideLayout" Target="../slideLayouts/slideLayout96.xml"/><Relationship Id="rId90" Type="http://schemas.openxmlformats.org/officeDocument/2006/relationships/tags" Target="../tags/tag237.xml"/><Relationship Id="rId95" Type="http://schemas.openxmlformats.org/officeDocument/2006/relationships/tags" Target="../tags/tag242.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43" Type="http://schemas.openxmlformats.org/officeDocument/2006/relationships/tags" Target="../tags/tag190.xml"/><Relationship Id="rId48" Type="http://schemas.openxmlformats.org/officeDocument/2006/relationships/tags" Target="../tags/tag195.xml"/><Relationship Id="rId64" Type="http://schemas.openxmlformats.org/officeDocument/2006/relationships/tags" Target="../tags/tag211.xml"/><Relationship Id="rId69" Type="http://schemas.openxmlformats.org/officeDocument/2006/relationships/tags" Target="../tags/tag216.xml"/><Relationship Id="rId113" Type="http://schemas.openxmlformats.org/officeDocument/2006/relationships/tags" Target="../tags/tag260.xml"/><Relationship Id="rId118" Type="http://schemas.openxmlformats.org/officeDocument/2006/relationships/tags" Target="../tags/tag265.xml"/><Relationship Id="rId80" Type="http://schemas.openxmlformats.org/officeDocument/2006/relationships/tags" Target="../tags/tag227.xml"/><Relationship Id="rId85" Type="http://schemas.openxmlformats.org/officeDocument/2006/relationships/tags" Target="../tags/tag232.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33" Type="http://schemas.openxmlformats.org/officeDocument/2006/relationships/slideLayout" Target="../slideLayouts/slideLayout124.xml"/><Relationship Id="rId38" Type="http://schemas.openxmlformats.org/officeDocument/2006/relationships/tags" Target="../tags/tag185.xml"/><Relationship Id="rId59" Type="http://schemas.openxmlformats.org/officeDocument/2006/relationships/tags" Target="../tags/tag206.xml"/><Relationship Id="rId103" Type="http://schemas.openxmlformats.org/officeDocument/2006/relationships/tags" Target="../tags/tag250.xml"/><Relationship Id="rId108" Type="http://schemas.openxmlformats.org/officeDocument/2006/relationships/tags" Target="../tags/tag255.xml"/><Relationship Id="rId124" Type="http://schemas.openxmlformats.org/officeDocument/2006/relationships/tags" Target="../tags/tag271.xml"/><Relationship Id="rId54" Type="http://schemas.openxmlformats.org/officeDocument/2006/relationships/tags" Target="../tags/tag201.xml"/><Relationship Id="rId70" Type="http://schemas.openxmlformats.org/officeDocument/2006/relationships/tags" Target="../tags/tag217.xml"/><Relationship Id="rId75" Type="http://schemas.openxmlformats.org/officeDocument/2006/relationships/tags" Target="../tags/tag222.xml"/><Relationship Id="rId91" Type="http://schemas.openxmlformats.org/officeDocument/2006/relationships/tags" Target="../tags/tag238.xml"/><Relationship Id="rId96" Type="http://schemas.openxmlformats.org/officeDocument/2006/relationships/tags" Target="../tags/tag24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49" Type="http://schemas.openxmlformats.org/officeDocument/2006/relationships/tags" Target="../tags/tag196.xml"/><Relationship Id="rId114" Type="http://schemas.openxmlformats.org/officeDocument/2006/relationships/tags" Target="../tags/tag261.xml"/><Relationship Id="rId119" Type="http://schemas.openxmlformats.org/officeDocument/2006/relationships/tags" Target="../tags/tag266.xml"/><Relationship Id="rId44" Type="http://schemas.openxmlformats.org/officeDocument/2006/relationships/tags" Target="../tags/tag191.xml"/><Relationship Id="rId60" Type="http://schemas.openxmlformats.org/officeDocument/2006/relationships/tags" Target="../tags/tag207.xml"/><Relationship Id="rId65" Type="http://schemas.openxmlformats.org/officeDocument/2006/relationships/tags" Target="../tags/tag212.xml"/><Relationship Id="rId81" Type="http://schemas.openxmlformats.org/officeDocument/2006/relationships/tags" Target="../tags/tag228.xml"/><Relationship Id="rId86" Type="http://schemas.openxmlformats.org/officeDocument/2006/relationships/tags" Target="../tags/tag233.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tags" Target="../tags/tag186.xml"/><Relationship Id="rId109" Type="http://schemas.openxmlformats.org/officeDocument/2006/relationships/tags" Target="../tags/tag256.xml"/><Relationship Id="rId34" Type="http://schemas.openxmlformats.org/officeDocument/2006/relationships/slideLayout" Target="../slideLayouts/slideLayout125.xml"/><Relationship Id="rId50" Type="http://schemas.openxmlformats.org/officeDocument/2006/relationships/tags" Target="../tags/tag197.xml"/><Relationship Id="rId55" Type="http://schemas.openxmlformats.org/officeDocument/2006/relationships/tags" Target="../tags/tag202.xml"/><Relationship Id="rId76" Type="http://schemas.openxmlformats.org/officeDocument/2006/relationships/tags" Target="../tags/tag223.xml"/><Relationship Id="rId97" Type="http://schemas.openxmlformats.org/officeDocument/2006/relationships/tags" Target="../tags/tag244.xml"/><Relationship Id="rId104" Type="http://schemas.openxmlformats.org/officeDocument/2006/relationships/tags" Target="../tags/tag251.xml"/><Relationship Id="rId120" Type="http://schemas.openxmlformats.org/officeDocument/2006/relationships/tags" Target="../tags/tag267.xml"/><Relationship Id="rId7" Type="http://schemas.openxmlformats.org/officeDocument/2006/relationships/slideLayout" Target="../slideLayouts/slideLayout98.xml"/><Relationship Id="rId71" Type="http://schemas.openxmlformats.org/officeDocument/2006/relationships/tags" Target="../tags/tag218.xml"/><Relationship Id="rId92" Type="http://schemas.openxmlformats.org/officeDocument/2006/relationships/tags" Target="../tags/tag239.xml"/><Relationship Id="rId2" Type="http://schemas.openxmlformats.org/officeDocument/2006/relationships/slideLayout" Target="../slideLayouts/slideLayout93.xml"/><Relationship Id="rId29" Type="http://schemas.openxmlformats.org/officeDocument/2006/relationships/slideLayout" Target="../slideLayouts/slideLayout120.xml"/><Relationship Id="rId24" Type="http://schemas.openxmlformats.org/officeDocument/2006/relationships/slideLayout" Target="../slideLayouts/slideLayout115.xml"/><Relationship Id="rId40" Type="http://schemas.openxmlformats.org/officeDocument/2006/relationships/tags" Target="../tags/tag187.xml"/><Relationship Id="rId45" Type="http://schemas.openxmlformats.org/officeDocument/2006/relationships/tags" Target="../tags/tag192.xml"/><Relationship Id="rId66" Type="http://schemas.openxmlformats.org/officeDocument/2006/relationships/tags" Target="../tags/tag213.xml"/><Relationship Id="rId87" Type="http://schemas.openxmlformats.org/officeDocument/2006/relationships/tags" Target="../tags/tag234.xml"/><Relationship Id="rId110" Type="http://schemas.openxmlformats.org/officeDocument/2006/relationships/tags" Target="../tags/tag257.xml"/><Relationship Id="rId115" Type="http://schemas.openxmlformats.org/officeDocument/2006/relationships/tags" Target="../tags/tag262.xml"/><Relationship Id="rId61" Type="http://schemas.openxmlformats.org/officeDocument/2006/relationships/tags" Target="../tags/tag208.xml"/><Relationship Id="rId82" Type="http://schemas.openxmlformats.org/officeDocument/2006/relationships/tags" Target="../tags/tag229.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56" Type="http://schemas.openxmlformats.org/officeDocument/2006/relationships/tags" Target="../tags/tag203.xml"/><Relationship Id="rId77" Type="http://schemas.openxmlformats.org/officeDocument/2006/relationships/tags" Target="../tags/tag224.xml"/><Relationship Id="rId100" Type="http://schemas.openxmlformats.org/officeDocument/2006/relationships/tags" Target="../tags/tag247.xml"/><Relationship Id="rId105" Type="http://schemas.openxmlformats.org/officeDocument/2006/relationships/tags" Target="../tags/tag252.xml"/><Relationship Id="rId8" Type="http://schemas.openxmlformats.org/officeDocument/2006/relationships/slideLayout" Target="../slideLayouts/slideLayout99.xml"/><Relationship Id="rId51" Type="http://schemas.openxmlformats.org/officeDocument/2006/relationships/tags" Target="../tags/tag198.xml"/><Relationship Id="rId72" Type="http://schemas.openxmlformats.org/officeDocument/2006/relationships/tags" Target="../tags/tag219.xml"/><Relationship Id="rId93" Type="http://schemas.openxmlformats.org/officeDocument/2006/relationships/tags" Target="../tags/tag240.xml"/><Relationship Id="rId98" Type="http://schemas.openxmlformats.org/officeDocument/2006/relationships/tags" Target="../tags/tag245.xml"/><Relationship Id="rId121" Type="http://schemas.openxmlformats.org/officeDocument/2006/relationships/tags" Target="../tags/tag268.xml"/><Relationship Id="rId3" Type="http://schemas.openxmlformats.org/officeDocument/2006/relationships/slideLayout" Target="../slideLayouts/slideLayout94.xml"/><Relationship Id="rId25" Type="http://schemas.openxmlformats.org/officeDocument/2006/relationships/slideLayout" Target="../slideLayouts/slideLayout116.xml"/><Relationship Id="rId46" Type="http://schemas.openxmlformats.org/officeDocument/2006/relationships/tags" Target="../tags/tag193.xml"/><Relationship Id="rId67" Type="http://schemas.openxmlformats.org/officeDocument/2006/relationships/tags" Target="../tags/tag214.xml"/><Relationship Id="rId116" Type="http://schemas.openxmlformats.org/officeDocument/2006/relationships/tags" Target="../tags/tag263.xml"/><Relationship Id="rId20" Type="http://schemas.openxmlformats.org/officeDocument/2006/relationships/slideLayout" Target="../slideLayouts/slideLayout111.xml"/><Relationship Id="rId41" Type="http://schemas.openxmlformats.org/officeDocument/2006/relationships/tags" Target="../tags/tag188.xml"/><Relationship Id="rId62" Type="http://schemas.openxmlformats.org/officeDocument/2006/relationships/tags" Target="../tags/tag209.xml"/><Relationship Id="rId83" Type="http://schemas.openxmlformats.org/officeDocument/2006/relationships/tags" Target="../tags/tag230.xml"/><Relationship Id="rId88" Type="http://schemas.openxmlformats.org/officeDocument/2006/relationships/tags" Target="../tags/tag235.xml"/><Relationship Id="rId111" Type="http://schemas.openxmlformats.org/officeDocument/2006/relationships/tags" Target="../tags/tag258.xml"/><Relationship Id="rId15" Type="http://schemas.openxmlformats.org/officeDocument/2006/relationships/slideLayout" Target="../slideLayouts/slideLayout106.xml"/><Relationship Id="rId36" Type="http://schemas.openxmlformats.org/officeDocument/2006/relationships/theme" Target="../theme/theme4.xml"/><Relationship Id="rId57" Type="http://schemas.openxmlformats.org/officeDocument/2006/relationships/tags" Target="../tags/tag204.xml"/><Relationship Id="rId106" Type="http://schemas.openxmlformats.org/officeDocument/2006/relationships/tags" Target="../tags/tag253.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52" Type="http://schemas.openxmlformats.org/officeDocument/2006/relationships/tags" Target="../tags/tag199.xml"/><Relationship Id="rId73" Type="http://schemas.openxmlformats.org/officeDocument/2006/relationships/tags" Target="../tags/tag220.xml"/><Relationship Id="rId78" Type="http://schemas.openxmlformats.org/officeDocument/2006/relationships/tags" Target="../tags/tag225.xml"/><Relationship Id="rId94" Type="http://schemas.openxmlformats.org/officeDocument/2006/relationships/tags" Target="../tags/tag241.xml"/><Relationship Id="rId99" Type="http://schemas.openxmlformats.org/officeDocument/2006/relationships/tags" Target="../tags/tag246.xml"/><Relationship Id="rId101" Type="http://schemas.openxmlformats.org/officeDocument/2006/relationships/tags" Target="../tags/tag248.xml"/><Relationship Id="rId122" Type="http://schemas.openxmlformats.org/officeDocument/2006/relationships/tags" Target="../tags/tag269.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2.xml"/><Relationship Id="rId117" Type="http://schemas.openxmlformats.org/officeDocument/2006/relationships/tags" Target="../tags/tag350.xml"/><Relationship Id="rId21" Type="http://schemas.openxmlformats.org/officeDocument/2006/relationships/slideLayout" Target="../slideLayouts/slideLayout147.xml"/><Relationship Id="rId42" Type="http://schemas.openxmlformats.org/officeDocument/2006/relationships/tags" Target="../tags/tag275.xml"/><Relationship Id="rId47" Type="http://schemas.openxmlformats.org/officeDocument/2006/relationships/tags" Target="../tags/tag280.xml"/><Relationship Id="rId63" Type="http://schemas.openxmlformats.org/officeDocument/2006/relationships/tags" Target="../tags/tag296.xml"/><Relationship Id="rId68" Type="http://schemas.openxmlformats.org/officeDocument/2006/relationships/tags" Target="../tags/tag301.xml"/><Relationship Id="rId84" Type="http://schemas.openxmlformats.org/officeDocument/2006/relationships/tags" Target="../tags/tag317.xml"/><Relationship Id="rId89" Type="http://schemas.openxmlformats.org/officeDocument/2006/relationships/tags" Target="../tags/tag322.xml"/><Relationship Id="rId112" Type="http://schemas.openxmlformats.org/officeDocument/2006/relationships/tags" Target="../tags/tag345.xml"/><Relationship Id="rId16" Type="http://schemas.openxmlformats.org/officeDocument/2006/relationships/slideLayout" Target="../slideLayouts/slideLayout142.xml"/><Relationship Id="rId107" Type="http://schemas.openxmlformats.org/officeDocument/2006/relationships/tags" Target="../tags/tag340.xml"/><Relationship Id="rId11" Type="http://schemas.openxmlformats.org/officeDocument/2006/relationships/slideLayout" Target="../slideLayouts/slideLayout137.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53" Type="http://schemas.openxmlformats.org/officeDocument/2006/relationships/tags" Target="../tags/tag286.xml"/><Relationship Id="rId58" Type="http://schemas.openxmlformats.org/officeDocument/2006/relationships/tags" Target="../tags/tag291.xml"/><Relationship Id="rId74" Type="http://schemas.openxmlformats.org/officeDocument/2006/relationships/tags" Target="../tags/tag307.xml"/><Relationship Id="rId79" Type="http://schemas.openxmlformats.org/officeDocument/2006/relationships/tags" Target="../tags/tag312.xml"/><Relationship Id="rId102" Type="http://schemas.openxmlformats.org/officeDocument/2006/relationships/tags" Target="../tags/tag335.xml"/><Relationship Id="rId123" Type="http://schemas.openxmlformats.org/officeDocument/2006/relationships/tags" Target="../tags/tag356.xml"/><Relationship Id="rId5" Type="http://schemas.openxmlformats.org/officeDocument/2006/relationships/slideLayout" Target="../slideLayouts/slideLayout131.xml"/><Relationship Id="rId90" Type="http://schemas.openxmlformats.org/officeDocument/2006/relationships/tags" Target="../tags/tag323.xml"/><Relationship Id="rId95" Type="http://schemas.openxmlformats.org/officeDocument/2006/relationships/tags" Target="../tags/tag328.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43" Type="http://schemas.openxmlformats.org/officeDocument/2006/relationships/tags" Target="../tags/tag276.xml"/><Relationship Id="rId48" Type="http://schemas.openxmlformats.org/officeDocument/2006/relationships/tags" Target="../tags/tag281.xml"/><Relationship Id="rId64" Type="http://schemas.openxmlformats.org/officeDocument/2006/relationships/tags" Target="../tags/tag297.xml"/><Relationship Id="rId69" Type="http://schemas.openxmlformats.org/officeDocument/2006/relationships/tags" Target="../tags/tag302.xml"/><Relationship Id="rId113" Type="http://schemas.openxmlformats.org/officeDocument/2006/relationships/tags" Target="../tags/tag346.xml"/><Relationship Id="rId118" Type="http://schemas.openxmlformats.org/officeDocument/2006/relationships/tags" Target="../tags/tag351.xml"/><Relationship Id="rId80" Type="http://schemas.openxmlformats.org/officeDocument/2006/relationships/tags" Target="../tags/tag313.xml"/><Relationship Id="rId85" Type="http://schemas.openxmlformats.org/officeDocument/2006/relationships/tags" Target="../tags/tag318.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33" Type="http://schemas.openxmlformats.org/officeDocument/2006/relationships/slideLayout" Target="../slideLayouts/slideLayout159.xml"/><Relationship Id="rId38" Type="http://schemas.openxmlformats.org/officeDocument/2006/relationships/theme" Target="../theme/theme5.xml"/><Relationship Id="rId59" Type="http://schemas.openxmlformats.org/officeDocument/2006/relationships/tags" Target="../tags/tag292.xml"/><Relationship Id="rId103" Type="http://schemas.openxmlformats.org/officeDocument/2006/relationships/tags" Target="../tags/tag336.xml"/><Relationship Id="rId108" Type="http://schemas.openxmlformats.org/officeDocument/2006/relationships/tags" Target="../tags/tag341.xml"/><Relationship Id="rId124" Type="http://schemas.openxmlformats.org/officeDocument/2006/relationships/tags" Target="../tags/tag357.xml"/><Relationship Id="rId54" Type="http://schemas.openxmlformats.org/officeDocument/2006/relationships/tags" Target="../tags/tag287.xml"/><Relationship Id="rId70" Type="http://schemas.openxmlformats.org/officeDocument/2006/relationships/tags" Target="../tags/tag303.xml"/><Relationship Id="rId75" Type="http://schemas.openxmlformats.org/officeDocument/2006/relationships/tags" Target="../tags/tag308.xml"/><Relationship Id="rId91" Type="http://schemas.openxmlformats.org/officeDocument/2006/relationships/tags" Target="../tags/tag324.xml"/><Relationship Id="rId96" Type="http://schemas.openxmlformats.org/officeDocument/2006/relationships/tags" Target="../tags/tag329.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49" Type="http://schemas.openxmlformats.org/officeDocument/2006/relationships/tags" Target="../tags/tag282.xml"/><Relationship Id="rId114" Type="http://schemas.openxmlformats.org/officeDocument/2006/relationships/tags" Target="../tags/tag347.xml"/><Relationship Id="rId119" Type="http://schemas.openxmlformats.org/officeDocument/2006/relationships/tags" Target="../tags/tag352.xml"/><Relationship Id="rId44" Type="http://schemas.openxmlformats.org/officeDocument/2006/relationships/tags" Target="../tags/tag277.xml"/><Relationship Id="rId60" Type="http://schemas.openxmlformats.org/officeDocument/2006/relationships/tags" Target="../tags/tag293.xml"/><Relationship Id="rId65" Type="http://schemas.openxmlformats.org/officeDocument/2006/relationships/tags" Target="../tags/tag298.xml"/><Relationship Id="rId81" Type="http://schemas.openxmlformats.org/officeDocument/2006/relationships/tags" Target="../tags/tag314.xml"/><Relationship Id="rId86" Type="http://schemas.openxmlformats.org/officeDocument/2006/relationships/tags" Target="../tags/tag319.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9" Type="http://schemas.openxmlformats.org/officeDocument/2006/relationships/tags" Target="../tags/tag272.xml"/><Relationship Id="rId109" Type="http://schemas.openxmlformats.org/officeDocument/2006/relationships/tags" Target="../tags/tag342.xml"/><Relationship Id="rId34" Type="http://schemas.openxmlformats.org/officeDocument/2006/relationships/slideLayout" Target="../slideLayouts/slideLayout160.xml"/><Relationship Id="rId50" Type="http://schemas.openxmlformats.org/officeDocument/2006/relationships/tags" Target="../tags/tag283.xml"/><Relationship Id="rId55" Type="http://schemas.openxmlformats.org/officeDocument/2006/relationships/tags" Target="../tags/tag288.xml"/><Relationship Id="rId76" Type="http://schemas.openxmlformats.org/officeDocument/2006/relationships/tags" Target="../tags/tag309.xml"/><Relationship Id="rId97" Type="http://schemas.openxmlformats.org/officeDocument/2006/relationships/tags" Target="../tags/tag330.xml"/><Relationship Id="rId104" Type="http://schemas.openxmlformats.org/officeDocument/2006/relationships/tags" Target="../tags/tag337.xml"/><Relationship Id="rId120" Type="http://schemas.openxmlformats.org/officeDocument/2006/relationships/tags" Target="../tags/tag353.xml"/><Relationship Id="rId125" Type="http://schemas.openxmlformats.org/officeDocument/2006/relationships/tags" Target="../tags/tag358.xml"/><Relationship Id="rId7" Type="http://schemas.openxmlformats.org/officeDocument/2006/relationships/slideLayout" Target="../slideLayouts/slideLayout133.xml"/><Relationship Id="rId71" Type="http://schemas.openxmlformats.org/officeDocument/2006/relationships/tags" Target="../tags/tag304.xml"/><Relationship Id="rId92" Type="http://schemas.openxmlformats.org/officeDocument/2006/relationships/tags" Target="../tags/tag325.xml"/><Relationship Id="rId2" Type="http://schemas.openxmlformats.org/officeDocument/2006/relationships/slideLayout" Target="../slideLayouts/slideLayout128.xml"/><Relationship Id="rId29" Type="http://schemas.openxmlformats.org/officeDocument/2006/relationships/slideLayout" Target="../slideLayouts/slideLayout155.xml"/><Relationship Id="rId24" Type="http://schemas.openxmlformats.org/officeDocument/2006/relationships/slideLayout" Target="../slideLayouts/slideLayout150.xml"/><Relationship Id="rId40" Type="http://schemas.openxmlformats.org/officeDocument/2006/relationships/tags" Target="../tags/tag273.xml"/><Relationship Id="rId45" Type="http://schemas.openxmlformats.org/officeDocument/2006/relationships/tags" Target="../tags/tag278.xml"/><Relationship Id="rId66" Type="http://schemas.openxmlformats.org/officeDocument/2006/relationships/tags" Target="../tags/tag299.xml"/><Relationship Id="rId87" Type="http://schemas.openxmlformats.org/officeDocument/2006/relationships/tags" Target="../tags/tag320.xml"/><Relationship Id="rId110" Type="http://schemas.openxmlformats.org/officeDocument/2006/relationships/tags" Target="../tags/tag343.xml"/><Relationship Id="rId115" Type="http://schemas.openxmlformats.org/officeDocument/2006/relationships/tags" Target="../tags/tag348.xml"/><Relationship Id="rId61" Type="http://schemas.openxmlformats.org/officeDocument/2006/relationships/tags" Target="../tags/tag294.xml"/><Relationship Id="rId82" Type="http://schemas.openxmlformats.org/officeDocument/2006/relationships/tags" Target="../tags/tag315.xml"/><Relationship Id="rId19" Type="http://schemas.openxmlformats.org/officeDocument/2006/relationships/slideLayout" Target="../slideLayouts/slideLayout145.xml"/><Relationship Id="rId14" Type="http://schemas.openxmlformats.org/officeDocument/2006/relationships/slideLayout" Target="../slideLayouts/slideLayout140.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56" Type="http://schemas.openxmlformats.org/officeDocument/2006/relationships/tags" Target="../tags/tag289.xml"/><Relationship Id="rId77" Type="http://schemas.openxmlformats.org/officeDocument/2006/relationships/tags" Target="../tags/tag310.xml"/><Relationship Id="rId100" Type="http://schemas.openxmlformats.org/officeDocument/2006/relationships/tags" Target="../tags/tag333.xml"/><Relationship Id="rId105" Type="http://schemas.openxmlformats.org/officeDocument/2006/relationships/tags" Target="../tags/tag338.xml"/><Relationship Id="rId126" Type="http://schemas.openxmlformats.org/officeDocument/2006/relationships/tags" Target="../tags/tag359.xml"/><Relationship Id="rId8" Type="http://schemas.openxmlformats.org/officeDocument/2006/relationships/slideLayout" Target="../slideLayouts/slideLayout134.xml"/><Relationship Id="rId51" Type="http://schemas.openxmlformats.org/officeDocument/2006/relationships/tags" Target="../tags/tag284.xml"/><Relationship Id="rId72" Type="http://schemas.openxmlformats.org/officeDocument/2006/relationships/tags" Target="../tags/tag305.xml"/><Relationship Id="rId93" Type="http://schemas.openxmlformats.org/officeDocument/2006/relationships/tags" Target="../tags/tag326.xml"/><Relationship Id="rId98" Type="http://schemas.openxmlformats.org/officeDocument/2006/relationships/tags" Target="../tags/tag331.xml"/><Relationship Id="rId121" Type="http://schemas.openxmlformats.org/officeDocument/2006/relationships/tags" Target="../tags/tag354.xml"/><Relationship Id="rId3" Type="http://schemas.openxmlformats.org/officeDocument/2006/relationships/slideLayout" Target="../slideLayouts/slideLayout129.xml"/><Relationship Id="rId25" Type="http://schemas.openxmlformats.org/officeDocument/2006/relationships/slideLayout" Target="../slideLayouts/slideLayout151.xml"/><Relationship Id="rId46" Type="http://schemas.openxmlformats.org/officeDocument/2006/relationships/tags" Target="../tags/tag279.xml"/><Relationship Id="rId67" Type="http://schemas.openxmlformats.org/officeDocument/2006/relationships/tags" Target="../tags/tag300.xml"/><Relationship Id="rId116" Type="http://schemas.openxmlformats.org/officeDocument/2006/relationships/tags" Target="../tags/tag349.xml"/><Relationship Id="rId20" Type="http://schemas.openxmlformats.org/officeDocument/2006/relationships/slideLayout" Target="../slideLayouts/slideLayout146.xml"/><Relationship Id="rId41" Type="http://schemas.openxmlformats.org/officeDocument/2006/relationships/tags" Target="../tags/tag274.xml"/><Relationship Id="rId62" Type="http://schemas.openxmlformats.org/officeDocument/2006/relationships/tags" Target="../tags/tag295.xml"/><Relationship Id="rId83" Type="http://schemas.openxmlformats.org/officeDocument/2006/relationships/tags" Target="../tags/tag316.xml"/><Relationship Id="rId88" Type="http://schemas.openxmlformats.org/officeDocument/2006/relationships/tags" Target="../tags/tag321.xml"/><Relationship Id="rId111" Type="http://schemas.openxmlformats.org/officeDocument/2006/relationships/tags" Target="../tags/tag344.xml"/><Relationship Id="rId15" Type="http://schemas.openxmlformats.org/officeDocument/2006/relationships/slideLayout" Target="../slideLayouts/slideLayout141.xml"/><Relationship Id="rId36" Type="http://schemas.openxmlformats.org/officeDocument/2006/relationships/slideLayout" Target="../slideLayouts/slideLayout162.xml"/><Relationship Id="rId57" Type="http://schemas.openxmlformats.org/officeDocument/2006/relationships/tags" Target="../tags/tag290.xml"/><Relationship Id="rId106" Type="http://schemas.openxmlformats.org/officeDocument/2006/relationships/tags" Target="../tags/tag339.xml"/><Relationship Id="rId10" Type="http://schemas.openxmlformats.org/officeDocument/2006/relationships/slideLayout" Target="../slideLayouts/slideLayout136.xml"/><Relationship Id="rId31" Type="http://schemas.openxmlformats.org/officeDocument/2006/relationships/slideLayout" Target="../slideLayouts/slideLayout157.xml"/><Relationship Id="rId52" Type="http://schemas.openxmlformats.org/officeDocument/2006/relationships/tags" Target="../tags/tag285.xml"/><Relationship Id="rId73" Type="http://schemas.openxmlformats.org/officeDocument/2006/relationships/tags" Target="../tags/tag306.xml"/><Relationship Id="rId78" Type="http://schemas.openxmlformats.org/officeDocument/2006/relationships/tags" Target="../tags/tag311.xml"/><Relationship Id="rId94" Type="http://schemas.openxmlformats.org/officeDocument/2006/relationships/tags" Target="../tags/tag327.xml"/><Relationship Id="rId99" Type="http://schemas.openxmlformats.org/officeDocument/2006/relationships/tags" Target="../tags/tag332.xml"/><Relationship Id="rId101" Type="http://schemas.openxmlformats.org/officeDocument/2006/relationships/tags" Target="../tags/tag334.xml"/><Relationship Id="rId122" Type="http://schemas.openxmlformats.org/officeDocument/2006/relationships/tags" Target="../tags/tag355.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89.xml"/><Relationship Id="rId117" Type="http://schemas.openxmlformats.org/officeDocument/2006/relationships/tags" Target="../tags/tag438.xml"/><Relationship Id="rId21" Type="http://schemas.openxmlformats.org/officeDocument/2006/relationships/slideLayout" Target="../slideLayouts/slideLayout184.xml"/><Relationship Id="rId42" Type="http://schemas.openxmlformats.org/officeDocument/2006/relationships/tags" Target="../tags/tag363.xml"/><Relationship Id="rId47" Type="http://schemas.openxmlformats.org/officeDocument/2006/relationships/tags" Target="../tags/tag368.xml"/><Relationship Id="rId63" Type="http://schemas.openxmlformats.org/officeDocument/2006/relationships/tags" Target="../tags/tag384.xml"/><Relationship Id="rId68" Type="http://schemas.openxmlformats.org/officeDocument/2006/relationships/tags" Target="../tags/tag389.xml"/><Relationship Id="rId84" Type="http://schemas.openxmlformats.org/officeDocument/2006/relationships/tags" Target="../tags/tag405.xml"/><Relationship Id="rId89" Type="http://schemas.openxmlformats.org/officeDocument/2006/relationships/tags" Target="../tags/tag410.xml"/><Relationship Id="rId112" Type="http://schemas.openxmlformats.org/officeDocument/2006/relationships/tags" Target="../tags/tag433.xml"/><Relationship Id="rId16" Type="http://schemas.openxmlformats.org/officeDocument/2006/relationships/slideLayout" Target="../slideLayouts/slideLayout179.xml"/><Relationship Id="rId107" Type="http://schemas.openxmlformats.org/officeDocument/2006/relationships/tags" Target="../tags/tag428.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tags" Target="../tags/tag374.xml"/><Relationship Id="rId58" Type="http://schemas.openxmlformats.org/officeDocument/2006/relationships/tags" Target="../tags/tag379.xml"/><Relationship Id="rId74" Type="http://schemas.openxmlformats.org/officeDocument/2006/relationships/tags" Target="../tags/tag395.xml"/><Relationship Id="rId79" Type="http://schemas.openxmlformats.org/officeDocument/2006/relationships/tags" Target="../tags/tag400.xml"/><Relationship Id="rId102" Type="http://schemas.openxmlformats.org/officeDocument/2006/relationships/tags" Target="../tags/tag423.xml"/><Relationship Id="rId123" Type="http://schemas.openxmlformats.org/officeDocument/2006/relationships/tags" Target="../tags/tag444.xml"/><Relationship Id="rId5" Type="http://schemas.openxmlformats.org/officeDocument/2006/relationships/slideLayout" Target="../slideLayouts/slideLayout168.xml"/><Relationship Id="rId90" Type="http://schemas.openxmlformats.org/officeDocument/2006/relationships/tags" Target="../tags/tag411.xml"/><Relationship Id="rId95" Type="http://schemas.openxmlformats.org/officeDocument/2006/relationships/tags" Target="../tags/tag416.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43" Type="http://schemas.openxmlformats.org/officeDocument/2006/relationships/tags" Target="../tags/tag364.xml"/><Relationship Id="rId48" Type="http://schemas.openxmlformats.org/officeDocument/2006/relationships/tags" Target="../tags/tag369.xml"/><Relationship Id="rId64" Type="http://schemas.openxmlformats.org/officeDocument/2006/relationships/tags" Target="../tags/tag385.xml"/><Relationship Id="rId69" Type="http://schemas.openxmlformats.org/officeDocument/2006/relationships/tags" Target="../tags/tag390.xml"/><Relationship Id="rId113" Type="http://schemas.openxmlformats.org/officeDocument/2006/relationships/tags" Target="../tags/tag434.xml"/><Relationship Id="rId118" Type="http://schemas.openxmlformats.org/officeDocument/2006/relationships/tags" Target="../tags/tag439.xml"/><Relationship Id="rId80" Type="http://schemas.openxmlformats.org/officeDocument/2006/relationships/tags" Target="../tags/tag401.xml"/><Relationship Id="rId85" Type="http://schemas.openxmlformats.org/officeDocument/2006/relationships/tags" Target="../tags/tag40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33" Type="http://schemas.openxmlformats.org/officeDocument/2006/relationships/slideLayout" Target="../slideLayouts/slideLayout196.xml"/><Relationship Id="rId38" Type="http://schemas.openxmlformats.org/officeDocument/2006/relationships/theme" Target="../theme/theme6.xml"/><Relationship Id="rId59" Type="http://schemas.openxmlformats.org/officeDocument/2006/relationships/tags" Target="../tags/tag380.xml"/><Relationship Id="rId103" Type="http://schemas.openxmlformats.org/officeDocument/2006/relationships/tags" Target="../tags/tag424.xml"/><Relationship Id="rId108" Type="http://schemas.openxmlformats.org/officeDocument/2006/relationships/tags" Target="../tags/tag429.xml"/><Relationship Id="rId124" Type="http://schemas.openxmlformats.org/officeDocument/2006/relationships/tags" Target="../tags/tag445.xml"/><Relationship Id="rId54" Type="http://schemas.openxmlformats.org/officeDocument/2006/relationships/tags" Target="../tags/tag375.xml"/><Relationship Id="rId70" Type="http://schemas.openxmlformats.org/officeDocument/2006/relationships/tags" Target="../tags/tag391.xml"/><Relationship Id="rId75" Type="http://schemas.openxmlformats.org/officeDocument/2006/relationships/tags" Target="../tags/tag396.xml"/><Relationship Id="rId91" Type="http://schemas.openxmlformats.org/officeDocument/2006/relationships/tags" Target="../tags/tag412.xml"/><Relationship Id="rId96" Type="http://schemas.openxmlformats.org/officeDocument/2006/relationships/tags" Target="../tags/tag41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49" Type="http://schemas.openxmlformats.org/officeDocument/2006/relationships/tags" Target="../tags/tag370.xml"/><Relationship Id="rId114" Type="http://schemas.openxmlformats.org/officeDocument/2006/relationships/tags" Target="../tags/tag435.xml"/><Relationship Id="rId119" Type="http://schemas.openxmlformats.org/officeDocument/2006/relationships/tags" Target="../tags/tag440.xml"/><Relationship Id="rId44" Type="http://schemas.openxmlformats.org/officeDocument/2006/relationships/tags" Target="../tags/tag365.xml"/><Relationship Id="rId60" Type="http://schemas.openxmlformats.org/officeDocument/2006/relationships/tags" Target="../tags/tag381.xml"/><Relationship Id="rId65" Type="http://schemas.openxmlformats.org/officeDocument/2006/relationships/tags" Target="../tags/tag386.xml"/><Relationship Id="rId81" Type="http://schemas.openxmlformats.org/officeDocument/2006/relationships/tags" Target="../tags/tag402.xml"/><Relationship Id="rId86" Type="http://schemas.openxmlformats.org/officeDocument/2006/relationships/tags" Target="../tags/tag407.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tags" Target="../tags/tag360.xml"/><Relationship Id="rId109" Type="http://schemas.openxmlformats.org/officeDocument/2006/relationships/tags" Target="../tags/tag430.xml"/><Relationship Id="rId34" Type="http://schemas.openxmlformats.org/officeDocument/2006/relationships/slideLayout" Target="../slideLayouts/slideLayout197.xml"/><Relationship Id="rId50" Type="http://schemas.openxmlformats.org/officeDocument/2006/relationships/tags" Target="../tags/tag371.xml"/><Relationship Id="rId55" Type="http://schemas.openxmlformats.org/officeDocument/2006/relationships/tags" Target="../tags/tag376.xml"/><Relationship Id="rId76" Type="http://schemas.openxmlformats.org/officeDocument/2006/relationships/tags" Target="../tags/tag397.xml"/><Relationship Id="rId97" Type="http://schemas.openxmlformats.org/officeDocument/2006/relationships/tags" Target="../tags/tag418.xml"/><Relationship Id="rId104" Type="http://schemas.openxmlformats.org/officeDocument/2006/relationships/tags" Target="../tags/tag425.xml"/><Relationship Id="rId120" Type="http://schemas.openxmlformats.org/officeDocument/2006/relationships/tags" Target="../tags/tag441.xml"/><Relationship Id="rId125" Type="http://schemas.openxmlformats.org/officeDocument/2006/relationships/tags" Target="../tags/tag446.xml"/><Relationship Id="rId7" Type="http://schemas.openxmlformats.org/officeDocument/2006/relationships/slideLayout" Target="../slideLayouts/slideLayout170.xml"/><Relationship Id="rId71" Type="http://schemas.openxmlformats.org/officeDocument/2006/relationships/tags" Target="../tags/tag392.xml"/><Relationship Id="rId92" Type="http://schemas.openxmlformats.org/officeDocument/2006/relationships/tags" Target="../tags/tag413.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tags" Target="../tags/tag361.xml"/><Relationship Id="rId45" Type="http://schemas.openxmlformats.org/officeDocument/2006/relationships/tags" Target="../tags/tag366.xml"/><Relationship Id="rId66" Type="http://schemas.openxmlformats.org/officeDocument/2006/relationships/tags" Target="../tags/tag387.xml"/><Relationship Id="rId87" Type="http://schemas.openxmlformats.org/officeDocument/2006/relationships/tags" Target="../tags/tag408.xml"/><Relationship Id="rId110" Type="http://schemas.openxmlformats.org/officeDocument/2006/relationships/tags" Target="../tags/tag431.xml"/><Relationship Id="rId115" Type="http://schemas.openxmlformats.org/officeDocument/2006/relationships/tags" Target="../tags/tag436.xml"/><Relationship Id="rId61" Type="http://schemas.openxmlformats.org/officeDocument/2006/relationships/tags" Target="../tags/tag382.xml"/><Relationship Id="rId82" Type="http://schemas.openxmlformats.org/officeDocument/2006/relationships/tags" Target="../tags/tag403.xml"/><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56" Type="http://schemas.openxmlformats.org/officeDocument/2006/relationships/tags" Target="../tags/tag377.xml"/><Relationship Id="rId77" Type="http://schemas.openxmlformats.org/officeDocument/2006/relationships/tags" Target="../tags/tag398.xml"/><Relationship Id="rId100" Type="http://schemas.openxmlformats.org/officeDocument/2006/relationships/tags" Target="../tags/tag421.xml"/><Relationship Id="rId105" Type="http://schemas.openxmlformats.org/officeDocument/2006/relationships/tags" Target="../tags/tag426.xml"/><Relationship Id="rId126" Type="http://schemas.openxmlformats.org/officeDocument/2006/relationships/tags" Target="../tags/tag447.xml"/><Relationship Id="rId8" Type="http://schemas.openxmlformats.org/officeDocument/2006/relationships/slideLayout" Target="../slideLayouts/slideLayout171.xml"/><Relationship Id="rId51" Type="http://schemas.openxmlformats.org/officeDocument/2006/relationships/tags" Target="../tags/tag372.xml"/><Relationship Id="rId72" Type="http://schemas.openxmlformats.org/officeDocument/2006/relationships/tags" Target="../tags/tag393.xml"/><Relationship Id="rId93" Type="http://schemas.openxmlformats.org/officeDocument/2006/relationships/tags" Target="../tags/tag414.xml"/><Relationship Id="rId98" Type="http://schemas.openxmlformats.org/officeDocument/2006/relationships/tags" Target="../tags/tag419.xml"/><Relationship Id="rId121" Type="http://schemas.openxmlformats.org/officeDocument/2006/relationships/tags" Target="../tags/tag442.xml"/><Relationship Id="rId3" Type="http://schemas.openxmlformats.org/officeDocument/2006/relationships/slideLayout" Target="../slideLayouts/slideLayout166.xml"/><Relationship Id="rId25" Type="http://schemas.openxmlformats.org/officeDocument/2006/relationships/slideLayout" Target="../slideLayouts/slideLayout188.xml"/><Relationship Id="rId46" Type="http://schemas.openxmlformats.org/officeDocument/2006/relationships/tags" Target="../tags/tag367.xml"/><Relationship Id="rId67" Type="http://schemas.openxmlformats.org/officeDocument/2006/relationships/tags" Target="../tags/tag388.xml"/><Relationship Id="rId116" Type="http://schemas.openxmlformats.org/officeDocument/2006/relationships/tags" Target="../tags/tag437.xml"/><Relationship Id="rId20" Type="http://schemas.openxmlformats.org/officeDocument/2006/relationships/slideLayout" Target="../slideLayouts/slideLayout183.xml"/><Relationship Id="rId41" Type="http://schemas.openxmlformats.org/officeDocument/2006/relationships/tags" Target="../tags/tag362.xml"/><Relationship Id="rId62" Type="http://schemas.openxmlformats.org/officeDocument/2006/relationships/tags" Target="../tags/tag383.xml"/><Relationship Id="rId83" Type="http://schemas.openxmlformats.org/officeDocument/2006/relationships/tags" Target="../tags/tag404.xml"/><Relationship Id="rId88" Type="http://schemas.openxmlformats.org/officeDocument/2006/relationships/tags" Target="../tags/tag409.xml"/><Relationship Id="rId111" Type="http://schemas.openxmlformats.org/officeDocument/2006/relationships/tags" Target="../tags/tag432.xml"/><Relationship Id="rId15" Type="http://schemas.openxmlformats.org/officeDocument/2006/relationships/slideLayout" Target="../slideLayouts/slideLayout178.xml"/><Relationship Id="rId36" Type="http://schemas.openxmlformats.org/officeDocument/2006/relationships/slideLayout" Target="../slideLayouts/slideLayout199.xml"/><Relationship Id="rId57" Type="http://schemas.openxmlformats.org/officeDocument/2006/relationships/tags" Target="../tags/tag378.xml"/><Relationship Id="rId106" Type="http://schemas.openxmlformats.org/officeDocument/2006/relationships/tags" Target="../tags/tag427.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52" Type="http://schemas.openxmlformats.org/officeDocument/2006/relationships/tags" Target="../tags/tag373.xml"/><Relationship Id="rId73" Type="http://schemas.openxmlformats.org/officeDocument/2006/relationships/tags" Target="../tags/tag394.xml"/><Relationship Id="rId78" Type="http://schemas.openxmlformats.org/officeDocument/2006/relationships/tags" Target="../tags/tag399.xml"/><Relationship Id="rId94" Type="http://schemas.openxmlformats.org/officeDocument/2006/relationships/tags" Target="../tags/tag415.xml"/><Relationship Id="rId99" Type="http://schemas.openxmlformats.org/officeDocument/2006/relationships/tags" Target="../tags/tag420.xml"/><Relationship Id="rId101" Type="http://schemas.openxmlformats.org/officeDocument/2006/relationships/tags" Target="../tags/tag422.xml"/><Relationship Id="rId122" Type="http://schemas.openxmlformats.org/officeDocument/2006/relationships/tags" Target="../tags/tag44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7.xml.rels><?xml version="1.0" encoding="UTF-8" standalone="yes"?>
<Relationships xmlns="http://schemas.openxmlformats.org/package/2006/relationships"><Relationship Id="rId26" Type="http://schemas.openxmlformats.org/officeDocument/2006/relationships/tags" Target="../tags/tag461.xml"/><Relationship Id="rId21" Type="http://schemas.openxmlformats.org/officeDocument/2006/relationships/tags" Target="../tags/tag456.xml"/><Relationship Id="rId42" Type="http://schemas.openxmlformats.org/officeDocument/2006/relationships/tags" Target="../tags/tag477.xml"/><Relationship Id="rId47" Type="http://schemas.openxmlformats.org/officeDocument/2006/relationships/tags" Target="../tags/tag482.xml"/><Relationship Id="rId63" Type="http://schemas.openxmlformats.org/officeDocument/2006/relationships/tags" Target="../tags/tag498.xml"/><Relationship Id="rId68" Type="http://schemas.openxmlformats.org/officeDocument/2006/relationships/tags" Target="../tags/tag503.xml"/><Relationship Id="rId84" Type="http://schemas.openxmlformats.org/officeDocument/2006/relationships/tags" Target="../tags/tag519.xml"/><Relationship Id="rId89" Type="http://schemas.openxmlformats.org/officeDocument/2006/relationships/tags" Target="../tags/tag524.xml"/><Relationship Id="rId16" Type="http://schemas.openxmlformats.org/officeDocument/2006/relationships/tags" Target="../tags/tag451.xml"/><Relationship Id="rId11" Type="http://schemas.openxmlformats.org/officeDocument/2006/relationships/slideLayout" Target="../slideLayouts/slideLayout211.xml"/><Relationship Id="rId32" Type="http://schemas.openxmlformats.org/officeDocument/2006/relationships/tags" Target="../tags/tag467.xml"/><Relationship Id="rId37" Type="http://schemas.openxmlformats.org/officeDocument/2006/relationships/tags" Target="../tags/tag472.xml"/><Relationship Id="rId53" Type="http://schemas.openxmlformats.org/officeDocument/2006/relationships/tags" Target="../tags/tag488.xml"/><Relationship Id="rId58" Type="http://schemas.openxmlformats.org/officeDocument/2006/relationships/tags" Target="../tags/tag493.xml"/><Relationship Id="rId74" Type="http://schemas.openxmlformats.org/officeDocument/2006/relationships/tags" Target="../tags/tag509.xml"/><Relationship Id="rId79" Type="http://schemas.openxmlformats.org/officeDocument/2006/relationships/tags" Target="../tags/tag514.xml"/><Relationship Id="rId102" Type="http://schemas.openxmlformats.org/officeDocument/2006/relationships/oleObject" Target="../embeddings/oleObject2.bin"/><Relationship Id="rId5" Type="http://schemas.openxmlformats.org/officeDocument/2006/relationships/slideLayout" Target="../slideLayouts/slideLayout205.xml"/><Relationship Id="rId90" Type="http://schemas.openxmlformats.org/officeDocument/2006/relationships/tags" Target="../tags/tag525.xml"/><Relationship Id="rId95" Type="http://schemas.openxmlformats.org/officeDocument/2006/relationships/tags" Target="../tags/tag530.xml"/><Relationship Id="rId22" Type="http://schemas.openxmlformats.org/officeDocument/2006/relationships/tags" Target="../tags/tag457.xml"/><Relationship Id="rId27" Type="http://schemas.openxmlformats.org/officeDocument/2006/relationships/tags" Target="../tags/tag462.xml"/><Relationship Id="rId43" Type="http://schemas.openxmlformats.org/officeDocument/2006/relationships/tags" Target="../tags/tag478.xml"/><Relationship Id="rId48" Type="http://schemas.openxmlformats.org/officeDocument/2006/relationships/tags" Target="../tags/tag483.xml"/><Relationship Id="rId64" Type="http://schemas.openxmlformats.org/officeDocument/2006/relationships/tags" Target="../tags/tag499.xml"/><Relationship Id="rId69" Type="http://schemas.openxmlformats.org/officeDocument/2006/relationships/tags" Target="../tags/tag504.xml"/><Relationship Id="rId80" Type="http://schemas.openxmlformats.org/officeDocument/2006/relationships/tags" Target="../tags/tag515.xml"/><Relationship Id="rId85" Type="http://schemas.openxmlformats.org/officeDocument/2006/relationships/tags" Target="../tags/tag520.xml"/><Relationship Id="rId12" Type="http://schemas.openxmlformats.org/officeDocument/2006/relationships/theme" Target="../theme/theme7.xml"/><Relationship Id="rId17" Type="http://schemas.openxmlformats.org/officeDocument/2006/relationships/tags" Target="../tags/tag452.xml"/><Relationship Id="rId25" Type="http://schemas.openxmlformats.org/officeDocument/2006/relationships/tags" Target="../tags/tag460.xml"/><Relationship Id="rId33" Type="http://schemas.openxmlformats.org/officeDocument/2006/relationships/tags" Target="../tags/tag468.xml"/><Relationship Id="rId38" Type="http://schemas.openxmlformats.org/officeDocument/2006/relationships/tags" Target="../tags/tag473.xml"/><Relationship Id="rId46" Type="http://schemas.openxmlformats.org/officeDocument/2006/relationships/tags" Target="../tags/tag481.xml"/><Relationship Id="rId59" Type="http://schemas.openxmlformats.org/officeDocument/2006/relationships/tags" Target="../tags/tag494.xml"/><Relationship Id="rId67" Type="http://schemas.openxmlformats.org/officeDocument/2006/relationships/tags" Target="../tags/tag502.xml"/><Relationship Id="rId103" Type="http://schemas.openxmlformats.org/officeDocument/2006/relationships/image" Target="../media/image20.emf"/><Relationship Id="rId20" Type="http://schemas.openxmlformats.org/officeDocument/2006/relationships/tags" Target="../tags/tag455.xml"/><Relationship Id="rId41" Type="http://schemas.openxmlformats.org/officeDocument/2006/relationships/tags" Target="../tags/tag476.xml"/><Relationship Id="rId54" Type="http://schemas.openxmlformats.org/officeDocument/2006/relationships/tags" Target="../tags/tag489.xml"/><Relationship Id="rId62" Type="http://schemas.openxmlformats.org/officeDocument/2006/relationships/tags" Target="../tags/tag497.xml"/><Relationship Id="rId70" Type="http://schemas.openxmlformats.org/officeDocument/2006/relationships/tags" Target="../tags/tag505.xml"/><Relationship Id="rId75" Type="http://schemas.openxmlformats.org/officeDocument/2006/relationships/tags" Target="../tags/tag510.xml"/><Relationship Id="rId83" Type="http://schemas.openxmlformats.org/officeDocument/2006/relationships/tags" Target="../tags/tag518.xml"/><Relationship Id="rId88" Type="http://schemas.openxmlformats.org/officeDocument/2006/relationships/tags" Target="../tags/tag523.xml"/><Relationship Id="rId91" Type="http://schemas.openxmlformats.org/officeDocument/2006/relationships/tags" Target="../tags/tag526.xml"/><Relationship Id="rId96" Type="http://schemas.openxmlformats.org/officeDocument/2006/relationships/tags" Target="../tags/tag53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5" Type="http://schemas.openxmlformats.org/officeDocument/2006/relationships/tags" Target="../tags/tag450.xml"/><Relationship Id="rId23" Type="http://schemas.openxmlformats.org/officeDocument/2006/relationships/tags" Target="../tags/tag458.xml"/><Relationship Id="rId28" Type="http://schemas.openxmlformats.org/officeDocument/2006/relationships/tags" Target="../tags/tag463.xml"/><Relationship Id="rId36" Type="http://schemas.openxmlformats.org/officeDocument/2006/relationships/tags" Target="../tags/tag471.xml"/><Relationship Id="rId49" Type="http://schemas.openxmlformats.org/officeDocument/2006/relationships/tags" Target="../tags/tag484.xml"/><Relationship Id="rId57" Type="http://schemas.openxmlformats.org/officeDocument/2006/relationships/tags" Target="../tags/tag492.xml"/><Relationship Id="rId10" Type="http://schemas.openxmlformats.org/officeDocument/2006/relationships/slideLayout" Target="../slideLayouts/slideLayout210.xml"/><Relationship Id="rId31" Type="http://schemas.openxmlformats.org/officeDocument/2006/relationships/tags" Target="../tags/tag466.xml"/><Relationship Id="rId44" Type="http://schemas.openxmlformats.org/officeDocument/2006/relationships/tags" Target="../tags/tag479.xml"/><Relationship Id="rId52" Type="http://schemas.openxmlformats.org/officeDocument/2006/relationships/tags" Target="../tags/tag487.xml"/><Relationship Id="rId60" Type="http://schemas.openxmlformats.org/officeDocument/2006/relationships/tags" Target="../tags/tag495.xml"/><Relationship Id="rId65" Type="http://schemas.openxmlformats.org/officeDocument/2006/relationships/tags" Target="../tags/tag500.xml"/><Relationship Id="rId73" Type="http://schemas.openxmlformats.org/officeDocument/2006/relationships/tags" Target="../tags/tag508.xml"/><Relationship Id="rId78" Type="http://schemas.openxmlformats.org/officeDocument/2006/relationships/tags" Target="../tags/tag513.xml"/><Relationship Id="rId81" Type="http://schemas.openxmlformats.org/officeDocument/2006/relationships/tags" Target="../tags/tag516.xml"/><Relationship Id="rId86" Type="http://schemas.openxmlformats.org/officeDocument/2006/relationships/tags" Target="../tags/tag521.xml"/><Relationship Id="rId94" Type="http://schemas.openxmlformats.org/officeDocument/2006/relationships/tags" Target="../tags/tag529.xml"/><Relationship Id="rId99" Type="http://schemas.openxmlformats.org/officeDocument/2006/relationships/tags" Target="../tags/tag534.xml"/><Relationship Id="rId101" Type="http://schemas.openxmlformats.org/officeDocument/2006/relationships/tags" Target="../tags/tag536.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3" Type="http://schemas.openxmlformats.org/officeDocument/2006/relationships/tags" Target="../tags/tag448.xml"/><Relationship Id="rId18" Type="http://schemas.openxmlformats.org/officeDocument/2006/relationships/tags" Target="../tags/tag453.xml"/><Relationship Id="rId39" Type="http://schemas.openxmlformats.org/officeDocument/2006/relationships/tags" Target="../tags/tag474.xml"/><Relationship Id="rId34" Type="http://schemas.openxmlformats.org/officeDocument/2006/relationships/tags" Target="../tags/tag469.xml"/><Relationship Id="rId50" Type="http://schemas.openxmlformats.org/officeDocument/2006/relationships/tags" Target="../tags/tag485.xml"/><Relationship Id="rId55" Type="http://schemas.openxmlformats.org/officeDocument/2006/relationships/tags" Target="../tags/tag490.xml"/><Relationship Id="rId76" Type="http://schemas.openxmlformats.org/officeDocument/2006/relationships/tags" Target="../tags/tag511.xml"/><Relationship Id="rId97" Type="http://schemas.openxmlformats.org/officeDocument/2006/relationships/tags" Target="../tags/tag532.xml"/><Relationship Id="rId7" Type="http://schemas.openxmlformats.org/officeDocument/2006/relationships/slideLayout" Target="../slideLayouts/slideLayout207.xml"/><Relationship Id="rId71" Type="http://schemas.openxmlformats.org/officeDocument/2006/relationships/tags" Target="../tags/tag506.xml"/><Relationship Id="rId92" Type="http://schemas.openxmlformats.org/officeDocument/2006/relationships/tags" Target="../tags/tag527.xml"/><Relationship Id="rId2" Type="http://schemas.openxmlformats.org/officeDocument/2006/relationships/slideLayout" Target="../slideLayouts/slideLayout202.xml"/><Relationship Id="rId29" Type="http://schemas.openxmlformats.org/officeDocument/2006/relationships/tags" Target="../tags/tag464.xml"/><Relationship Id="rId24" Type="http://schemas.openxmlformats.org/officeDocument/2006/relationships/tags" Target="../tags/tag459.xml"/><Relationship Id="rId40" Type="http://schemas.openxmlformats.org/officeDocument/2006/relationships/tags" Target="../tags/tag475.xml"/><Relationship Id="rId45" Type="http://schemas.openxmlformats.org/officeDocument/2006/relationships/tags" Target="../tags/tag480.xml"/><Relationship Id="rId66" Type="http://schemas.openxmlformats.org/officeDocument/2006/relationships/tags" Target="../tags/tag501.xml"/><Relationship Id="rId87" Type="http://schemas.openxmlformats.org/officeDocument/2006/relationships/tags" Target="../tags/tag522.xml"/><Relationship Id="rId61" Type="http://schemas.openxmlformats.org/officeDocument/2006/relationships/tags" Target="../tags/tag496.xml"/><Relationship Id="rId82" Type="http://schemas.openxmlformats.org/officeDocument/2006/relationships/tags" Target="../tags/tag517.xml"/><Relationship Id="rId19" Type="http://schemas.openxmlformats.org/officeDocument/2006/relationships/tags" Target="../tags/tag454.xml"/><Relationship Id="rId14" Type="http://schemas.openxmlformats.org/officeDocument/2006/relationships/tags" Target="../tags/tag449.xml"/><Relationship Id="rId30" Type="http://schemas.openxmlformats.org/officeDocument/2006/relationships/tags" Target="../tags/tag465.xml"/><Relationship Id="rId35" Type="http://schemas.openxmlformats.org/officeDocument/2006/relationships/tags" Target="../tags/tag470.xml"/><Relationship Id="rId56" Type="http://schemas.openxmlformats.org/officeDocument/2006/relationships/tags" Target="../tags/tag491.xml"/><Relationship Id="rId77" Type="http://schemas.openxmlformats.org/officeDocument/2006/relationships/tags" Target="../tags/tag512.xml"/><Relationship Id="rId100" Type="http://schemas.openxmlformats.org/officeDocument/2006/relationships/tags" Target="../tags/tag535.xml"/><Relationship Id="rId8" Type="http://schemas.openxmlformats.org/officeDocument/2006/relationships/slideLayout" Target="../slideLayouts/slideLayout208.xml"/><Relationship Id="rId51" Type="http://schemas.openxmlformats.org/officeDocument/2006/relationships/tags" Target="../tags/tag486.xml"/><Relationship Id="rId72" Type="http://schemas.openxmlformats.org/officeDocument/2006/relationships/tags" Target="../tags/tag507.xml"/><Relationship Id="rId93" Type="http://schemas.openxmlformats.org/officeDocument/2006/relationships/tags" Target="../tags/tag528.xml"/><Relationship Id="rId98" Type="http://schemas.openxmlformats.org/officeDocument/2006/relationships/tags" Target="../tags/tag533.xml"/><Relationship Id="rId3" Type="http://schemas.openxmlformats.org/officeDocument/2006/relationships/slideLayout" Target="../slideLayouts/slideLayout2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955249" y="5001994"/>
            <a:ext cx="5069337" cy="1443111"/>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329" y="347"/>
                </a:moveTo>
                <a:lnTo>
                  <a:pt x="7156" y="682"/>
                </a:lnTo>
                <a:lnTo>
                  <a:pt x="5229" y="682"/>
                </a:lnTo>
                <a:lnTo>
                  <a:pt x="-328" y="345"/>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2" name="Freeform 11"/>
          <p:cNvSpPr>
            <a:spLocks/>
          </p:cNvSpPr>
          <p:nvPr/>
        </p:nvSpPr>
        <p:spPr bwMode="auto">
          <a:xfrm>
            <a:off x="-71414" y="5785023"/>
            <a:ext cx="506933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817" y="97"/>
                </a:moveTo>
                <a:lnTo>
                  <a:pt x="6408" y="682"/>
                </a:lnTo>
                <a:lnTo>
                  <a:pt x="5232" y="685"/>
                </a:lnTo>
                <a:lnTo>
                  <a:pt x="829" y="101"/>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4" name="Right Triangle 13"/>
          <p:cNvSpPr>
            <a:spLocks/>
          </p:cNvSpPr>
          <p:nvPr/>
        </p:nvSpPr>
        <p:spPr bwMode="auto">
          <a:xfrm>
            <a:off x="-8056" y="5791253"/>
            <a:ext cx="4536419" cy="1080868"/>
          </a:xfrm>
          <a:prstGeom prst="rtTriangle">
            <a:avLst/>
          </a:prstGeom>
          <a:blipFill>
            <a:blip r:embed="rId14">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eaLnBrk="1" latinLnBrk="0" hangingPunct="1"/>
            <a:endParaRPr kumimoji="0" lang="en-US" sz="1800"/>
          </a:p>
        </p:txBody>
      </p:sp>
      <p:cxnSp>
        <p:nvCxnSpPr>
          <p:cNvPr id="15" name="Straight Connector 14"/>
          <p:cNvCxnSpPr/>
          <p:nvPr/>
        </p:nvCxnSpPr>
        <p:spPr>
          <a:xfrm>
            <a:off x="-12316" y="5787739"/>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609600" y="274638"/>
            <a:ext cx="10972800" cy="1143000"/>
          </a:xfrm>
          <a:prstGeom prst="rect">
            <a:avLst/>
          </a:prstGeom>
        </p:spPr>
        <p:txBody>
          <a:bodyPr vert="horz" anchor="ctr">
            <a:normAutofit/>
            <a:scene3d>
              <a:camera prst="orthographicFront"/>
              <a:lightRig rig="soft" dir="t"/>
            </a:scene3d>
            <a:sp3d prstMaterial="softEdge">
              <a:bevelT w="25400" h="25400"/>
            </a:sp3d>
          </a:bodyPr>
          <a:lstStyle/>
          <a:p>
            <a:r>
              <a:rPr kumimoji="0" lang="en-US"/>
              <a:t>Click to edit Master title style</a:t>
            </a:r>
          </a:p>
        </p:txBody>
      </p:sp>
      <p:sp>
        <p:nvSpPr>
          <p:cNvPr id="30" name="Text Placeholder 29"/>
          <p:cNvSpPr>
            <a:spLocks noGrp="1"/>
          </p:cNvSpPr>
          <p:nvPr>
            <p:ph type="body" idx="1"/>
          </p:nvPr>
        </p:nvSpPr>
        <p:spPr>
          <a:xfrm>
            <a:off x="609600" y="1481329"/>
            <a:ext cx="10972800" cy="4525963"/>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8969376" y="6407944"/>
            <a:ext cx="2560320" cy="365760"/>
          </a:xfrm>
          <a:prstGeom prst="rect">
            <a:avLst/>
          </a:prstGeom>
        </p:spPr>
        <p:txBody>
          <a:bodyPr vert="horz" anchor="b"/>
          <a:lstStyle>
            <a:lvl1pPr algn="l" eaLnBrk="1" latinLnBrk="0" hangingPunct="1">
              <a:defRPr kumimoji="0" sz="1000">
                <a:solidFill>
                  <a:schemeClr val="tx1"/>
                </a:solidFill>
              </a:defRPr>
            </a:lvl1pPr>
            <a:extLst/>
          </a:lstStyle>
          <a:p>
            <a:fld id="{D08AA6BE-C031-46DF-91AD-ACBD1C94D749}" type="datetimeFigureOut">
              <a:rPr lang="en-US" smtClean="0"/>
              <a:pPr/>
              <a:t>4/17/2026</a:t>
            </a:fld>
            <a:endParaRPr lang="en-US"/>
          </a:p>
        </p:txBody>
      </p:sp>
      <p:sp>
        <p:nvSpPr>
          <p:cNvPr id="22" name="Footer Placeholder 21"/>
          <p:cNvSpPr>
            <a:spLocks noGrp="1"/>
          </p:cNvSpPr>
          <p:nvPr>
            <p:ph type="ftr" sz="quarter" idx="3"/>
          </p:nvPr>
        </p:nvSpPr>
        <p:spPr>
          <a:xfrm>
            <a:off x="5840097" y="6407945"/>
            <a:ext cx="3134241" cy="365125"/>
          </a:xfrm>
          <a:prstGeom prst="rect">
            <a:avLst/>
          </a:prstGeom>
        </p:spPr>
        <p:txBody>
          <a:bodyPr vert="horz" anchor="b"/>
          <a:lstStyle>
            <a:lvl1pPr algn="r" eaLnBrk="1" latinLnBrk="0" hangingPunct="1">
              <a:defRPr kumimoji="0" sz="1000">
                <a:solidFill>
                  <a:schemeClr val="tx1"/>
                </a:solidFill>
              </a:defRPr>
            </a:lvl1pPr>
            <a:extLst/>
          </a:lstStyle>
          <a:p>
            <a:endParaRPr lang="en-US"/>
          </a:p>
        </p:txBody>
      </p:sp>
      <p:sp>
        <p:nvSpPr>
          <p:cNvPr id="18" name="Slide Number Placeholder 17"/>
          <p:cNvSpPr>
            <a:spLocks noGrp="1"/>
          </p:cNvSpPr>
          <p:nvPr>
            <p:ph type="sldNum" sz="quarter" idx="4"/>
          </p:nvPr>
        </p:nvSpPr>
        <p:spPr>
          <a:xfrm>
            <a:off x="11529696" y="6407945"/>
            <a:ext cx="487680" cy="365125"/>
          </a:xfrm>
          <a:prstGeom prst="rect">
            <a:avLst/>
          </a:prstGeom>
        </p:spPr>
        <p:txBody>
          <a:bodyPr vert="horz" anchor="b"/>
          <a:lstStyle>
            <a:lvl1pPr algn="r" eaLnBrk="1" latinLnBrk="0" hangingPunct="1">
              <a:defRPr kumimoji="0" sz="1000" b="0">
                <a:solidFill>
                  <a:schemeClr val="tx1"/>
                </a:solidFill>
              </a:defRPr>
            </a:lvl1pPr>
            <a:extLst/>
          </a:lstStyle>
          <a:p>
            <a:fld id="{E5ED949D-EB89-4B16-9822-620BE1538A3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31" r:id="rId12"/>
  </p:sldLayoutIdLst>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GB"/>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2"/>
            <a:ext cx="1920000" cy="125851"/>
          </a:xfrm>
          <a:prstGeom prst="rect">
            <a:avLst/>
          </a:prstGeom>
        </p:spPr>
        <p:txBody>
          <a:bodyPr vert="horz" lIns="0" tIns="0" rIns="0" bIns="0" rtlCol="0" anchor="t"/>
          <a:lstStyle>
            <a:lvl1pPr algn="l">
              <a:defRPr sz="525">
                <a:solidFill>
                  <a:schemeClr val="tx2"/>
                </a:solidFill>
              </a:defRPr>
            </a:lvl1pPr>
          </a:lstStyle>
          <a:p>
            <a:fld id="{3849F413-F251-44C4-B7BA-891C8AB4F5BF}" type="datetime3">
              <a:rPr lang="en-US" smtClean="0"/>
              <a:t>17 April 2026</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1"/>
            <a:ext cx="1919288" cy="126000"/>
          </a:xfrm>
          <a:prstGeom prst="rect">
            <a:avLst/>
          </a:prstGeom>
        </p:spPr>
        <p:txBody>
          <a:bodyPr vert="horz" lIns="0" tIns="0" rIns="0" bIns="0" rtlCol="0" anchor="t"/>
          <a:lstStyle>
            <a:lvl1pPr algn="l">
              <a:defRPr sz="525">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2"/>
            <a:ext cx="324000" cy="125851"/>
          </a:xfrm>
          <a:prstGeom prst="rect">
            <a:avLst/>
          </a:prstGeom>
        </p:spPr>
        <p:txBody>
          <a:bodyPr vert="horz" lIns="0" tIns="0" rIns="0" bIns="0" rtlCol="0" anchor="t"/>
          <a:lstStyle>
            <a:lvl1pPr algn="l">
              <a:defRPr sz="525">
                <a:solidFill>
                  <a:schemeClr val="tx2"/>
                </a:solidFill>
              </a:defRPr>
            </a:lvl1pPr>
          </a:lstStyle>
          <a:p>
            <a:fld id="{23AA811B-2EBD-4900-905E-5BE206449611}" type="slidenum">
              <a:rPr lang="en-GB" smtClean="0"/>
              <a:pPr/>
              <a:t>‹#›</a:t>
            </a:fld>
            <a:endParaRPr lang="en-GB"/>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36"/>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37"/>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38"/>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39"/>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40"/>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41"/>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42"/>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43"/>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44"/>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45"/>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46"/>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47"/>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48"/>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49"/>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50"/>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51"/>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52"/>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53"/>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54"/>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55"/>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56"/>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57"/>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58"/>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59"/>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60"/>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61"/>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62"/>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63"/>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64"/>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65"/>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66"/>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67"/>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68"/>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69"/>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70"/>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71"/>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72"/>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73"/>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74"/>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75"/>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76"/>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77"/>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78"/>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79"/>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80"/>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81"/>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82"/>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83"/>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84"/>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85"/>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86"/>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87"/>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88"/>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89"/>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90"/>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91"/>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92"/>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93"/>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94"/>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95"/>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96"/>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97"/>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98"/>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99"/>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00"/>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01"/>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02"/>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03"/>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04"/>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05"/>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06"/>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07"/>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08"/>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09"/>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10"/>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11"/>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12"/>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13"/>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14"/>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15"/>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16"/>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17"/>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18"/>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19"/>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20"/>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21"/>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22"/>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23"/>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5"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s-ES_tradnl" sz="1500" noProof="0" err="1"/>
          </a:p>
        </p:txBody>
      </p:sp>
    </p:spTree>
    <p:extLst>
      <p:ext uri="{BB962C8B-B14F-4D97-AF65-F5344CB8AC3E}">
        <p14:creationId xmlns:p14="http://schemas.microsoft.com/office/powerpoint/2010/main" val="334676650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Lst>
  <p:hf sldNum="0" hdr="0" ftr="0" dt="0"/>
  <p:txStyles>
    <p:titleStyle>
      <a:lvl1pPr algn="l" defTabSz="685783" rtl="0" eaLnBrk="1" latinLnBrk="0" hangingPunct="1">
        <a:lnSpc>
          <a:spcPct val="100000"/>
        </a:lnSpc>
        <a:spcBef>
          <a:spcPct val="0"/>
        </a:spcBef>
        <a:buNone/>
        <a:defRPr sz="2700" kern="1200">
          <a:solidFill>
            <a:schemeClr val="tx2"/>
          </a:solidFill>
          <a:latin typeface="+mj-lt"/>
          <a:ea typeface="+mj-ea"/>
          <a:cs typeface="+mj-cs"/>
        </a:defRPr>
      </a:lvl1pPr>
    </p:titleStyle>
    <p:bodyStyle>
      <a:lvl1pPr marL="202495" indent="-202495" algn="l" defTabSz="685783" rtl="0" eaLnBrk="1" latinLnBrk="0" hangingPunct="1">
        <a:lnSpc>
          <a:spcPct val="100000"/>
        </a:lnSpc>
        <a:spcBef>
          <a:spcPts val="225"/>
        </a:spcBef>
        <a:spcAft>
          <a:spcPts val="450"/>
        </a:spcAft>
        <a:buFont typeface="Arial" panose="020B0604020202020204" pitchFamily="34" charset="0"/>
        <a:buChar char="•"/>
        <a:defRPr sz="1500" kern="1200">
          <a:solidFill>
            <a:schemeClr val="tx2"/>
          </a:solidFill>
          <a:latin typeface="+mn-lt"/>
          <a:ea typeface="+mn-ea"/>
          <a:cs typeface="+mn-cs"/>
        </a:defRPr>
      </a:lvl1pPr>
      <a:lvl2pPr marL="404990" indent="-202495" algn="l" defTabSz="685783" rtl="0" eaLnBrk="1" latinLnBrk="0" hangingPunct="1">
        <a:lnSpc>
          <a:spcPct val="100000"/>
        </a:lnSpc>
        <a:spcBef>
          <a:spcPts val="225"/>
        </a:spcBef>
        <a:spcAft>
          <a:spcPts val="450"/>
        </a:spcAft>
        <a:buFont typeface="Arial" panose="020B0604020202020204" pitchFamily="34" charset="0"/>
        <a:buChar char="•"/>
        <a:defRPr sz="1350" kern="1200">
          <a:solidFill>
            <a:schemeClr val="tx2"/>
          </a:solidFill>
          <a:latin typeface="+mn-lt"/>
          <a:ea typeface="+mn-ea"/>
          <a:cs typeface="+mn-cs"/>
        </a:defRPr>
      </a:lvl2pPr>
      <a:lvl3pPr marL="607485" indent="-202495" algn="l" defTabSz="685783" rtl="0" eaLnBrk="1" latinLnBrk="0" hangingPunct="1">
        <a:lnSpc>
          <a:spcPct val="100000"/>
        </a:lnSpc>
        <a:spcBef>
          <a:spcPts val="225"/>
        </a:spcBef>
        <a:spcAft>
          <a:spcPts val="450"/>
        </a:spcAft>
        <a:buFont typeface="Arial" panose="020B0604020202020204" pitchFamily="34" charset="0"/>
        <a:buChar char="•"/>
        <a:defRPr sz="1050" kern="1200">
          <a:solidFill>
            <a:schemeClr val="tx2"/>
          </a:solidFill>
          <a:latin typeface="+mn-lt"/>
          <a:ea typeface="+mn-ea"/>
          <a:cs typeface="+mn-cs"/>
        </a:defRPr>
      </a:lvl3pPr>
      <a:lvl4pPr marL="0" indent="0" algn="l" defTabSz="685783" rtl="0" eaLnBrk="1" latinLnBrk="0" hangingPunct="1">
        <a:lnSpc>
          <a:spcPct val="100000"/>
        </a:lnSpc>
        <a:spcBef>
          <a:spcPts val="900"/>
        </a:spcBef>
        <a:spcAft>
          <a:spcPts val="900"/>
        </a:spcAft>
        <a:buFont typeface="Arial" panose="020B0604020202020204" pitchFamily="34" charset="0"/>
        <a:buChar char="​"/>
        <a:defRPr sz="1350" b="1" kern="1200">
          <a:solidFill>
            <a:schemeClr val="tx2"/>
          </a:solidFill>
          <a:latin typeface="+mn-lt"/>
          <a:ea typeface="+mn-ea"/>
          <a:cs typeface="+mn-cs"/>
        </a:defRPr>
      </a:lvl4pPr>
      <a:lvl5pPr marL="0" indent="0" algn="l" defTabSz="685783" rtl="0" eaLnBrk="1" latinLnBrk="0" hangingPunct="1">
        <a:lnSpc>
          <a:spcPct val="100000"/>
        </a:lnSpc>
        <a:spcBef>
          <a:spcPts val="225"/>
        </a:spcBef>
        <a:spcAft>
          <a:spcPts val="450"/>
        </a:spcAft>
        <a:buFont typeface="Arial" panose="020B0604020202020204" pitchFamily="34" charset="0"/>
        <a:buChar char="​"/>
        <a:tabLst/>
        <a:defRPr sz="1350" kern="1200">
          <a:solidFill>
            <a:schemeClr val="tx2"/>
          </a:solidFill>
          <a:latin typeface="+mn-lt"/>
          <a:ea typeface="+mn-ea"/>
          <a:cs typeface="+mn-cs"/>
        </a:defRPr>
      </a:lvl5pPr>
      <a:lvl6pPr marL="0" indent="0" algn="l" defTabSz="685783" rtl="0" eaLnBrk="1" latinLnBrk="0" hangingPunct="1">
        <a:lnSpc>
          <a:spcPct val="100000"/>
        </a:lnSpc>
        <a:spcBef>
          <a:spcPts val="900"/>
        </a:spcBef>
        <a:spcAft>
          <a:spcPts val="900"/>
        </a:spcAft>
        <a:buFont typeface="Arial" panose="020B0604020202020204" pitchFamily="34" charset="0"/>
        <a:buChar char="​"/>
        <a:defRPr sz="675" b="1" kern="1200">
          <a:solidFill>
            <a:schemeClr val="tx2"/>
          </a:solidFill>
          <a:latin typeface="+mn-lt"/>
          <a:ea typeface="+mn-ea"/>
          <a:cs typeface="+mn-cs"/>
        </a:defRPr>
      </a:lvl6pPr>
      <a:lvl7pPr marL="0" indent="0" algn="l" defTabSz="685783" rtl="0" eaLnBrk="1" latinLnBrk="0" hangingPunct="1">
        <a:lnSpc>
          <a:spcPct val="100000"/>
        </a:lnSpc>
        <a:spcBef>
          <a:spcPts val="225"/>
        </a:spcBef>
        <a:spcAft>
          <a:spcPts val="450"/>
        </a:spcAft>
        <a:buFont typeface="Arial" panose="020B0604020202020204" pitchFamily="34" charset="0"/>
        <a:buChar char="​"/>
        <a:defRPr sz="675" b="0" kern="1200" baseline="0">
          <a:solidFill>
            <a:schemeClr val="tx2"/>
          </a:solidFill>
          <a:latin typeface="+mn-lt"/>
          <a:ea typeface="+mn-ea"/>
          <a:cs typeface="+mn-cs"/>
        </a:defRPr>
      </a:lvl7pPr>
      <a:lvl8pPr marL="134997" indent="-134997" algn="l" defTabSz="685783" rtl="0" eaLnBrk="1" latinLnBrk="0" hangingPunct="1">
        <a:lnSpc>
          <a:spcPct val="100000"/>
        </a:lnSpc>
        <a:spcBef>
          <a:spcPts val="225"/>
        </a:spcBef>
        <a:spcAft>
          <a:spcPts val="450"/>
        </a:spcAft>
        <a:buFont typeface="Arial" panose="020B0604020202020204" pitchFamily="34" charset="0"/>
        <a:buChar char="•"/>
        <a:defRPr sz="675" kern="1200">
          <a:solidFill>
            <a:schemeClr val="tx2"/>
          </a:solidFill>
          <a:latin typeface="+mn-lt"/>
          <a:ea typeface="+mn-ea"/>
          <a:cs typeface="+mn-cs"/>
        </a:defRPr>
      </a:lvl8pPr>
      <a:lvl9pPr marL="0" indent="0" algn="l" defTabSz="685783" rtl="0" eaLnBrk="1" latinLnBrk="0" hangingPunct="1">
        <a:lnSpc>
          <a:spcPct val="100000"/>
        </a:lnSpc>
        <a:spcBef>
          <a:spcPts val="0"/>
        </a:spcBef>
        <a:spcAft>
          <a:spcPts val="900"/>
        </a:spcAft>
        <a:buFont typeface="Arial" panose="020B0604020202020204" pitchFamily="34" charset="0"/>
        <a:buChar char="​"/>
        <a:defRPr sz="3000" kern="1200" baseline="0">
          <a:solidFill>
            <a:schemeClr val="tx2"/>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1B586885-4E8D-467B-B8B2-BA503E099921}"/>
              </a:ext>
            </a:extLst>
          </p:cNvPr>
          <p:cNvGraphicFramePr>
            <a:graphicFrameLocks noChangeAspect="1"/>
          </p:cNvGraphicFramePr>
          <p:nvPr userDrawn="1">
            <p:custDataLst>
              <p:tags r:id="rId47"/>
            </p:custDataLst>
            <p:extLst>
              <p:ext uri="{D42A27DB-BD31-4B8C-83A1-F6EECF244321}">
                <p14:modId xmlns:p14="http://schemas.microsoft.com/office/powerpoint/2010/main" val="38134237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36" imgW="416" imgH="416" progId="TCLayout.ActiveDocument.1">
                  <p:embed/>
                </p:oleObj>
              </mc:Choice>
              <mc:Fallback>
                <p:oleObj name="think-cell Slide" r:id="rId136" imgW="416" imgH="416" progId="TCLayout.ActiveDocument.1">
                  <p:embed/>
                  <p:pic>
                    <p:nvPicPr>
                      <p:cNvPr id="28" name="Object 27" hidden="1">
                        <a:extLst>
                          <a:ext uri="{FF2B5EF4-FFF2-40B4-BE49-F238E27FC236}">
                            <a16:creationId xmlns:a16="http://schemas.microsoft.com/office/drawing/2014/main" id="{1B586885-4E8D-467B-B8B2-BA503E099921}"/>
                          </a:ext>
                        </a:extLst>
                      </p:cNvPr>
                      <p:cNvPicPr/>
                      <p:nvPr/>
                    </p:nvPicPr>
                    <p:blipFill>
                      <a:blip r:embed="rId137"/>
                      <a:stretch>
                        <a:fillRect/>
                      </a:stretch>
                    </p:blipFill>
                    <p:spPr>
                      <a:xfrm>
                        <a:off x="1589" y="1589"/>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1"/>
          </a:xfrm>
          <a:prstGeom prst="rect">
            <a:avLst/>
          </a:prstGeom>
        </p:spPr>
        <p:txBody>
          <a:bodyPr vert="horz" lIns="0" tIns="0" rIns="0" bIns="0" rtlCol="0" anchor="t"/>
          <a:lstStyle>
            <a:lvl1pPr algn="l">
              <a:defRPr sz="700">
                <a:solidFill>
                  <a:schemeClr val="tx2"/>
                </a:solidFill>
              </a:defRPr>
            </a:lvl1pPr>
          </a:lstStyle>
          <a:p>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1"/>
            <a:ext cx="4162139" cy="126000"/>
          </a:xfrm>
          <a:prstGeom prst="rect">
            <a:avLst/>
          </a:prstGeom>
        </p:spPr>
        <p:txBody>
          <a:bodyPr vert="horz" lIns="0" tIns="0" rIns="0" bIns="0" rtlCol="0" anchor="t"/>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1"/>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8"/>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9"/>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0"/>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1"/>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2"/>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3"/>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4"/>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5"/>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6"/>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7"/>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8"/>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9"/>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0"/>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1"/>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2"/>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3"/>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4"/>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5"/>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6"/>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7"/>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8"/>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9"/>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0"/>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1"/>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2"/>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3"/>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4"/>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5"/>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6"/>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7"/>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8"/>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9"/>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0"/>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1"/>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2"/>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3"/>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4"/>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5"/>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6"/>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7"/>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8"/>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9"/>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0"/>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1"/>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2"/>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3"/>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4"/>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5"/>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6"/>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7"/>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8"/>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9"/>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0"/>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1"/>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2"/>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3"/>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4"/>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5"/>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6"/>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7"/>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8"/>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9"/>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0"/>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1"/>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2"/>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3"/>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4"/>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5"/>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6"/>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7"/>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8"/>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9"/>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0"/>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1"/>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2"/>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3"/>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4"/>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5"/>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6"/>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7"/>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8"/>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9"/>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0"/>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1"/>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2"/>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3"/>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4"/>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5"/>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94162268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73" r:id="rId40"/>
    <p:sldLayoutId id="2147483774" r:id="rId41"/>
    <p:sldLayoutId id="2147483775" r:id="rId42"/>
    <p:sldLayoutId id="2147483776" r:id="rId43"/>
    <p:sldLayoutId id="2147483777" r:id="rId44"/>
    <p:sldLayoutId id="2147483778"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69993" indent="-269993" algn="l" defTabSz="914377"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A4A3A4"/>
          </p15:clr>
        </p15:guide>
        <p15:guide id="2" pos="1617">
          <p15:clr>
            <a:srgbClr val="A4A3A4"/>
          </p15:clr>
        </p15:guide>
        <p15:guide id="5" pos="3031">
          <p15:clr>
            <a:srgbClr val="A4A3A4"/>
          </p15:clr>
        </p15:guide>
        <p15:guide id="6" pos="3235">
          <p15:clr>
            <a:srgbClr val="A4A3A4"/>
          </p15:clr>
        </p15:guide>
        <p15:guide id="7" orient="horz" pos="3911">
          <p15:clr>
            <a:srgbClr val="A4A3A4"/>
          </p15:clr>
        </p15:guide>
        <p15:guide id="8" orient="horz" pos="4115">
          <p15:clr>
            <a:srgbClr val="A4A3A4"/>
          </p15:clr>
        </p15:guide>
        <p15:guide id="9" pos="6063">
          <p15:clr>
            <a:srgbClr val="A4A3A4"/>
          </p15:clr>
        </p15:guide>
        <p15:guide id="10" pos="7272">
          <p15:clr>
            <a:srgbClr val="A4A3A4"/>
          </p15:clr>
        </p15:guide>
        <p15:guide id="12" pos="4444">
          <p15:clr>
            <a:srgbClr val="A4A3A4"/>
          </p15:clr>
        </p15:guide>
        <p15:guide id="13" pos="4648">
          <p15:clr>
            <a:srgbClr val="A4A3A4"/>
          </p15:clr>
        </p15:guide>
        <p15:guide id="14" orient="horz" pos="204">
          <p15:clr>
            <a:srgbClr val="A4A3A4"/>
          </p15:clr>
        </p15:guide>
        <p15:guide id="15" orient="horz" pos="408">
          <p15:clr>
            <a:srgbClr val="A4A3A4"/>
          </p15:clr>
        </p15:guide>
        <p15:guide id="16" pos="1821">
          <p15:clr>
            <a:srgbClr val="A4A3A4"/>
          </p15:clr>
        </p15:guide>
        <p15:guide id="18" pos="5859">
          <p15:clr>
            <a:srgbClr val="A4A3A4"/>
          </p15:clr>
        </p15:guide>
        <p15:guide id="20" pos="7476">
          <p15:clr>
            <a:srgbClr val="A4A3A4"/>
          </p15:clr>
        </p15:guide>
        <p15:guide id="21" pos="204">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GB"/>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1"/>
          </a:xfrm>
          <a:prstGeom prst="rect">
            <a:avLst/>
          </a:prstGeom>
        </p:spPr>
        <p:txBody>
          <a:bodyPr vert="horz" lIns="0" tIns="0" rIns="0" bIns="0" rtlCol="0" anchor="t"/>
          <a:lstStyle>
            <a:lvl1pPr algn="l">
              <a:defRPr sz="700">
                <a:solidFill>
                  <a:schemeClr val="tx2"/>
                </a:solidFill>
              </a:defRPr>
            </a:lvl1pPr>
          </a:lstStyle>
          <a:p>
            <a:fld id="{3849F413-F251-44C4-B7BA-891C8AB4F5BF}" type="datetime3">
              <a:rPr lang="en-US" smtClean="0"/>
              <a:t>17 April 2026</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1"/>
            <a:ext cx="1919288" cy="126000"/>
          </a:xfrm>
          <a:prstGeom prst="rect">
            <a:avLst/>
          </a:prstGeom>
        </p:spPr>
        <p:txBody>
          <a:bodyPr vert="horz" lIns="0" tIns="0" rIns="0" bIns="0" rtlCol="0" anchor="t"/>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1"/>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3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3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3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4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4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4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4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4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4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4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4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4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4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5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5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5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5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5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5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5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5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5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5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6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6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6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6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6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6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6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6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6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6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7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7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7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7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7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7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7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7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7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7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8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8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8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8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8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8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8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8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8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8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9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9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9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9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9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9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9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9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9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9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0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0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0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0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0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0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0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0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0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0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1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1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1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1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1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1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1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1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1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1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2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2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2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2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2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2906869122"/>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5" r:id="rId34"/>
    <p:sldLayoutId id="2147483816" r:id="rId35"/>
  </p:sldLayoutIdLst>
  <p:hf sldNum="0" hdr="0" ftr="0" dt="0"/>
  <p:txStyles>
    <p:titleStyle>
      <a:lvl1pPr algn="l" defTabSz="914377"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69993" indent="-269993" algn="l" defTabSz="914377"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1400" kern="1200">
          <a:solidFill>
            <a:schemeClr val="tx2"/>
          </a:solidFill>
          <a:latin typeface="+mn-lt"/>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1800" b="1" kern="1200">
          <a:solidFill>
            <a:schemeClr val="tx2"/>
          </a:solidFill>
          <a:latin typeface="+mn-lt"/>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1800" kern="1200">
          <a:solidFill>
            <a:schemeClr val="tx2"/>
          </a:solidFill>
          <a:latin typeface="+mn-lt"/>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900" b="1" kern="1200">
          <a:solidFill>
            <a:schemeClr val="tx2"/>
          </a:solidFill>
          <a:latin typeface="+mn-lt"/>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tx2"/>
          </a:solidFill>
          <a:latin typeface="+mn-lt"/>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900" kern="1200">
          <a:solidFill>
            <a:schemeClr val="tx2"/>
          </a:solidFill>
          <a:latin typeface="+mn-lt"/>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000" kern="1200" baseline="0">
          <a:solidFill>
            <a:schemeClr val="tx2"/>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US" noProof="0" dirty="0"/>
              <a:t>Level 1</a:t>
            </a:r>
          </a:p>
          <a:p>
            <a:pPr lvl="1"/>
            <a:r>
              <a:rPr lang="en-US" noProof="0" dirty="0"/>
              <a:t>Level 2</a:t>
            </a:r>
          </a:p>
          <a:p>
            <a:pPr lvl="2"/>
            <a:r>
              <a:rPr lang="en-US" noProof="0" dirty="0"/>
              <a:t>Level 3</a:t>
            </a:r>
          </a:p>
          <a:p>
            <a:pPr lvl="3"/>
            <a:r>
              <a:rPr lang="en-US" noProof="0" dirty="0"/>
              <a:t>Level 4, Header</a:t>
            </a:r>
          </a:p>
          <a:p>
            <a:pPr lvl="4"/>
            <a:r>
              <a:rPr lang="en-US" noProof="0" dirty="0"/>
              <a:t>Level 5, Body</a:t>
            </a:r>
          </a:p>
          <a:p>
            <a:pPr lvl="5"/>
            <a:r>
              <a:rPr lang="en-US" noProof="0" dirty="0"/>
              <a:t>Level 6</a:t>
            </a:r>
          </a:p>
          <a:p>
            <a:pPr lvl="6"/>
            <a:r>
              <a:rPr lang="en-US" noProof="0" dirty="0"/>
              <a:t>Level 7, Small Header</a:t>
            </a:r>
          </a:p>
          <a:p>
            <a:pPr lvl="7"/>
            <a:r>
              <a:rPr lang="en-US" noProof="0" dirty="0"/>
              <a:t>Level 8, Small Body</a:t>
            </a:r>
          </a:p>
          <a:p>
            <a:pPr lvl="8"/>
            <a:r>
              <a:rPr lang="en-US"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0"/>
          </a:xfrm>
          <a:prstGeom prst="rect">
            <a:avLst/>
          </a:prstGeom>
        </p:spPr>
        <p:txBody>
          <a:bodyPr vert="horz" lIns="0" tIns="0" rIns="0" bIns="0" rtlCol="0" anchor="t"/>
          <a:lstStyle>
            <a:lvl1pPr algn="l">
              <a:defRPr sz="700">
                <a:solidFill>
                  <a:schemeClr val="tx2"/>
                </a:solidFill>
              </a:defRPr>
            </a:lvl1pPr>
          </a:lstStyle>
          <a:p>
            <a:endParaRPr lang="en-US"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0"/>
            <a:ext cx="4162138" cy="126000"/>
          </a:xfrm>
          <a:prstGeom prst="rect">
            <a:avLst/>
          </a:prstGeom>
        </p:spPr>
        <p:txBody>
          <a:bodyPr vert="horz" lIns="0" tIns="0" rIns="0" bIns="0" rtlCol="0" anchor="t"/>
          <a:lstStyle>
            <a:lvl1pPr algn="l">
              <a:defRPr sz="700">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US" smtClean="0"/>
              <a:pPr/>
              <a:t>‹#›</a:t>
            </a:fld>
            <a:endParaRPr lang="en-US" dirty="0"/>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39"/>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0"/>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1"/>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42"/>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43"/>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44"/>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45"/>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46"/>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47"/>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48"/>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49"/>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0"/>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1"/>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52"/>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53"/>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54"/>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55"/>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56"/>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57"/>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58"/>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59"/>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0"/>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1"/>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62"/>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63"/>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64"/>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65"/>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66"/>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67"/>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68"/>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69"/>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0"/>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1"/>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72"/>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73"/>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74"/>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75"/>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76"/>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77"/>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78"/>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79"/>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0"/>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1"/>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82"/>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83"/>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84"/>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85"/>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86"/>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87"/>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88"/>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89"/>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0"/>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1"/>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92"/>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93"/>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94"/>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95"/>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96"/>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97"/>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98"/>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99"/>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0"/>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1"/>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02"/>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03"/>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04"/>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05"/>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06"/>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07"/>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08"/>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09"/>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0"/>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1"/>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12"/>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13"/>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14"/>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15"/>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16"/>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17"/>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18"/>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19"/>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0"/>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1"/>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22"/>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23"/>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24"/>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25"/>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3" name="Rectangle 112">
            <a:extLst>
              <a:ext uri="{FF2B5EF4-FFF2-40B4-BE49-F238E27FC236}">
                <a16:creationId xmlns:a16="http://schemas.microsoft.com/office/drawing/2014/main" id="{C76950B1-616E-4DAB-A1C9-C18FEC9C31D4}"/>
              </a:ext>
            </a:extLst>
          </p:cNvPr>
          <p:cNvSpPr/>
          <p:nvPr userDrawn="1">
            <p:custDataLst>
              <p:tags r:id="rId126"/>
            </p:custDataLst>
          </p:nvPr>
        </p:nvSpPr>
        <p:spPr>
          <a:xfrm>
            <a:off x="9624000" y="4077000"/>
            <a:ext cx="1920000" cy="2133000"/>
          </a:xfrm>
          <a:prstGeom prst="rect">
            <a:avLst/>
          </a:prstGeom>
          <a:no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5" name="dynamic logo"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Tree>
    <p:extLst>
      <p:ext uri="{BB962C8B-B14F-4D97-AF65-F5344CB8AC3E}">
        <p14:creationId xmlns:p14="http://schemas.microsoft.com/office/powerpoint/2010/main" val="4012816445"/>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Lst>
  <p:hf hdr="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A4A3A4"/>
          </p15:clr>
        </p15:guide>
        <p15:guide id="2" pos="1617">
          <p15:clr>
            <a:srgbClr val="A4A3A4"/>
          </p15:clr>
        </p15:guide>
        <p15:guide id="5" pos="3031">
          <p15:clr>
            <a:srgbClr val="A4A3A4"/>
          </p15:clr>
        </p15:guide>
        <p15:guide id="6" pos="3235">
          <p15:clr>
            <a:srgbClr val="A4A3A4"/>
          </p15:clr>
        </p15:guide>
        <p15:guide id="7" orient="horz" pos="3911">
          <p15:clr>
            <a:srgbClr val="A4A3A4"/>
          </p15:clr>
        </p15:guide>
        <p15:guide id="8" orient="horz" pos="4115">
          <p15:clr>
            <a:srgbClr val="A4A3A4"/>
          </p15:clr>
        </p15:guide>
        <p15:guide id="9" pos="6063">
          <p15:clr>
            <a:srgbClr val="A4A3A4"/>
          </p15:clr>
        </p15:guide>
        <p15:guide id="10" pos="7272">
          <p15:clr>
            <a:srgbClr val="A4A3A4"/>
          </p15:clr>
        </p15:guide>
        <p15:guide id="12" pos="4444">
          <p15:clr>
            <a:srgbClr val="A4A3A4"/>
          </p15:clr>
        </p15:guide>
        <p15:guide id="13" pos="4648">
          <p15:clr>
            <a:srgbClr val="A4A3A4"/>
          </p15:clr>
        </p15:guide>
        <p15:guide id="14" orient="horz" pos="204">
          <p15:clr>
            <a:srgbClr val="A4A3A4"/>
          </p15:clr>
        </p15:guide>
        <p15:guide id="15" orient="horz" pos="408">
          <p15:clr>
            <a:srgbClr val="A4A3A4"/>
          </p15:clr>
        </p15:guide>
        <p15:guide id="16" pos="1821">
          <p15:clr>
            <a:srgbClr val="A4A3A4"/>
          </p15:clr>
        </p15:guide>
        <p15:guide id="18" pos="5859">
          <p15:clr>
            <a:srgbClr val="A4A3A4"/>
          </p15:clr>
        </p15:guide>
        <p15:guide id="20" pos="7476">
          <p15:clr>
            <a:srgbClr val="A4A3A4"/>
          </p15:clr>
        </p15:guide>
        <p15:guide id="21" pos="204">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US" noProof="0" dirty="0"/>
              <a:t>Level 1</a:t>
            </a:r>
          </a:p>
          <a:p>
            <a:pPr lvl="1"/>
            <a:r>
              <a:rPr lang="en-US" noProof="0" dirty="0"/>
              <a:t>Level 2</a:t>
            </a:r>
          </a:p>
          <a:p>
            <a:pPr lvl="2"/>
            <a:r>
              <a:rPr lang="en-US" noProof="0" dirty="0"/>
              <a:t>Level 3</a:t>
            </a:r>
          </a:p>
          <a:p>
            <a:pPr lvl="3"/>
            <a:r>
              <a:rPr lang="en-US" noProof="0" dirty="0"/>
              <a:t>Level 4, Header</a:t>
            </a:r>
          </a:p>
          <a:p>
            <a:pPr lvl="4"/>
            <a:r>
              <a:rPr lang="en-US" noProof="0" dirty="0"/>
              <a:t>Level 5, Body</a:t>
            </a:r>
          </a:p>
          <a:p>
            <a:pPr lvl="5"/>
            <a:r>
              <a:rPr lang="en-US" noProof="0" dirty="0"/>
              <a:t>Level 6</a:t>
            </a:r>
          </a:p>
          <a:p>
            <a:pPr lvl="6"/>
            <a:r>
              <a:rPr lang="en-US" noProof="0" dirty="0"/>
              <a:t>Level 7, Small Header</a:t>
            </a:r>
          </a:p>
          <a:p>
            <a:pPr lvl="7"/>
            <a:r>
              <a:rPr lang="en-US" noProof="0" dirty="0"/>
              <a:t>Level 8, Small Body</a:t>
            </a:r>
          </a:p>
          <a:p>
            <a:pPr lvl="8"/>
            <a:r>
              <a:rPr lang="en-US"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dirty="0"/>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0"/>
          </a:xfrm>
          <a:prstGeom prst="rect">
            <a:avLst/>
          </a:prstGeom>
        </p:spPr>
        <p:txBody>
          <a:bodyPr vert="horz" lIns="0" tIns="0" rIns="0" bIns="0" rtlCol="0" anchor="t"/>
          <a:lstStyle>
            <a:lvl1pPr algn="l">
              <a:defRPr sz="700">
                <a:solidFill>
                  <a:schemeClr val="tx2"/>
                </a:solidFill>
              </a:defRPr>
            </a:lvl1pPr>
          </a:lstStyle>
          <a:p>
            <a:endParaRPr lang="en-US"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0"/>
            <a:ext cx="4162138" cy="126000"/>
          </a:xfrm>
          <a:prstGeom prst="rect">
            <a:avLst/>
          </a:prstGeom>
        </p:spPr>
        <p:txBody>
          <a:bodyPr vert="horz" lIns="0" tIns="0" rIns="0" bIns="0" rtlCol="0" anchor="t"/>
          <a:lstStyle>
            <a:lvl1pPr algn="l">
              <a:defRPr sz="700">
                <a:solidFill>
                  <a:schemeClr val="tx2"/>
                </a:solidFill>
              </a:defRPr>
            </a:lvl1pPr>
          </a:lstStyle>
          <a:p>
            <a:endParaRPr lang="en-US"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US" smtClean="0"/>
              <a:pPr/>
              <a:t>‹#›</a:t>
            </a:fld>
            <a:endParaRPr lang="en-US" dirty="0"/>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39"/>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0"/>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1"/>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42"/>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43"/>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44"/>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45"/>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46"/>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47"/>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48"/>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49"/>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0"/>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1"/>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52"/>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53"/>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54"/>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55"/>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56"/>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57"/>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58"/>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59"/>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0"/>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1"/>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62"/>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63"/>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64"/>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65"/>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66"/>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67"/>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68"/>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69"/>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0"/>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1"/>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72"/>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73"/>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74"/>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75"/>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76"/>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77"/>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78"/>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79"/>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0"/>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1"/>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82"/>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83"/>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84"/>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85"/>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86"/>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87"/>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88"/>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89"/>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0"/>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1"/>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92"/>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93"/>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94"/>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95"/>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96"/>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97"/>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98"/>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99"/>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0"/>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1"/>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02"/>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03"/>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04"/>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05"/>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06"/>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07"/>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08"/>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09"/>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0"/>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1"/>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12"/>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13"/>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14"/>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15"/>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16"/>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17"/>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18"/>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19"/>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0"/>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1"/>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22"/>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23"/>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24"/>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25"/>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3" name="Rectangle 112">
            <a:extLst>
              <a:ext uri="{FF2B5EF4-FFF2-40B4-BE49-F238E27FC236}">
                <a16:creationId xmlns:a16="http://schemas.microsoft.com/office/drawing/2014/main" id="{C76950B1-616E-4DAB-A1C9-C18FEC9C31D4}"/>
              </a:ext>
            </a:extLst>
          </p:cNvPr>
          <p:cNvSpPr/>
          <p:nvPr userDrawn="1">
            <p:custDataLst>
              <p:tags r:id="rId126"/>
            </p:custDataLst>
          </p:nvPr>
        </p:nvSpPr>
        <p:spPr>
          <a:xfrm>
            <a:off x="9624000" y="4077000"/>
            <a:ext cx="1920000" cy="2133000"/>
          </a:xfrm>
          <a:prstGeom prst="rect">
            <a:avLst/>
          </a:prstGeom>
          <a:no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7" name="dynamic logo" descr="{&quot;templafy&quot;:{&quot;id&quot;:&quot;ab54a0cc-1f1c-4a9d-b301-213d3aeeec38&quot;}}" title="Form.PLogoChoice.PLogoInsertion">
            <a:extLst>
              <a:ext uri="{FF2B5EF4-FFF2-40B4-BE49-F238E27FC236}">
                <a16:creationId xmlns:a16="http://schemas.microsoft.com/office/drawing/2014/main" id="{AB8085D7-A93F-4552-0ECF-15ED05B26B3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332775531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3" r:id="rId36"/>
    <p:sldLayoutId id="2147483906" r:id="rId37"/>
  </p:sldLayoutIdLst>
  <p:hf hdr="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A4A3A4"/>
          </p15:clr>
        </p15:guide>
        <p15:guide id="2" pos="1617">
          <p15:clr>
            <a:srgbClr val="A4A3A4"/>
          </p15:clr>
        </p15:guide>
        <p15:guide id="5" pos="3031">
          <p15:clr>
            <a:srgbClr val="A4A3A4"/>
          </p15:clr>
        </p15:guide>
        <p15:guide id="6" pos="3235">
          <p15:clr>
            <a:srgbClr val="A4A3A4"/>
          </p15:clr>
        </p15:guide>
        <p15:guide id="7" orient="horz" pos="3911">
          <p15:clr>
            <a:srgbClr val="A4A3A4"/>
          </p15:clr>
        </p15:guide>
        <p15:guide id="8" orient="horz" pos="4115">
          <p15:clr>
            <a:srgbClr val="A4A3A4"/>
          </p15:clr>
        </p15:guide>
        <p15:guide id="9" pos="6063">
          <p15:clr>
            <a:srgbClr val="A4A3A4"/>
          </p15:clr>
        </p15:guide>
        <p15:guide id="10" pos="7272">
          <p15:clr>
            <a:srgbClr val="A4A3A4"/>
          </p15:clr>
        </p15:guide>
        <p15:guide id="12" pos="4444">
          <p15:clr>
            <a:srgbClr val="A4A3A4"/>
          </p15:clr>
        </p15:guide>
        <p15:guide id="13" pos="4648">
          <p15:clr>
            <a:srgbClr val="A4A3A4"/>
          </p15:clr>
        </p15:guide>
        <p15:guide id="14" orient="horz" pos="204">
          <p15:clr>
            <a:srgbClr val="A4A3A4"/>
          </p15:clr>
        </p15:guide>
        <p15:guide id="15" orient="horz" pos="408">
          <p15:clr>
            <a:srgbClr val="A4A3A4"/>
          </p15:clr>
        </p15:guide>
        <p15:guide id="16" pos="1821">
          <p15:clr>
            <a:srgbClr val="A4A3A4"/>
          </p15:clr>
        </p15:guide>
        <p15:guide id="18" pos="5859">
          <p15:clr>
            <a:srgbClr val="A4A3A4"/>
          </p15:clr>
        </p15:guide>
        <p15:guide id="20" pos="7476">
          <p15:clr>
            <a:srgbClr val="A4A3A4"/>
          </p15:clr>
        </p15:guide>
        <p15:guide id="21" pos="204">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E27F30A-523A-4339-92B2-7EA13CB3FC7A}"/>
              </a:ext>
            </a:extLst>
          </p:cNvPr>
          <p:cNvGraphicFramePr>
            <a:graphicFrameLocks noChangeAspect="1"/>
          </p:cNvGraphicFramePr>
          <p:nvPr userDrawn="1">
            <p:custDataLst>
              <p:tags r:id="rId13"/>
            </p:custDataLst>
            <p:extLst>
              <p:ext uri="{D42A27DB-BD31-4B8C-83A1-F6EECF244321}">
                <p14:modId xmlns:p14="http://schemas.microsoft.com/office/powerpoint/2010/main" val="37686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2" imgW="347" imgH="348" progId="TCLayout.ActiveDocument.1">
                  <p:embed/>
                </p:oleObj>
              </mc:Choice>
              <mc:Fallback>
                <p:oleObj name="think-cell Slide" r:id="rId102" imgW="347" imgH="348" progId="TCLayout.ActiveDocument.1">
                  <p:embed/>
                  <p:pic>
                    <p:nvPicPr>
                      <p:cNvPr id="8" name="Object 7" hidden="1">
                        <a:extLst>
                          <a:ext uri="{FF2B5EF4-FFF2-40B4-BE49-F238E27FC236}">
                            <a16:creationId xmlns:a16="http://schemas.microsoft.com/office/drawing/2014/main" id="{2E27F30A-523A-4339-92B2-7EA13CB3FC7A}"/>
                          </a:ext>
                        </a:extLst>
                      </p:cNvPr>
                      <p:cNvPicPr/>
                      <p:nvPr/>
                    </p:nvPicPr>
                    <p:blipFill>
                      <a:blip r:embed="rId103"/>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4"/>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5"/>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6"/>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7"/>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8"/>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9"/>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20"/>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21"/>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22"/>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3"/>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4"/>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5"/>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6"/>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7"/>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8"/>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9"/>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30"/>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31"/>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32"/>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3"/>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4"/>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5"/>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6"/>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7"/>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8"/>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9"/>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40"/>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41"/>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42"/>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3"/>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4"/>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5"/>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6"/>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7"/>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8"/>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9"/>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50"/>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51"/>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52"/>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3"/>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4"/>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5"/>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6"/>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7"/>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8"/>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9"/>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60"/>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61"/>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62"/>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3"/>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4"/>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5"/>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6"/>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7"/>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8"/>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9"/>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70"/>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71"/>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72"/>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3"/>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4"/>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5"/>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6"/>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7"/>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8"/>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9"/>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80"/>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81"/>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82"/>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3"/>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4"/>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5"/>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6"/>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7"/>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8"/>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9"/>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90"/>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91"/>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92"/>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3"/>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4"/>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5"/>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6"/>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7"/>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8"/>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9"/>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00"/>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01"/>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d3a22726-b9f9-4719-9428-6520f0894b1b&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spTree>
    <p:extLst>
      <p:ext uri="{BB962C8B-B14F-4D97-AF65-F5344CB8AC3E}">
        <p14:creationId xmlns:p14="http://schemas.microsoft.com/office/powerpoint/2010/main" val="3554856488"/>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Lst>
  <p:hf sldNum="0" hdr="0" ftr="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A4A3A4"/>
          </p15:clr>
        </p15:guide>
        <p15:guide id="7" orient="horz" pos="3911">
          <p15:clr>
            <a:srgbClr val="A4A3A4"/>
          </p15:clr>
        </p15:guide>
        <p15:guide id="8" orient="horz" pos="4115">
          <p15:clr>
            <a:srgbClr val="A4A3A4"/>
          </p15:clr>
        </p15:guide>
        <p15:guide id="10" pos="7272">
          <p15:clr>
            <a:srgbClr val="A4A3A4"/>
          </p15:clr>
        </p15:guide>
        <p15:guide id="15" orient="horz" pos="408">
          <p15:clr>
            <a:srgbClr val="A4A3A4"/>
          </p15:clr>
        </p15:guide>
        <p15:guide id="19" orient="horz" pos="1220">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18" Type="http://schemas.openxmlformats.org/officeDocument/2006/relationships/image" Target="../media/image50.svg"/><Relationship Id="rId3" Type="http://schemas.openxmlformats.org/officeDocument/2006/relationships/notesSlide" Target="../notesSlides/notesSlide8.xml"/><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slideLayout" Target="../slideLayouts/slideLayout104.xml"/><Relationship Id="rId16" Type="http://schemas.openxmlformats.org/officeDocument/2006/relationships/image" Target="../media/image48.png"/><Relationship Id="rId1" Type="http://schemas.openxmlformats.org/officeDocument/2006/relationships/tags" Target="../tags/tag537.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emf"/><Relationship Id="rId15" Type="http://schemas.openxmlformats.org/officeDocument/2006/relationships/image" Target="../media/image47.sv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oleObject" Target="../embeddings/oleObject3.bin"/><Relationship Id="rId9" Type="http://schemas.openxmlformats.org/officeDocument/2006/relationships/image" Target="../media/image41.sv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8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notesSlide" Target="../notesSlides/notesSlide11.xml"/><Relationship Id="rId7" Type="http://schemas.openxmlformats.org/officeDocument/2006/relationships/image" Target="../media/image55.png"/><Relationship Id="rId2" Type="http://schemas.openxmlformats.org/officeDocument/2006/relationships/slideLayout" Target="../slideLayouts/slideLayout124.xml"/><Relationship Id="rId1" Type="http://schemas.openxmlformats.org/officeDocument/2006/relationships/tags" Target="../tags/tag538.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gi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0.xml"/></Relationships>
</file>

<file path=ppt/slides/_rels/slide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05.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177.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7.xml"/><Relationship Id="rId1" Type="http://schemas.openxmlformats.org/officeDocument/2006/relationships/slideLayout" Target="../slideLayouts/slideLayout206.xml"/><Relationship Id="rId4" Type="http://schemas.openxmlformats.org/officeDocument/2006/relationships/chart" Target="../charts/char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8.xml"/></Relationships>
</file>

<file path=ppt/slides/_rels/slide2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9.xml"/><Relationship Id="rId1" Type="http://schemas.openxmlformats.org/officeDocument/2006/relationships/slideLayout" Target="../slideLayouts/slideLayout201.xml"/><Relationship Id="rId4" Type="http://schemas.openxmlformats.org/officeDocument/2006/relationships/chart" Target="../charts/chart9.xml"/></Relationships>
</file>

<file path=ppt/slides/_rels/slide2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205.xml"/><Relationship Id="rId4" Type="http://schemas.openxmlformats.org/officeDocument/2006/relationships/chart" Target="../charts/chart11.xml"/></Relationships>
</file>

<file path=ppt/slides/_rels/slide2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1.xml"/><Relationship Id="rId1" Type="http://schemas.openxmlformats.org/officeDocument/2006/relationships/slideLayout" Target="../slideLayouts/slideLayout20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6.xml"/></Relationships>
</file>

<file path=ppt/slides/_rels/slide28.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notesSlide" Target="../notesSlides/notesSlide23.xml"/><Relationship Id="rId1" Type="http://schemas.openxmlformats.org/officeDocument/2006/relationships/slideLayout" Target="../slideLayouts/slideLayout101.xml"/><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notesSlide" Target="../notesSlides/notesSlide24.xml"/><Relationship Id="rId1" Type="http://schemas.openxmlformats.org/officeDocument/2006/relationships/slideLayout" Target="../slideLayouts/slideLayout104.xml"/><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9.xml"/></Relationships>
</file>

<file path=ppt/slides/_rels/slide3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6.xml"/><Relationship Id="rId1" Type="http://schemas.openxmlformats.org/officeDocument/2006/relationships/slideLayout" Target="../slideLayouts/slideLayout189.xml"/></Relationships>
</file>

<file path=ppt/slides/_rels/slide32.xml.rels><?xml version="1.0" encoding="UTF-8" standalone="yes"?>
<Relationships xmlns="http://schemas.openxmlformats.org/package/2006/relationships"><Relationship Id="rId8" Type="http://schemas.openxmlformats.org/officeDocument/2006/relationships/tags" Target="../tags/tag544.xml"/><Relationship Id="rId3" Type="http://schemas.openxmlformats.org/officeDocument/2006/relationships/tags" Target="../tags/tag539.xml"/><Relationship Id="rId7" Type="http://schemas.openxmlformats.org/officeDocument/2006/relationships/tags" Target="../tags/tag543.xml"/><Relationship Id="rId2" Type="http://schemas.openxmlformats.org/officeDocument/2006/relationships/customXml" Target="../../customXml/item6.xml"/><Relationship Id="rId1" Type="http://schemas.openxmlformats.org/officeDocument/2006/relationships/customXml" Target="../../customXml/item4.xml"/><Relationship Id="rId6" Type="http://schemas.openxmlformats.org/officeDocument/2006/relationships/tags" Target="../tags/tag542.xml"/><Relationship Id="rId5" Type="http://schemas.openxmlformats.org/officeDocument/2006/relationships/tags" Target="../tags/tag541.xml"/><Relationship Id="rId4" Type="http://schemas.openxmlformats.org/officeDocument/2006/relationships/tags" Target="../tags/tag540.xml"/><Relationship Id="rId9" Type="http://schemas.openxmlformats.org/officeDocument/2006/relationships/slideLayout" Target="../slideLayouts/slideLayout19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7.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8.xml"/><Relationship Id="rId1" Type="http://schemas.openxmlformats.org/officeDocument/2006/relationships/slideLayout" Target="../slideLayouts/slideLayout189.xml"/><Relationship Id="rId5" Type="http://schemas.openxmlformats.org/officeDocument/2006/relationships/image" Target="../media/image65.png"/><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89.xml"/></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89.xml"/></Relationships>
</file>

<file path=ppt/slides/_rels/slide3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89.xml"/></Relationships>
</file>

<file path=ppt/slides/_rels/slide3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89.xml"/></Relationships>
</file>

<file path=ppt/slides/_rels/slide3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hyperlink" Target="https://www.c-linkage.co.jp/aoco2015/data/declaraN-en.pdf" TargetMode="Externa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58.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0.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4.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26.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A05694B3-E7D3-4242-B104-57E05FF805F1}"/>
              </a:ext>
            </a:extLst>
          </p:cNvPr>
          <p:cNvGrpSpPr/>
          <p:nvPr/>
        </p:nvGrpSpPr>
        <p:grpSpPr>
          <a:xfrm>
            <a:off x="0" y="-8791"/>
            <a:ext cx="10979278" cy="2899482"/>
            <a:chOff x="0" y="-8791"/>
            <a:chExt cx="10979278" cy="2899482"/>
          </a:xfrm>
        </p:grpSpPr>
        <p:sp>
          <p:nvSpPr>
            <p:cNvPr id="9" name="Freeform: Shape 8">
              <a:extLst>
                <a:ext uri="{FF2B5EF4-FFF2-40B4-BE49-F238E27FC236}">
                  <a16:creationId xmlns:a16="http://schemas.microsoft.com/office/drawing/2014/main" id="{A5E7F75C-9A56-4026-BF02-489C14A8B7F3}"/>
                </a:ext>
              </a:extLst>
            </p:cNvPr>
            <p:cNvSpPr/>
            <p:nvPr/>
          </p:nvSpPr>
          <p:spPr>
            <a:xfrm>
              <a:off x="0" y="48911"/>
              <a:ext cx="10810263" cy="2162742"/>
            </a:xfrm>
            <a:custGeom>
              <a:avLst/>
              <a:gdLst>
                <a:gd name="connsiteX0" fmla="*/ 11860403 w 11860403"/>
                <a:gd name="connsiteY0" fmla="*/ 67882 h 2162742"/>
                <a:gd name="connsiteX1" fmla="*/ 10891393 w 11860403"/>
                <a:gd name="connsiteY1" fmla="*/ 802386 h 2162742"/>
                <a:gd name="connsiteX2" fmla="*/ 10845102 w 11860403"/>
                <a:gd name="connsiteY2" fmla="*/ 825436 h 2162742"/>
                <a:gd name="connsiteX3" fmla="*/ 10703179 w 11860403"/>
                <a:gd name="connsiteY3" fmla="*/ 888365 h 2162742"/>
                <a:gd name="connsiteX4" fmla="*/ 10557637 w 11860403"/>
                <a:gd name="connsiteY4" fmla="*/ 945134 h 2162742"/>
                <a:gd name="connsiteX5" fmla="*/ 9689973 w 11860403"/>
                <a:gd name="connsiteY5" fmla="*/ 1116013 h 2162742"/>
                <a:gd name="connsiteX6" fmla="*/ 8659812 w 11860403"/>
                <a:gd name="connsiteY6" fmla="*/ 1151001 h 2162742"/>
                <a:gd name="connsiteX7" fmla="*/ 7261479 w 11860403"/>
                <a:gd name="connsiteY7" fmla="*/ 1042670 h 2162742"/>
                <a:gd name="connsiteX8" fmla="*/ 5597843 w 11860403"/>
                <a:gd name="connsiteY8" fmla="*/ 1190625 h 2162742"/>
                <a:gd name="connsiteX9" fmla="*/ 4633405 w 11860403"/>
                <a:gd name="connsiteY9" fmla="*/ 1467167 h 2162742"/>
                <a:gd name="connsiteX10" fmla="*/ 4177792 w 11860403"/>
                <a:gd name="connsiteY10" fmla="*/ 1630172 h 2162742"/>
                <a:gd name="connsiteX11" fmla="*/ 3028950 w 11860403"/>
                <a:gd name="connsiteY11" fmla="*/ 2031238 h 2162742"/>
                <a:gd name="connsiteX12" fmla="*/ 770382 w 11860403"/>
                <a:gd name="connsiteY12" fmla="*/ 2026793 h 2162742"/>
                <a:gd name="connsiteX13" fmla="*/ 0 w 11860403"/>
                <a:gd name="connsiteY13" fmla="*/ 1806067 h 2162742"/>
                <a:gd name="connsiteX14" fmla="*/ 0 w 11860403"/>
                <a:gd name="connsiteY14" fmla="*/ 0 h 2162742"/>
                <a:gd name="connsiteX15" fmla="*/ 2813939 w 11860403"/>
                <a:gd name="connsiteY15" fmla="*/ 823786 h 2162742"/>
                <a:gd name="connsiteX16" fmla="*/ 4172776 w 11860403"/>
                <a:gd name="connsiteY16" fmla="*/ 532575 h 2162742"/>
                <a:gd name="connsiteX17" fmla="*/ 4889627 w 11860403"/>
                <a:gd name="connsiteY17" fmla="*/ 400749 h 2162742"/>
                <a:gd name="connsiteX18" fmla="*/ 5529009 w 11860403"/>
                <a:gd name="connsiteY18" fmla="*/ 325882 h 2162742"/>
                <a:gd name="connsiteX19" fmla="*/ 6904356 w 11860403"/>
                <a:gd name="connsiteY19" fmla="*/ 354711 h 2162742"/>
                <a:gd name="connsiteX20" fmla="*/ 8131112 w 11860403"/>
                <a:gd name="connsiteY20" fmla="*/ 580136 h 2162742"/>
                <a:gd name="connsiteX21" fmla="*/ 8655558 w 11860403"/>
                <a:gd name="connsiteY21" fmla="*/ 693928 h 2162742"/>
                <a:gd name="connsiteX22" fmla="*/ 9286431 w 11860403"/>
                <a:gd name="connsiteY22" fmla="*/ 772858 h 2162742"/>
                <a:gd name="connsiteX23" fmla="*/ 10548366 w 11860403"/>
                <a:gd name="connsiteY23" fmla="*/ 736727 h 2162742"/>
                <a:gd name="connsiteX24" fmla="*/ 10783506 w 11860403"/>
                <a:gd name="connsiteY24" fmla="*/ 671322 h 2162742"/>
                <a:gd name="connsiteX25" fmla="*/ 11860403 w 11860403"/>
                <a:gd name="connsiteY25" fmla="*/ 67882 h 216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60403" h="2162742">
                  <a:moveTo>
                    <a:pt x="11860403" y="67882"/>
                  </a:moveTo>
                  <a:cubicBezTo>
                    <a:pt x="11587607" y="365887"/>
                    <a:pt x="11256962" y="621665"/>
                    <a:pt x="10891393" y="802386"/>
                  </a:cubicBezTo>
                  <a:lnTo>
                    <a:pt x="10845102" y="825436"/>
                  </a:lnTo>
                  <a:cubicBezTo>
                    <a:pt x="10797159" y="846582"/>
                    <a:pt x="10751121" y="869505"/>
                    <a:pt x="10703179" y="888365"/>
                  </a:cubicBezTo>
                  <a:cubicBezTo>
                    <a:pt x="10655173" y="907796"/>
                    <a:pt x="10606024" y="928561"/>
                    <a:pt x="10557637" y="945134"/>
                  </a:cubicBezTo>
                  <a:cubicBezTo>
                    <a:pt x="10278935" y="1044004"/>
                    <a:pt x="9982327" y="1087247"/>
                    <a:pt x="9689973" y="1116013"/>
                  </a:cubicBezTo>
                  <a:cubicBezTo>
                    <a:pt x="9347962" y="1147318"/>
                    <a:pt x="9003729" y="1161669"/>
                    <a:pt x="8659812" y="1151001"/>
                  </a:cubicBezTo>
                  <a:cubicBezTo>
                    <a:pt x="8194929" y="1139444"/>
                    <a:pt x="7716456" y="1047051"/>
                    <a:pt x="7261479" y="1042670"/>
                  </a:cubicBezTo>
                  <a:cubicBezTo>
                    <a:pt x="6703822" y="1032637"/>
                    <a:pt x="6143054" y="1072579"/>
                    <a:pt x="5597843" y="1190625"/>
                  </a:cubicBezTo>
                  <a:cubicBezTo>
                    <a:pt x="5271453" y="1260412"/>
                    <a:pt x="4949825" y="1362329"/>
                    <a:pt x="4633405" y="1467167"/>
                  </a:cubicBezTo>
                  <a:cubicBezTo>
                    <a:pt x="4481640" y="1518095"/>
                    <a:pt x="4327525" y="1573530"/>
                    <a:pt x="4177792" y="1630172"/>
                  </a:cubicBezTo>
                  <a:cubicBezTo>
                    <a:pt x="3802825" y="1773238"/>
                    <a:pt x="3424428" y="1931988"/>
                    <a:pt x="3028950" y="2031238"/>
                  </a:cubicBezTo>
                  <a:cubicBezTo>
                    <a:pt x="2291652" y="2221738"/>
                    <a:pt x="1505077" y="2192084"/>
                    <a:pt x="770382" y="2026793"/>
                  </a:cubicBezTo>
                  <a:cubicBezTo>
                    <a:pt x="508571" y="1967929"/>
                    <a:pt x="252540" y="1893570"/>
                    <a:pt x="0" y="1806067"/>
                  </a:cubicBezTo>
                  <a:lnTo>
                    <a:pt x="0" y="0"/>
                  </a:lnTo>
                  <a:cubicBezTo>
                    <a:pt x="836676" y="528511"/>
                    <a:pt x="1811211" y="943864"/>
                    <a:pt x="2813939" y="823786"/>
                  </a:cubicBezTo>
                  <a:cubicBezTo>
                    <a:pt x="3267139" y="767080"/>
                    <a:pt x="3721545" y="623951"/>
                    <a:pt x="4172776" y="532575"/>
                  </a:cubicBezTo>
                  <a:cubicBezTo>
                    <a:pt x="4409567" y="482854"/>
                    <a:pt x="4650867" y="438849"/>
                    <a:pt x="4889627" y="400749"/>
                  </a:cubicBezTo>
                  <a:cubicBezTo>
                    <a:pt x="5099495" y="367157"/>
                    <a:pt x="5317173" y="340296"/>
                    <a:pt x="5529009" y="325882"/>
                  </a:cubicBezTo>
                  <a:cubicBezTo>
                    <a:pt x="5986018" y="292291"/>
                    <a:pt x="6449886" y="304863"/>
                    <a:pt x="6904356" y="354711"/>
                  </a:cubicBezTo>
                  <a:cubicBezTo>
                    <a:pt x="7312597" y="393827"/>
                    <a:pt x="7745031" y="478980"/>
                    <a:pt x="8131112" y="580136"/>
                  </a:cubicBezTo>
                  <a:cubicBezTo>
                    <a:pt x="8307895" y="623951"/>
                    <a:pt x="8478710" y="662559"/>
                    <a:pt x="8655558" y="693928"/>
                  </a:cubicBezTo>
                  <a:cubicBezTo>
                    <a:pt x="8863267" y="729615"/>
                    <a:pt x="9075610" y="755269"/>
                    <a:pt x="9286431" y="772858"/>
                  </a:cubicBezTo>
                  <a:cubicBezTo>
                    <a:pt x="9706483" y="805117"/>
                    <a:pt x="10135108" y="831025"/>
                    <a:pt x="10548366" y="736727"/>
                  </a:cubicBezTo>
                  <a:cubicBezTo>
                    <a:pt x="10626598" y="718185"/>
                    <a:pt x="10706735" y="695261"/>
                    <a:pt x="10783506" y="671322"/>
                  </a:cubicBezTo>
                  <a:cubicBezTo>
                    <a:pt x="11177651" y="542798"/>
                    <a:pt x="11540427" y="335979"/>
                    <a:pt x="11860403" y="67882"/>
                  </a:cubicBezTo>
                  <a:close/>
                </a:path>
              </a:pathLst>
            </a:custGeom>
            <a:solidFill>
              <a:schemeClr val="accent5">
                <a:lumMod val="20000"/>
                <a:lumOff val="80000"/>
              </a:schemeClr>
            </a:solidFill>
            <a:ln w="6350"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CFAA2680-9363-425D-8DDF-1C69BCE4DF88}"/>
                </a:ext>
              </a:extLst>
            </p:cNvPr>
            <p:cNvSpPr/>
            <p:nvPr/>
          </p:nvSpPr>
          <p:spPr>
            <a:xfrm>
              <a:off x="205079" y="-8791"/>
              <a:ext cx="10605535" cy="745892"/>
            </a:xfrm>
            <a:custGeom>
              <a:avLst/>
              <a:gdLst>
                <a:gd name="connsiteX0" fmla="*/ 0 w 10605535"/>
                <a:gd name="connsiteY0" fmla="*/ 0 h 745892"/>
                <a:gd name="connsiteX1" fmla="*/ 945436 w 10605535"/>
                <a:gd name="connsiteY1" fmla="*/ 0 h 745892"/>
                <a:gd name="connsiteX2" fmla="*/ 1008953 w 10605535"/>
                <a:gd name="connsiteY2" fmla="*/ 31232 h 745892"/>
                <a:gd name="connsiteX3" fmla="*/ 2148342 w 10605535"/>
                <a:gd name="connsiteY3" fmla="*/ 303003 h 745892"/>
                <a:gd name="connsiteX4" fmla="*/ 2492713 w 10605535"/>
                <a:gd name="connsiteY4" fmla="*/ 277857 h 745892"/>
                <a:gd name="connsiteX5" fmla="*/ 3887100 w 10605535"/>
                <a:gd name="connsiteY5" fmla="*/ 34271 h 745892"/>
                <a:gd name="connsiteX6" fmla="*/ 4128735 w 10605535"/>
                <a:gd name="connsiteY6" fmla="*/ 0 h 745892"/>
                <a:gd name="connsiteX7" fmla="*/ 6011195 w 10605535"/>
                <a:gd name="connsiteY7" fmla="*/ 0 h 745892"/>
                <a:gd name="connsiteX8" fmla="*/ 6362005 w 10605535"/>
                <a:gd name="connsiteY8" fmla="*/ 58846 h 745892"/>
                <a:gd name="connsiteX9" fmla="*/ 6737283 w 10605535"/>
                <a:gd name="connsiteY9" fmla="*/ 151746 h 745892"/>
                <a:gd name="connsiteX10" fmla="*/ 8192788 w 10605535"/>
                <a:gd name="connsiteY10" fmla="*/ 554527 h 745892"/>
                <a:gd name="connsiteX11" fmla="*/ 8928528 w 10605535"/>
                <a:gd name="connsiteY11" fmla="*/ 636442 h 745892"/>
                <a:gd name="connsiteX12" fmla="*/ 9661433 w 10605535"/>
                <a:gd name="connsiteY12" fmla="*/ 531095 h 745892"/>
                <a:gd name="connsiteX13" fmla="*/ 10491513 w 10605535"/>
                <a:gd name="connsiteY13" fmla="*/ 72724 h 745892"/>
                <a:gd name="connsiteX14" fmla="*/ 10574571 w 10605535"/>
                <a:gd name="connsiteY14" fmla="*/ 0 h 745892"/>
                <a:gd name="connsiteX15" fmla="*/ 10605535 w 10605535"/>
                <a:gd name="connsiteY15" fmla="*/ 0 h 745892"/>
                <a:gd name="connsiteX16" fmla="*/ 10593474 w 10605535"/>
                <a:gd name="connsiteY16" fmla="*/ 12577 h 745892"/>
                <a:gd name="connsiteX17" fmla="*/ 9404052 w 10605535"/>
                <a:gd name="connsiteY17" fmla="*/ 679812 h 745892"/>
                <a:gd name="connsiteX18" fmla="*/ 8358318 w 10605535"/>
                <a:gd name="connsiteY18" fmla="*/ 723056 h 745892"/>
                <a:gd name="connsiteX19" fmla="*/ 7796848 w 10605535"/>
                <a:gd name="connsiteY19" fmla="*/ 614915 h 745892"/>
                <a:gd name="connsiteX20" fmla="*/ 6599766 w 10605535"/>
                <a:gd name="connsiteY20" fmla="*/ 334626 h 745892"/>
                <a:gd name="connsiteX21" fmla="*/ 5960508 w 10605535"/>
                <a:gd name="connsiteY21" fmla="*/ 240202 h 745892"/>
                <a:gd name="connsiteX22" fmla="*/ 4759953 w 10605535"/>
                <a:gd name="connsiteY22" fmla="*/ 239948 h 745892"/>
                <a:gd name="connsiteX23" fmla="*/ 3936123 w 10605535"/>
                <a:gd name="connsiteY23" fmla="*/ 373806 h 745892"/>
                <a:gd name="connsiteX24" fmla="*/ 2649793 w 10605535"/>
                <a:gd name="connsiteY24" fmla="*/ 661270 h 745892"/>
                <a:gd name="connsiteX25" fmla="*/ 2529813 w 10605535"/>
                <a:gd name="connsiteY25" fmla="*/ 687242 h 745892"/>
                <a:gd name="connsiteX26" fmla="*/ 2303280 w 10605535"/>
                <a:gd name="connsiteY26" fmla="*/ 721405 h 745892"/>
                <a:gd name="connsiteX27" fmla="*/ 1848535 w 10605535"/>
                <a:gd name="connsiteY27" fmla="*/ 721849 h 745892"/>
                <a:gd name="connsiteX28" fmla="*/ 688900 w 10605535"/>
                <a:gd name="connsiteY28" fmla="*/ 416033 h 745892"/>
                <a:gd name="connsiteX29" fmla="*/ 154564 w 10605535"/>
                <a:gd name="connsiteY29" fmla="*/ 112611 h 74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605535" h="745892">
                  <a:moveTo>
                    <a:pt x="0" y="0"/>
                  </a:moveTo>
                  <a:lnTo>
                    <a:pt x="945436" y="0"/>
                  </a:lnTo>
                  <a:lnTo>
                    <a:pt x="1008953" y="31232"/>
                  </a:lnTo>
                  <a:cubicBezTo>
                    <a:pt x="1369276" y="196558"/>
                    <a:pt x="1756061" y="291779"/>
                    <a:pt x="2148342" y="303003"/>
                  </a:cubicBezTo>
                  <a:cubicBezTo>
                    <a:pt x="2262939" y="306242"/>
                    <a:pt x="2379331" y="296336"/>
                    <a:pt x="2492713" y="277857"/>
                  </a:cubicBezTo>
                  <a:cubicBezTo>
                    <a:pt x="2956544" y="193275"/>
                    <a:pt x="3418755" y="99359"/>
                    <a:pt x="3887100" y="34271"/>
                  </a:cubicBezTo>
                  <a:lnTo>
                    <a:pt x="4128735" y="0"/>
                  </a:lnTo>
                  <a:lnTo>
                    <a:pt x="6011195" y="0"/>
                  </a:lnTo>
                  <a:lnTo>
                    <a:pt x="6362005" y="58846"/>
                  </a:lnTo>
                  <a:cubicBezTo>
                    <a:pt x="6487773" y="83801"/>
                    <a:pt x="6614467" y="112884"/>
                    <a:pt x="6737283" y="151746"/>
                  </a:cubicBezTo>
                  <a:cubicBezTo>
                    <a:pt x="7211706" y="290875"/>
                    <a:pt x="7713563" y="434321"/>
                    <a:pt x="8192788" y="554527"/>
                  </a:cubicBezTo>
                  <a:cubicBezTo>
                    <a:pt x="8433907" y="613010"/>
                    <a:pt x="8682491" y="633711"/>
                    <a:pt x="8928528" y="636442"/>
                  </a:cubicBezTo>
                  <a:cubicBezTo>
                    <a:pt x="9175667" y="637331"/>
                    <a:pt x="9423498" y="605263"/>
                    <a:pt x="9661433" y="531095"/>
                  </a:cubicBezTo>
                  <a:cubicBezTo>
                    <a:pt x="9961492" y="437552"/>
                    <a:pt x="10241407" y="277656"/>
                    <a:pt x="10491513" y="72724"/>
                  </a:cubicBezTo>
                  <a:lnTo>
                    <a:pt x="10574571" y="0"/>
                  </a:lnTo>
                  <a:lnTo>
                    <a:pt x="10605535" y="0"/>
                  </a:lnTo>
                  <a:lnTo>
                    <a:pt x="10593474" y="12577"/>
                  </a:lnTo>
                  <a:cubicBezTo>
                    <a:pt x="10255308" y="339341"/>
                    <a:pt x="9848074" y="581514"/>
                    <a:pt x="9404052" y="679812"/>
                  </a:cubicBezTo>
                  <a:cubicBezTo>
                    <a:pt x="9060548" y="757473"/>
                    <a:pt x="8706105" y="759378"/>
                    <a:pt x="8358318" y="723056"/>
                  </a:cubicBezTo>
                  <a:cubicBezTo>
                    <a:pt x="8169175" y="698989"/>
                    <a:pt x="7982462" y="655428"/>
                    <a:pt x="7796848" y="614915"/>
                  </a:cubicBezTo>
                  <a:cubicBezTo>
                    <a:pt x="7404496" y="527158"/>
                    <a:pt x="6988241" y="431972"/>
                    <a:pt x="6599766" y="334626"/>
                  </a:cubicBezTo>
                  <a:cubicBezTo>
                    <a:pt x="6389033" y="288208"/>
                    <a:pt x="6174539" y="261093"/>
                    <a:pt x="5960508" y="240202"/>
                  </a:cubicBezTo>
                  <a:cubicBezTo>
                    <a:pt x="5561384" y="203372"/>
                    <a:pt x="5159019" y="202800"/>
                    <a:pt x="4759953" y="239948"/>
                  </a:cubicBezTo>
                  <a:cubicBezTo>
                    <a:pt x="4486308" y="262808"/>
                    <a:pt x="4207685" y="320974"/>
                    <a:pt x="3936123" y="373806"/>
                  </a:cubicBezTo>
                  <a:cubicBezTo>
                    <a:pt x="3502967" y="456356"/>
                    <a:pt x="3079708" y="556876"/>
                    <a:pt x="2649793" y="661270"/>
                  </a:cubicBezTo>
                  <a:cubicBezTo>
                    <a:pt x="2611825" y="670224"/>
                    <a:pt x="2567781" y="679304"/>
                    <a:pt x="2529813" y="687242"/>
                  </a:cubicBezTo>
                  <a:cubicBezTo>
                    <a:pt x="2456366" y="701593"/>
                    <a:pt x="2377711" y="714166"/>
                    <a:pt x="2303280" y="721405"/>
                  </a:cubicBezTo>
                  <a:cubicBezTo>
                    <a:pt x="2152740" y="735692"/>
                    <a:pt x="1999017" y="733851"/>
                    <a:pt x="1848535" y="721849"/>
                  </a:cubicBezTo>
                  <a:cubicBezTo>
                    <a:pt x="1450627" y="688956"/>
                    <a:pt x="1056828" y="585769"/>
                    <a:pt x="688900" y="416033"/>
                  </a:cubicBezTo>
                  <a:cubicBezTo>
                    <a:pt x="504154" y="331546"/>
                    <a:pt x="324748" y="229450"/>
                    <a:pt x="154564" y="112611"/>
                  </a:cubicBezTo>
                  <a:close/>
                </a:path>
              </a:pathLst>
            </a:custGeom>
            <a:solidFill>
              <a:schemeClr val="accent5">
                <a:lumMod val="40000"/>
                <a:lumOff val="60000"/>
              </a:schemeClr>
            </a:solidFill>
            <a:ln w="6350" cap="flat">
              <a:noFill/>
              <a:prstDash val="solid"/>
              <a:miter/>
            </a:ln>
          </p:spPr>
          <p:txBody>
            <a:bodyPr wrap="square" rtlCol="0" anchor="ctr">
              <a:noAutofit/>
            </a:bodyPr>
            <a:lstStyle/>
            <a:p>
              <a:endParaRPr lang="en-CA"/>
            </a:p>
          </p:txBody>
        </p:sp>
        <p:sp>
          <p:nvSpPr>
            <p:cNvPr id="11" name="Free-form: Shape 10">
              <a:extLst>
                <a:ext uri="{FF2B5EF4-FFF2-40B4-BE49-F238E27FC236}">
                  <a16:creationId xmlns:a16="http://schemas.microsoft.com/office/drawing/2014/main" id="{A1221913-78E3-45DA-BB59-E807C13355C1}"/>
                </a:ext>
              </a:extLst>
            </p:cNvPr>
            <p:cNvSpPr/>
            <p:nvPr/>
          </p:nvSpPr>
          <p:spPr>
            <a:xfrm>
              <a:off x="1" y="-8791"/>
              <a:ext cx="10979277" cy="2899482"/>
            </a:xfrm>
            <a:custGeom>
              <a:avLst/>
              <a:gdLst>
                <a:gd name="connsiteX0" fmla="*/ 10972924 w 10979277"/>
                <a:gd name="connsiteY0" fmla="*/ 0 h 2899482"/>
                <a:gd name="connsiteX1" fmla="*/ 10979277 w 10979277"/>
                <a:gd name="connsiteY1" fmla="*/ 0 h 2899482"/>
                <a:gd name="connsiteX2" fmla="*/ 10929838 w 10979277"/>
                <a:gd name="connsiteY2" fmla="*/ 81065 h 2899482"/>
                <a:gd name="connsiteX3" fmla="*/ 9810658 w 10979277"/>
                <a:gd name="connsiteY3" fmla="*/ 1104500 h 2899482"/>
                <a:gd name="connsiteX4" fmla="*/ 9347812 w 10979277"/>
                <a:gd name="connsiteY4" fmla="*/ 1301921 h 2899482"/>
                <a:gd name="connsiteX5" fmla="*/ 8175964 w 10979277"/>
                <a:gd name="connsiteY5" fmla="*/ 1536046 h 2899482"/>
                <a:gd name="connsiteX6" fmla="*/ 7578957 w 10979277"/>
                <a:gd name="connsiteY6" fmla="*/ 1529632 h 2899482"/>
                <a:gd name="connsiteX7" fmla="*/ 6794079 w 10979277"/>
                <a:gd name="connsiteY7" fmla="*/ 1509312 h 2899482"/>
                <a:gd name="connsiteX8" fmla="*/ 6163733 w 10979277"/>
                <a:gd name="connsiteY8" fmla="*/ 1516170 h 2899482"/>
                <a:gd name="connsiteX9" fmla="*/ 4894246 w 10979277"/>
                <a:gd name="connsiteY9" fmla="*/ 1806111 h 2899482"/>
                <a:gd name="connsiteX10" fmla="*/ 4167998 w 10979277"/>
                <a:gd name="connsiteY10" fmla="*/ 2105577 h 2899482"/>
                <a:gd name="connsiteX11" fmla="*/ 3454425 w 10979277"/>
                <a:gd name="connsiteY11" fmla="*/ 2452859 h 2899482"/>
                <a:gd name="connsiteX12" fmla="*/ 2681469 w 10979277"/>
                <a:gd name="connsiteY12" fmla="*/ 2746991 h 2899482"/>
                <a:gd name="connsiteX13" fmla="*/ 2281420 w 10979277"/>
                <a:gd name="connsiteY13" fmla="*/ 2837986 h 2899482"/>
                <a:gd name="connsiteX14" fmla="*/ 644005 w 10979277"/>
                <a:gd name="connsiteY14" fmla="*/ 2787377 h 2899482"/>
                <a:gd name="connsiteX15" fmla="*/ 546192 w 10979277"/>
                <a:gd name="connsiteY15" fmla="*/ 2766549 h 2899482"/>
                <a:gd name="connsiteX16" fmla="*/ 497343 w 10979277"/>
                <a:gd name="connsiteY16" fmla="*/ 2755880 h 2899482"/>
                <a:gd name="connsiteX17" fmla="*/ 447452 w 10979277"/>
                <a:gd name="connsiteY17" fmla="*/ 2744705 h 2899482"/>
                <a:gd name="connsiteX18" fmla="*/ 0 w 10979277"/>
                <a:gd name="connsiteY18" fmla="*/ 2625007 h 2899482"/>
                <a:gd name="connsiteX19" fmla="*/ 0 w 10979277"/>
                <a:gd name="connsiteY19" fmla="*/ 2073954 h 2899482"/>
                <a:gd name="connsiteX20" fmla="*/ 642847 w 10979277"/>
                <a:gd name="connsiteY20" fmla="*/ 2279885 h 2899482"/>
                <a:gd name="connsiteX21" fmla="*/ 2552924 w 10979277"/>
                <a:gd name="connsiteY21" fmla="*/ 2362054 h 2899482"/>
                <a:gd name="connsiteX22" fmla="*/ 3320959 w 10979277"/>
                <a:gd name="connsiteY22" fmla="*/ 2112816 h 2899482"/>
                <a:gd name="connsiteX23" fmla="*/ 3685704 w 10979277"/>
                <a:gd name="connsiteY23" fmla="*/ 1948160 h 2899482"/>
                <a:gd name="connsiteX24" fmla="*/ 4432962 w 10979277"/>
                <a:gd name="connsiteY24" fmla="*/ 1648694 h 2899482"/>
                <a:gd name="connsiteX25" fmla="*/ 5205454 w 10979277"/>
                <a:gd name="connsiteY25" fmla="*/ 1414062 h 2899482"/>
                <a:gd name="connsiteX26" fmla="*/ 6203843 w 10979277"/>
                <a:gd name="connsiteY26" fmla="*/ 1275060 h 2899482"/>
                <a:gd name="connsiteX27" fmla="*/ 6800967 w 10979277"/>
                <a:gd name="connsiteY27" fmla="*/ 1297921 h 2899482"/>
                <a:gd name="connsiteX28" fmla="*/ 7588564 w 10979277"/>
                <a:gd name="connsiteY28" fmla="*/ 1353610 h 2899482"/>
                <a:gd name="connsiteX29" fmla="*/ 7977617 w 10979277"/>
                <a:gd name="connsiteY29" fmla="*/ 1385741 h 2899482"/>
                <a:gd name="connsiteX30" fmla="*/ 8365571 w 10979277"/>
                <a:gd name="connsiteY30" fmla="*/ 1379899 h 2899482"/>
                <a:gd name="connsiteX31" fmla="*/ 9322230 w 10979277"/>
                <a:gd name="connsiteY31" fmla="*/ 1209084 h 2899482"/>
                <a:gd name="connsiteX32" fmla="*/ 9692589 w 10979277"/>
                <a:gd name="connsiteY32" fmla="*/ 1076369 h 2899482"/>
                <a:gd name="connsiteX33" fmla="*/ 10916494 w 10979277"/>
                <a:gd name="connsiteY33" fmla="*/ 84552 h 289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979277" h="2899482">
                  <a:moveTo>
                    <a:pt x="10972924" y="0"/>
                  </a:moveTo>
                  <a:lnTo>
                    <a:pt x="10979277" y="0"/>
                  </a:lnTo>
                  <a:lnTo>
                    <a:pt x="10929838" y="81065"/>
                  </a:lnTo>
                  <a:cubicBezTo>
                    <a:pt x="10642741" y="517107"/>
                    <a:pt x="10255658" y="875026"/>
                    <a:pt x="9810658" y="1104500"/>
                  </a:cubicBezTo>
                  <a:cubicBezTo>
                    <a:pt x="9661392" y="1182541"/>
                    <a:pt x="9504891" y="1246485"/>
                    <a:pt x="9347812" y="1301921"/>
                  </a:cubicBezTo>
                  <a:cubicBezTo>
                    <a:pt x="8970160" y="1441748"/>
                    <a:pt x="8573525" y="1514773"/>
                    <a:pt x="8175964" y="1536046"/>
                  </a:cubicBezTo>
                  <a:cubicBezTo>
                    <a:pt x="7985952" y="1552746"/>
                    <a:pt x="7770127" y="1538966"/>
                    <a:pt x="7578957" y="1529632"/>
                  </a:cubicBezTo>
                  <a:cubicBezTo>
                    <a:pt x="7355087" y="1518710"/>
                    <a:pt x="7022232" y="1513884"/>
                    <a:pt x="6794079" y="1509312"/>
                  </a:cubicBezTo>
                  <a:cubicBezTo>
                    <a:pt x="6582999" y="1506772"/>
                    <a:pt x="6373135" y="1500866"/>
                    <a:pt x="6163733" y="1516170"/>
                  </a:cubicBezTo>
                  <a:cubicBezTo>
                    <a:pt x="5731215" y="1551984"/>
                    <a:pt x="5307319" y="1663490"/>
                    <a:pt x="4894246" y="1806111"/>
                  </a:cubicBezTo>
                  <a:cubicBezTo>
                    <a:pt x="4649540" y="1891201"/>
                    <a:pt x="4406860" y="1999850"/>
                    <a:pt x="4167998" y="2105577"/>
                  </a:cubicBezTo>
                  <a:cubicBezTo>
                    <a:pt x="3925491" y="2212003"/>
                    <a:pt x="3691723" y="2332462"/>
                    <a:pt x="3454425" y="2452859"/>
                  </a:cubicBezTo>
                  <a:cubicBezTo>
                    <a:pt x="3210529" y="2577954"/>
                    <a:pt x="2943887" y="2676442"/>
                    <a:pt x="2681469" y="2746991"/>
                  </a:cubicBezTo>
                  <a:cubicBezTo>
                    <a:pt x="2549914" y="2782995"/>
                    <a:pt x="2415291" y="2813729"/>
                    <a:pt x="2281420" y="2837986"/>
                  </a:cubicBezTo>
                  <a:cubicBezTo>
                    <a:pt x="1740380" y="2941872"/>
                    <a:pt x="1179604" y="2906884"/>
                    <a:pt x="644005" y="2787377"/>
                  </a:cubicBezTo>
                  <a:cubicBezTo>
                    <a:pt x="643715" y="2787377"/>
                    <a:pt x="546192" y="2766549"/>
                    <a:pt x="546192" y="2766549"/>
                  </a:cubicBezTo>
                  <a:lnTo>
                    <a:pt x="497343" y="2755880"/>
                  </a:lnTo>
                  <a:lnTo>
                    <a:pt x="447452" y="2744705"/>
                  </a:lnTo>
                  <a:cubicBezTo>
                    <a:pt x="297028" y="2710415"/>
                    <a:pt x="147820" y="2670473"/>
                    <a:pt x="0" y="2625007"/>
                  </a:cubicBezTo>
                  <a:lnTo>
                    <a:pt x="0" y="2073954"/>
                  </a:lnTo>
                  <a:cubicBezTo>
                    <a:pt x="210849" y="2154853"/>
                    <a:pt x="425516" y="2223751"/>
                    <a:pt x="642847" y="2279885"/>
                  </a:cubicBezTo>
                  <a:cubicBezTo>
                    <a:pt x="1316484" y="2466257"/>
                    <a:pt x="1868637" y="2510834"/>
                    <a:pt x="2552924" y="2362054"/>
                  </a:cubicBezTo>
                  <a:cubicBezTo>
                    <a:pt x="2818176" y="2304903"/>
                    <a:pt x="3070466" y="2227688"/>
                    <a:pt x="3320959" y="2112816"/>
                  </a:cubicBezTo>
                  <a:cubicBezTo>
                    <a:pt x="3441577" y="2058968"/>
                    <a:pt x="3563756" y="2001501"/>
                    <a:pt x="3685704" y="1948160"/>
                  </a:cubicBezTo>
                  <a:cubicBezTo>
                    <a:pt x="3931163" y="1839956"/>
                    <a:pt x="4182699" y="1742802"/>
                    <a:pt x="4432962" y="1648694"/>
                  </a:cubicBezTo>
                  <a:cubicBezTo>
                    <a:pt x="4684845" y="1553381"/>
                    <a:pt x="4944658" y="1477181"/>
                    <a:pt x="5205454" y="1414062"/>
                  </a:cubicBezTo>
                  <a:cubicBezTo>
                    <a:pt x="5532926" y="1334750"/>
                    <a:pt x="5868095" y="1282998"/>
                    <a:pt x="6203843" y="1275060"/>
                  </a:cubicBezTo>
                  <a:cubicBezTo>
                    <a:pt x="6403695" y="1272775"/>
                    <a:pt x="6602909" y="1286427"/>
                    <a:pt x="6800967" y="1297921"/>
                  </a:cubicBezTo>
                  <a:cubicBezTo>
                    <a:pt x="7030278" y="1313541"/>
                    <a:pt x="7361974" y="1332084"/>
                    <a:pt x="7588564" y="1353610"/>
                  </a:cubicBezTo>
                  <a:cubicBezTo>
                    <a:pt x="7696564" y="1363199"/>
                    <a:pt x="7870370" y="1381677"/>
                    <a:pt x="7977617" y="1385741"/>
                  </a:cubicBezTo>
                  <a:cubicBezTo>
                    <a:pt x="8105238" y="1389932"/>
                    <a:pt x="8237372" y="1385487"/>
                    <a:pt x="8365571" y="1379899"/>
                  </a:cubicBezTo>
                  <a:cubicBezTo>
                    <a:pt x="8689396" y="1365103"/>
                    <a:pt x="9010848" y="1307890"/>
                    <a:pt x="9322230" y="1209084"/>
                  </a:cubicBezTo>
                  <a:cubicBezTo>
                    <a:pt x="9447534" y="1170857"/>
                    <a:pt x="9571509" y="1128122"/>
                    <a:pt x="9692589" y="1076369"/>
                  </a:cubicBezTo>
                  <a:cubicBezTo>
                    <a:pt x="10172430" y="875122"/>
                    <a:pt x="10597369" y="526564"/>
                    <a:pt x="10916494" y="84552"/>
                  </a:cubicBezTo>
                  <a:close/>
                </a:path>
              </a:pathLst>
            </a:custGeom>
            <a:solidFill>
              <a:schemeClr val="accent5">
                <a:lumMod val="40000"/>
                <a:lumOff val="60000"/>
              </a:schemeClr>
            </a:solidFill>
            <a:ln w="6350" cap="flat">
              <a:noFill/>
              <a:prstDash val="solid"/>
              <a:miter/>
            </a:ln>
          </p:spPr>
          <p:txBody>
            <a:bodyPr wrap="square" rtlCol="0" anchor="ctr">
              <a:noAutofit/>
            </a:bodyPr>
            <a:lstStyle/>
            <a:p>
              <a:endParaRPr lang="en-CA"/>
            </a:p>
          </p:txBody>
        </p:sp>
      </p:grpSp>
      <p:sp>
        <p:nvSpPr>
          <p:cNvPr id="12" name="Title 5">
            <a:extLst>
              <a:ext uri="{FF2B5EF4-FFF2-40B4-BE49-F238E27FC236}">
                <a16:creationId xmlns:a16="http://schemas.microsoft.com/office/drawing/2014/main" id="{2FE08276-5DE2-4B02-81FA-9930333D0476}"/>
              </a:ext>
            </a:extLst>
          </p:cNvPr>
          <p:cNvSpPr>
            <a:spLocks noGrp="1"/>
          </p:cNvSpPr>
          <p:nvPr/>
        </p:nvSpPr>
        <p:spPr>
          <a:xfrm>
            <a:off x="559570" y="3215692"/>
            <a:ext cx="8652001" cy="1086594"/>
          </a:xfrm>
          <a:prstGeom prst="rect">
            <a:avLst/>
          </a:prstGeom>
        </p:spPr>
        <p:txBody>
          <a:bodyPr vert="horz" lIns="0" tIns="91440" rIns="0" bIns="91440" rtlCol="0" anchor="ctr" anchorCtr="0">
            <a:noAutofit/>
          </a:bodyPr>
          <a:lstStyle>
            <a:lvl1pPr algn="l" defTabSz="914377" rtl="0" eaLnBrk="1" latinLnBrk="0" hangingPunct="1">
              <a:lnSpc>
                <a:spcPct val="100000"/>
              </a:lnSpc>
              <a:spcBef>
                <a:spcPct val="0"/>
              </a:spcBef>
              <a:buNone/>
              <a:defRPr sz="4400" kern="1200">
                <a:solidFill>
                  <a:schemeClr val="tx2"/>
                </a:solidFill>
                <a:latin typeface="Apis For Office Light" panose="020B0404010101010104" pitchFamily="34" charset="0"/>
                <a:ea typeface="Apis For Office Light" panose="020B0404010101010104" pitchFamily="34" charset="0"/>
                <a:cs typeface="Apis For Office Light" panose="020B0404010101010104" pitchFamily="34" charset="0"/>
              </a:defRPr>
            </a:lvl1pPr>
          </a:lstStyle>
          <a:p>
            <a:r>
              <a:rPr lang="en-CA" dirty="0">
                <a:latin typeface="+mn-lt"/>
              </a:rPr>
              <a:t>The Obesity Puzzle:</a:t>
            </a:r>
            <a:br>
              <a:rPr lang="en-CA" dirty="0">
                <a:latin typeface="+mn-lt"/>
              </a:rPr>
            </a:br>
            <a:r>
              <a:rPr lang="en-CA" sz="2400" dirty="0">
                <a:solidFill>
                  <a:srgbClr val="005AD2"/>
                </a:solidFill>
                <a:latin typeface="+mn-lt"/>
              </a:rPr>
              <a:t>Linking cause, effect and treatment</a:t>
            </a:r>
          </a:p>
        </p:txBody>
      </p:sp>
      <p:sp>
        <p:nvSpPr>
          <p:cNvPr id="2" name="TextBox 1">
            <a:extLst>
              <a:ext uri="{FF2B5EF4-FFF2-40B4-BE49-F238E27FC236}">
                <a16:creationId xmlns:a16="http://schemas.microsoft.com/office/drawing/2014/main" id="{18381A96-2E8B-9B1A-C93D-5A443A6C4F42}"/>
              </a:ext>
            </a:extLst>
          </p:cNvPr>
          <p:cNvSpPr txBox="1"/>
          <p:nvPr/>
        </p:nvSpPr>
        <p:spPr>
          <a:xfrm>
            <a:off x="559570" y="4352725"/>
            <a:ext cx="3082575" cy="831190"/>
          </a:xfrm>
          <a:prstGeom prst="rect">
            <a:avLst/>
          </a:prstGeom>
          <a:noFill/>
        </p:spPr>
        <p:txBody>
          <a:bodyPr wrap="none" lIns="0" tIns="0" rIns="0" bIns="0" rtlCol="0">
            <a:spAutoFit/>
          </a:bodyPr>
          <a:lstStyle/>
          <a:p>
            <a:pPr>
              <a:lnSpc>
                <a:spcPct val="120000"/>
              </a:lnSpc>
              <a:buClr>
                <a:srgbClr val="2A918B"/>
              </a:buClr>
            </a:pPr>
            <a:r>
              <a:rPr lang="en-ZA" sz="1600" dirty="0">
                <a:solidFill>
                  <a:srgbClr val="3B97DE"/>
                </a:solidFill>
              </a:rPr>
              <a:t>Dr Charlene Wolberg</a:t>
            </a:r>
          </a:p>
          <a:p>
            <a:pPr>
              <a:lnSpc>
                <a:spcPct val="120000"/>
              </a:lnSpc>
              <a:buClr>
                <a:srgbClr val="2A918B"/>
              </a:buClr>
            </a:pPr>
            <a:r>
              <a:rPr lang="en-ZA" sz="1600" dirty="0">
                <a:solidFill>
                  <a:srgbClr val="3B97DE"/>
                </a:solidFill>
              </a:rPr>
              <a:t>GGPF: Gallagher estate - Mirand</a:t>
            </a:r>
          </a:p>
          <a:p>
            <a:pPr>
              <a:lnSpc>
                <a:spcPct val="120000"/>
              </a:lnSpc>
              <a:buClr>
                <a:srgbClr val="2A918B"/>
              </a:buClr>
            </a:pPr>
            <a:r>
              <a:rPr lang="en-ZA" sz="1400" dirty="0">
                <a:solidFill>
                  <a:schemeClr val="accent3"/>
                </a:solidFill>
              </a:rPr>
              <a:t>19 April 2026</a:t>
            </a:r>
          </a:p>
        </p:txBody>
      </p:sp>
      <p:sp>
        <p:nvSpPr>
          <p:cNvPr id="3" name="Freeform 44">
            <a:extLst>
              <a:ext uri="{FF2B5EF4-FFF2-40B4-BE49-F238E27FC236}">
                <a16:creationId xmlns:a16="http://schemas.microsoft.com/office/drawing/2014/main" id="{935CB3FF-1AE2-EC66-EC96-C7AAF6ADA138}"/>
              </a:ext>
            </a:extLst>
          </p:cNvPr>
          <p:cNvSpPr>
            <a:spLocks noChangeArrowheads="1"/>
          </p:cNvSpPr>
          <p:nvPr/>
        </p:nvSpPr>
        <p:spPr bwMode="auto">
          <a:xfrm>
            <a:off x="9061714" y="2869644"/>
            <a:ext cx="2195331" cy="2195331"/>
          </a:xfrm>
          <a:custGeom>
            <a:avLst/>
            <a:gdLst>
              <a:gd name="T0" fmla="*/ 3103 w 3524"/>
              <a:gd name="T1" fmla="*/ 1168 h 3523"/>
              <a:gd name="T2" fmla="*/ 3521 w 3524"/>
              <a:gd name="T3" fmla="*/ 1761 h 3523"/>
              <a:gd name="T4" fmla="*/ 2929 w 3524"/>
              <a:gd name="T5" fmla="*/ 2182 h 3523"/>
              <a:gd name="T6" fmla="*/ 2914 w 3524"/>
              <a:gd name="T7" fmla="*/ 2499 h 3523"/>
              <a:gd name="T8" fmla="*/ 3154 w 3524"/>
              <a:gd name="T9" fmla="*/ 2602 h 3523"/>
              <a:gd name="T10" fmla="*/ 3293 w 3524"/>
              <a:gd name="T11" fmla="*/ 3117 h 3523"/>
              <a:gd name="T12" fmla="*/ 2832 w 3524"/>
              <a:gd name="T13" fmla="*/ 3385 h 3523"/>
              <a:gd name="T14" fmla="*/ 2509 w 3524"/>
              <a:gd name="T15" fmla="*/ 3051 h 3523"/>
              <a:gd name="T16" fmla="*/ 2107 w 3524"/>
              <a:gd name="T17" fmla="*/ 3023 h 3523"/>
              <a:gd name="T18" fmla="*/ 1760 w 3524"/>
              <a:gd name="T19" fmla="*/ 3521 h 3523"/>
              <a:gd name="T20" fmla="*/ 1760 w 3524"/>
              <a:gd name="T21" fmla="*/ 3522 h 3523"/>
              <a:gd name="T22" fmla="*/ 1339 w 3524"/>
              <a:gd name="T23" fmla="*/ 2930 h 3523"/>
              <a:gd name="T24" fmla="*/ 1022 w 3524"/>
              <a:gd name="T25" fmla="*/ 2915 h 3523"/>
              <a:gd name="T26" fmla="*/ 919 w 3524"/>
              <a:gd name="T27" fmla="*/ 3155 h 3523"/>
              <a:gd name="T28" fmla="*/ 404 w 3524"/>
              <a:gd name="T29" fmla="*/ 3293 h 3523"/>
              <a:gd name="T30" fmla="*/ 136 w 3524"/>
              <a:gd name="T31" fmla="*/ 2832 h 3523"/>
              <a:gd name="T32" fmla="*/ 470 w 3524"/>
              <a:gd name="T33" fmla="*/ 2510 h 3523"/>
              <a:gd name="T34" fmla="*/ 499 w 3524"/>
              <a:gd name="T35" fmla="*/ 2107 h 3523"/>
              <a:gd name="T36" fmla="*/ 0 w 3524"/>
              <a:gd name="T37" fmla="*/ 1760 h 3523"/>
              <a:gd name="T38" fmla="*/ 346 w 3524"/>
              <a:gd name="T39" fmla="*/ 1262 h 3523"/>
              <a:gd name="T40" fmla="*/ 748 w 3524"/>
              <a:gd name="T41" fmla="*/ 1291 h 3523"/>
              <a:gd name="T42" fmla="*/ 1071 w 3524"/>
              <a:gd name="T43" fmla="*/ 1625 h 3523"/>
              <a:gd name="T44" fmla="*/ 1532 w 3524"/>
              <a:gd name="T45" fmla="*/ 1356 h 3523"/>
              <a:gd name="T46" fmla="*/ 1393 w 3524"/>
              <a:gd name="T47" fmla="*/ 840 h 3523"/>
              <a:gd name="T48" fmla="*/ 1154 w 3524"/>
              <a:gd name="T49" fmla="*/ 739 h 3523"/>
              <a:gd name="T50" fmla="*/ 1168 w 3524"/>
              <a:gd name="T51" fmla="*/ 422 h 3523"/>
              <a:gd name="T52" fmla="*/ 1760 w 3524"/>
              <a:gd name="T53" fmla="*/ 1 h 3523"/>
              <a:gd name="T54" fmla="*/ 1763 w 3524"/>
              <a:gd name="T55" fmla="*/ 0 h 3523"/>
              <a:gd name="T56" fmla="*/ 2262 w 3524"/>
              <a:gd name="T57" fmla="*/ 347 h 3523"/>
              <a:gd name="T58" fmla="*/ 2233 w 3524"/>
              <a:gd name="T59" fmla="*/ 749 h 3523"/>
              <a:gd name="T60" fmla="*/ 1899 w 3524"/>
              <a:gd name="T61" fmla="*/ 1070 h 3523"/>
              <a:gd name="T62" fmla="*/ 2167 w 3524"/>
              <a:gd name="T63" fmla="*/ 1532 h 3523"/>
              <a:gd name="T64" fmla="*/ 2683 w 3524"/>
              <a:gd name="T65" fmla="*/ 1393 h 3523"/>
              <a:gd name="T66" fmla="*/ 2785 w 3524"/>
              <a:gd name="T67" fmla="*/ 1153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24" h="3523">
                <a:moveTo>
                  <a:pt x="3103" y="1168"/>
                </a:moveTo>
                <a:lnTo>
                  <a:pt x="3103" y="1168"/>
                </a:lnTo>
                <a:cubicBezTo>
                  <a:pt x="3256" y="1355"/>
                  <a:pt x="3396" y="1552"/>
                  <a:pt x="3523" y="1759"/>
                </a:cubicBezTo>
                <a:lnTo>
                  <a:pt x="3521" y="1761"/>
                </a:lnTo>
                <a:lnTo>
                  <a:pt x="3521" y="1761"/>
                </a:lnTo>
                <a:cubicBezTo>
                  <a:pt x="3314" y="1887"/>
                  <a:pt x="3115" y="2028"/>
                  <a:pt x="2929" y="2182"/>
                </a:cubicBezTo>
                <a:lnTo>
                  <a:pt x="2929" y="2182"/>
                </a:lnTo>
                <a:cubicBezTo>
                  <a:pt x="2781" y="2303"/>
                  <a:pt x="2780" y="2444"/>
                  <a:pt x="2914" y="2499"/>
                </a:cubicBezTo>
                <a:lnTo>
                  <a:pt x="2914" y="2499"/>
                </a:lnTo>
                <a:cubicBezTo>
                  <a:pt x="3018" y="2541"/>
                  <a:pt x="3106" y="2582"/>
                  <a:pt x="3154" y="2602"/>
                </a:cubicBezTo>
                <a:lnTo>
                  <a:pt x="3154" y="2602"/>
                </a:lnTo>
                <a:cubicBezTo>
                  <a:pt x="3320" y="2670"/>
                  <a:pt x="3382" y="2900"/>
                  <a:pt x="3293" y="3117"/>
                </a:cubicBezTo>
                <a:lnTo>
                  <a:pt x="3293" y="3117"/>
                </a:lnTo>
                <a:cubicBezTo>
                  <a:pt x="3204" y="3333"/>
                  <a:pt x="2998" y="3453"/>
                  <a:pt x="2832" y="3385"/>
                </a:cubicBezTo>
                <a:lnTo>
                  <a:pt x="2832" y="3385"/>
                </a:lnTo>
                <a:cubicBezTo>
                  <a:pt x="2761" y="3356"/>
                  <a:pt x="2629" y="3218"/>
                  <a:pt x="2509" y="3051"/>
                </a:cubicBezTo>
                <a:lnTo>
                  <a:pt x="2509" y="3051"/>
                </a:lnTo>
                <a:cubicBezTo>
                  <a:pt x="2397" y="2897"/>
                  <a:pt x="2224" y="2872"/>
                  <a:pt x="2107" y="3023"/>
                </a:cubicBezTo>
                <a:lnTo>
                  <a:pt x="2107" y="3023"/>
                </a:lnTo>
                <a:cubicBezTo>
                  <a:pt x="1982" y="3181"/>
                  <a:pt x="1867" y="3348"/>
                  <a:pt x="1760" y="3521"/>
                </a:cubicBezTo>
                <a:lnTo>
                  <a:pt x="1760" y="3522"/>
                </a:lnTo>
                <a:lnTo>
                  <a:pt x="1760" y="3522"/>
                </a:lnTo>
                <a:cubicBezTo>
                  <a:pt x="1633" y="3314"/>
                  <a:pt x="1493" y="3117"/>
                  <a:pt x="1339" y="2930"/>
                </a:cubicBezTo>
                <a:lnTo>
                  <a:pt x="1339" y="2930"/>
                </a:lnTo>
                <a:cubicBezTo>
                  <a:pt x="1218" y="2782"/>
                  <a:pt x="1076" y="2782"/>
                  <a:pt x="1022" y="2915"/>
                </a:cubicBezTo>
                <a:lnTo>
                  <a:pt x="1022" y="2915"/>
                </a:lnTo>
                <a:cubicBezTo>
                  <a:pt x="980" y="3018"/>
                  <a:pt x="939" y="3107"/>
                  <a:pt x="919" y="3155"/>
                </a:cubicBezTo>
                <a:lnTo>
                  <a:pt x="919" y="3155"/>
                </a:lnTo>
                <a:cubicBezTo>
                  <a:pt x="851" y="3321"/>
                  <a:pt x="620" y="3382"/>
                  <a:pt x="404" y="3293"/>
                </a:cubicBezTo>
                <a:lnTo>
                  <a:pt x="404" y="3293"/>
                </a:lnTo>
                <a:cubicBezTo>
                  <a:pt x="188" y="3205"/>
                  <a:pt x="67" y="2998"/>
                  <a:pt x="136" y="2832"/>
                </a:cubicBezTo>
                <a:lnTo>
                  <a:pt x="136" y="2832"/>
                </a:lnTo>
                <a:cubicBezTo>
                  <a:pt x="165" y="2761"/>
                  <a:pt x="304" y="2630"/>
                  <a:pt x="470" y="2510"/>
                </a:cubicBezTo>
                <a:lnTo>
                  <a:pt x="470" y="2510"/>
                </a:lnTo>
                <a:cubicBezTo>
                  <a:pt x="624" y="2397"/>
                  <a:pt x="649" y="2225"/>
                  <a:pt x="499" y="2107"/>
                </a:cubicBezTo>
                <a:lnTo>
                  <a:pt x="499" y="2107"/>
                </a:lnTo>
                <a:cubicBezTo>
                  <a:pt x="340" y="1983"/>
                  <a:pt x="173" y="1867"/>
                  <a:pt x="0" y="1761"/>
                </a:cubicBezTo>
                <a:lnTo>
                  <a:pt x="0" y="1760"/>
                </a:lnTo>
                <a:lnTo>
                  <a:pt x="0" y="1760"/>
                </a:lnTo>
                <a:cubicBezTo>
                  <a:pt x="106" y="1587"/>
                  <a:pt x="221" y="1421"/>
                  <a:pt x="346" y="1262"/>
                </a:cubicBezTo>
                <a:lnTo>
                  <a:pt x="346" y="1262"/>
                </a:lnTo>
                <a:cubicBezTo>
                  <a:pt x="463" y="1111"/>
                  <a:pt x="636" y="1136"/>
                  <a:pt x="748" y="1291"/>
                </a:cubicBezTo>
                <a:lnTo>
                  <a:pt x="748" y="1291"/>
                </a:lnTo>
                <a:cubicBezTo>
                  <a:pt x="869" y="1457"/>
                  <a:pt x="1000" y="1595"/>
                  <a:pt x="1071" y="1625"/>
                </a:cubicBezTo>
                <a:lnTo>
                  <a:pt x="1071" y="1625"/>
                </a:lnTo>
                <a:cubicBezTo>
                  <a:pt x="1237" y="1692"/>
                  <a:pt x="1443" y="1572"/>
                  <a:pt x="1532" y="1356"/>
                </a:cubicBezTo>
                <a:lnTo>
                  <a:pt x="1532" y="1356"/>
                </a:lnTo>
                <a:cubicBezTo>
                  <a:pt x="1621" y="1139"/>
                  <a:pt x="1559" y="909"/>
                  <a:pt x="1393" y="840"/>
                </a:cubicBezTo>
                <a:lnTo>
                  <a:pt x="1393" y="840"/>
                </a:lnTo>
                <a:cubicBezTo>
                  <a:pt x="1345" y="821"/>
                  <a:pt x="1257" y="781"/>
                  <a:pt x="1154" y="739"/>
                </a:cubicBezTo>
                <a:lnTo>
                  <a:pt x="1154" y="739"/>
                </a:lnTo>
                <a:cubicBezTo>
                  <a:pt x="1020" y="684"/>
                  <a:pt x="1020" y="543"/>
                  <a:pt x="1168" y="422"/>
                </a:cubicBezTo>
                <a:lnTo>
                  <a:pt x="1168" y="422"/>
                </a:lnTo>
                <a:cubicBezTo>
                  <a:pt x="1355" y="269"/>
                  <a:pt x="1552" y="128"/>
                  <a:pt x="1760" y="1"/>
                </a:cubicBezTo>
                <a:lnTo>
                  <a:pt x="1763" y="0"/>
                </a:lnTo>
                <a:lnTo>
                  <a:pt x="1763" y="0"/>
                </a:lnTo>
                <a:cubicBezTo>
                  <a:pt x="1936" y="106"/>
                  <a:pt x="2103" y="222"/>
                  <a:pt x="2262" y="347"/>
                </a:cubicBezTo>
                <a:lnTo>
                  <a:pt x="2262" y="347"/>
                </a:lnTo>
                <a:cubicBezTo>
                  <a:pt x="2412" y="464"/>
                  <a:pt x="2388" y="637"/>
                  <a:pt x="2233" y="749"/>
                </a:cubicBezTo>
                <a:lnTo>
                  <a:pt x="2233" y="749"/>
                </a:lnTo>
                <a:cubicBezTo>
                  <a:pt x="2067" y="868"/>
                  <a:pt x="1928" y="1000"/>
                  <a:pt x="1899" y="1070"/>
                </a:cubicBezTo>
                <a:lnTo>
                  <a:pt x="1899" y="1070"/>
                </a:lnTo>
                <a:cubicBezTo>
                  <a:pt x="1831" y="1236"/>
                  <a:pt x="1952" y="1443"/>
                  <a:pt x="2167" y="1532"/>
                </a:cubicBezTo>
                <a:lnTo>
                  <a:pt x="2167" y="1532"/>
                </a:lnTo>
                <a:cubicBezTo>
                  <a:pt x="2384" y="1620"/>
                  <a:pt x="2615" y="1558"/>
                  <a:pt x="2683" y="1393"/>
                </a:cubicBezTo>
                <a:lnTo>
                  <a:pt x="2683" y="1393"/>
                </a:lnTo>
                <a:cubicBezTo>
                  <a:pt x="2703" y="1345"/>
                  <a:pt x="2743" y="1256"/>
                  <a:pt x="2785" y="1153"/>
                </a:cubicBezTo>
                <a:lnTo>
                  <a:pt x="2785" y="1153"/>
                </a:lnTo>
                <a:cubicBezTo>
                  <a:pt x="2840" y="1019"/>
                  <a:pt x="2982" y="1020"/>
                  <a:pt x="3103" y="1168"/>
                </a:cubicBezTo>
              </a:path>
            </a:pathLst>
          </a:custGeom>
          <a:solidFill>
            <a:schemeClr val="accent2"/>
          </a:solidFill>
          <a:ln>
            <a:noFill/>
          </a:ln>
          <a:effectLst/>
        </p:spPr>
        <p:txBody>
          <a:bodyPr wrap="none" anchor="ctr"/>
          <a:lstStyle/>
          <a:p>
            <a:endParaRPr lang="en-US" sz="3266"/>
          </a:p>
        </p:txBody>
      </p:sp>
      <p:sp>
        <p:nvSpPr>
          <p:cNvPr id="4" name="Freeform 45">
            <a:extLst>
              <a:ext uri="{FF2B5EF4-FFF2-40B4-BE49-F238E27FC236}">
                <a16:creationId xmlns:a16="http://schemas.microsoft.com/office/drawing/2014/main" id="{55B06205-9BDA-F900-B6E0-3F1D65D13037}"/>
              </a:ext>
            </a:extLst>
          </p:cNvPr>
          <p:cNvSpPr>
            <a:spLocks noChangeArrowheads="1"/>
          </p:cNvSpPr>
          <p:nvPr/>
        </p:nvSpPr>
        <p:spPr bwMode="auto">
          <a:xfrm>
            <a:off x="6866386" y="2869644"/>
            <a:ext cx="2195329" cy="2195331"/>
          </a:xfrm>
          <a:custGeom>
            <a:avLst/>
            <a:gdLst>
              <a:gd name="T0" fmla="*/ 421 w 3525"/>
              <a:gd name="T1" fmla="*/ 2353 h 3523"/>
              <a:gd name="T2" fmla="*/ 2 w 3525"/>
              <a:gd name="T3" fmla="*/ 1760 h 3523"/>
              <a:gd name="T4" fmla="*/ 594 w 3525"/>
              <a:gd name="T5" fmla="*/ 1339 h 3523"/>
              <a:gd name="T6" fmla="*/ 609 w 3525"/>
              <a:gd name="T7" fmla="*/ 1022 h 3523"/>
              <a:gd name="T8" fmla="*/ 369 w 3525"/>
              <a:gd name="T9" fmla="*/ 919 h 3523"/>
              <a:gd name="T10" fmla="*/ 231 w 3525"/>
              <a:gd name="T11" fmla="*/ 405 h 3523"/>
              <a:gd name="T12" fmla="*/ 692 w 3525"/>
              <a:gd name="T13" fmla="*/ 137 h 3523"/>
              <a:gd name="T14" fmla="*/ 1015 w 3525"/>
              <a:gd name="T15" fmla="*/ 471 h 3523"/>
              <a:gd name="T16" fmla="*/ 1417 w 3525"/>
              <a:gd name="T17" fmla="*/ 499 h 3523"/>
              <a:gd name="T18" fmla="*/ 1763 w 3525"/>
              <a:gd name="T19" fmla="*/ 1 h 3523"/>
              <a:gd name="T20" fmla="*/ 1763 w 3525"/>
              <a:gd name="T21" fmla="*/ 0 h 3523"/>
              <a:gd name="T22" fmla="*/ 2184 w 3525"/>
              <a:gd name="T23" fmla="*/ 592 h 3523"/>
              <a:gd name="T24" fmla="*/ 2501 w 3525"/>
              <a:gd name="T25" fmla="*/ 607 h 3523"/>
              <a:gd name="T26" fmla="*/ 2604 w 3525"/>
              <a:gd name="T27" fmla="*/ 367 h 3523"/>
              <a:gd name="T28" fmla="*/ 3119 w 3525"/>
              <a:gd name="T29" fmla="*/ 228 h 3523"/>
              <a:gd name="T30" fmla="*/ 3388 w 3525"/>
              <a:gd name="T31" fmla="*/ 690 h 3523"/>
              <a:gd name="T32" fmla="*/ 3054 w 3525"/>
              <a:gd name="T33" fmla="*/ 1011 h 3523"/>
              <a:gd name="T34" fmla="*/ 3025 w 3525"/>
              <a:gd name="T35" fmla="*/ 1413 h 3523"/>
              <a:gd name="T36" fmla="*/ 3524 w 3525"/>
              <a:gd name="T37" fmla="*/ 1761 h 3523"/>
              <a:gd name="T38" fmla="*/ 3178 w 3525"/>
              <a:gd name="T39" fmla="*/ 2259 h 3523"/>
              <a:gd name="T40" fmla="*/ 2775 w 3525"/>
              <a:gd name="T41" fmla="*/ 2230 h 3523"/>
              <a:gd name="T42" fmla="*/ 2453 w 3525"/>
              <a:gd name="T43" fmla="*/ 1896 h 3523"/>
              <a:gd name="T44" fmla="*/ 1991 w 3525"/>
              <a:gd name="T45" fmla="*/ 2165 h 3523"/>
              <a:gd name="T46" fmla="*/ 2130 w 3525"/>
              <a:gd name="T47" fmla="*/ 2680 h 3523"/>
              <a:gd name="T48" fmla="*/ 2370 w 3525"/>
              <a:gd name="T49" fmla="*/ 2782 h 3523"/>
              <a:gd name="T50" fmla="*/ 2355 w 3525"/>
              <a:gd name="T51" fmla="*/ 3100 h 3523"/>
              <a:gd name="T52" fmla="*/ 1763 w 3525"/>
              <a:gd name="T53" fmla="*/ 3521 h 3523"/>
              <a:gd name="T54" fmla="*/ 1760 w 3525"/>
              <a:gd name="T55" fmla="*/ 3522 h 3523"/>
              <a:gd name="T56" fmla="*/ 1262 w 3525"/>
              <a:gd name="T57" fmla="*/ 3175 h 3523"/>
              <a:gd name="T58" fmla="*/ 1291 w 3525"/>
              <a:gd name="T59" fmla="*/ 2773 h 3523"/>
              <a:gd name="T60" fmla="*/ 1625 w 3525"/>
              <a:gd name="T61" fmla="*/ 2450 h 3523"/>
              <a:gd name="T62" fmla="*/ 1356 w 3525"/>
              <a:gd name="T63" fmla="*/ 1989 h 3523"/>
              <a:gd name="T64" fmla="*/ 840 w 3525"/>
              <a:gd name="T65" fmla="*/ 2127 h 3523"/>
              <a:gd name="T66" fmla="*/ 738 w 3525"/>
              <a:gd name="T67" fmla="*/ 2368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25" h="3523">
                <a:moveTo>
                  <a:pt x="421" y="2353"/>
                </a:moveTo>
                <a:lnTo>
                  <a:pt x="421" y="2353"/>
                </a:lnTo>
                <a:cubicBezTo>
                  <a:pt x="268" y="2166"/>
                  <a:pt x="127" y="1969"/>
                  <a:pt x="0" y="1762"/>
                </a:cubicBezTo>
                <a:lnTo>
                  <a:pt x="2" y="1760"/>
                </a:lnTo>
                <a:lnTo>
                  <a:pt x="2" y="1760"/>
                </a:lnTo>
                <a:cubicBezTo>
                  <a:pt x="210" y="1633"/>
                  <a:pt x="408" y="1493"/>
                  <a:pt x="594" y="1339"/>
                </a:cubicBezTo>
                <a:lnTo>
                  <a:pt x="594" y="1339"/>
                </a:lnTo>
                <a:cubicBezTo>
                  <a:pt x="743" y="1218"/>
                  <a:pt x="743" y="1077"/>
                  <a:pt x="609" y="1022"/>
                </a:cubicBezTo>
                <a:lnTo>
                  <a:pt x="609" y="1022"/>
                </a:lnTo>
                <a:cubicBezTo>
                  <a:pt x="506" y="980"/>
                  <a:pt x="417" y="939"/>
                  <a:pt x="369" y="919"/>
                </a:cubicBezTo>
                <a:lnTo>
                  <a:pt x="369" y="919"/>
                </a:lnTo>
                <a:cubicBezTo>
                  <a:pt x="204" y="851"/>
                  <a:pt x="142" y="622"/>
                  <a:pt x="231" y="405"/>
                </a:cubicBezTo>
                <a:lnTo>
                  <a:pt x="231" y="405"/>
                </a:lnTo>
                <a:cubicBezTo>
                  <a:pt x="319" y="189"/>
                  <a:pt x="526" y="69"/>
                  <a:pt x="692" y="137"/>
                </a:cubicBezTo>
                <a:lnTo>
                  <a:pt x="692" y="137"/>
                </a:lnTo>
                <a:cubicBezTo>
                  <a:pt x="763" y="166"/>
                  <a:pt x="894" y="304"/>
                  <a:pt x="1015" y="471"/>
                </a:cubicBezTo>
                <a:lnTo>
                  <a:pt x="1015" y="471"/>
                </a:lnTo>
                <a:cubicBezTo>
                  <a:pt x="1127" y="625"/>
                  <a:pt x="1299" y="650"/>
                  <a:pt x="1417" y="499"/>
                </a:cubicBezTo>
                <a:lnTo>
                  <a:pt x="1417" y="499"/>
                </a:lnTo>
                <a:cubicBezTo>
                  <a:pt x="1541" y="340"/>
                  <a:pt x="1657" y="174"/>
                  <a:pt x="1763" y="1"/>
                </a:cubicBezTo>
                <a:lnTo>
                  <a:pt x="1763" y="0"/>
                </a:lnTo>
                <a:lnTo>
                  <a:pt x="1763" y="0"/>
                </a:lnTo>
                <a:cubicBezTo>
                  <a:pt x="1890" y="208"/>
                  <a:pt x="2031" y="405"/>
                  <a:pt x="2184" y="592"/>
                </a:cubicBezTo>
                <a:lnTo>
                  <a:pt x="2184" y="592"/>
                </a:lnTo>
                <a:cubicBezTo>
                  <a:pt x="2305" y="740"/>
                  <a:pt x="2446" y="740"/>
                  <a:pt x="2501" y="607"/>
                </a:cubicBezTo>
                <a:lnTo>
                  <a:pt x="2501" y="607"/>
                </a:lnTo>
                <a:cubicBezTo>
                  <a:pt x="2544" y="504"/>
                  <a:pt x="2584" y="415"/>
                  <a:pt x="2604" y="367"/>
                </a:cubicBezTo>
                <a:lnTo>
                  <a:pt x="2604" y="367"/>
                </a:lnTo>
                <a:cubicBezTo>
                  <a:pt x="2672" y="201"/>
                  <a:pt x="2902" y="139"/>
                  <a:pt x="3119" y="228"/>
                </a:cubicBezTo>
                <a:lnTo>
                  <a:pt x="3119" y="228"/>
                </a:lnTo>
                <a:cubicBezTo>
                  <a:pt x="3336" y="317"/>
                  <a:pt x="3456" y="523"/>
                  <a:pt x="3388" y="690"/>
                </a:cubicBezTo>
                <a:lnTo>
                  <a:pt x="3388" y="690"/>
                </a:lnTo>
                <a:cubicBezTo>
                  <a:pt x="3358" y="759"/>
                  <a:pt x="3220" y="891"/>
                  <a:pt x="3054" y="1011"/>
                </a:cubicBezTo>
                <a:lnTo>
                  <a:pt x="3054" y="1011"/>
                </a:lnTo>
                <a:cubicBezTo>
                  <a:pt x="2899" y="1123"/>
                  <a:pt x="2874" y="1296"/>
                  <a:pt x="3025" y="1413"/>
                </a:cubicBezTo>
                <a:lnTo>
                  <a:pt x="3025" y="1413"/>
                </a:lnTo>
                <a:cubicBezTo>
                  <a:pt x="3184" y="1537"/>
                  <a:pt x="3350" y="1654"/>
                  <a:pt x="3524" y="1760"/>
                </a:cubicBezTo>
                <a:lnTo>
                  <a:pt x="3524" y="1761"/>
                </a:lnTo>
                <a:lnTo>
                  <a:pt x="3524" y="1761"/>
                </a:lnTo>
                <a:cubicBezTo>
                  <a:pt x="3418" y="1934"/>
                  <a:pt x="3302" y="2100"/>
                  <a:pt x="3178" y="2259"/>
                </a:cubicBezTo>
                <a:lnTo>
                  <a:pt x="3178" y="2259"/>
                </a:lnTo>
                <a:cubicBezTo>
                  <a:pt x="3060" y="2409"/>
                  <a:pt x="2887" y="2385"/>
                  <a:pt x="2775" y="2230"/>
                </a:cubicBezTo>
                <a:lnTo>
                  <a:pt x="2775" y="2230"/>
                </a:lnTo>
                <a:cubicBezTo>
                  <a:pt x="2655" y="2064"/>
                  <a:pt x="2523" y="1926"/>
                  <a:pt x="2453" y="1896"/>
                </a:cubicBezTo>
                <a:lnTo>
                  <a:pt x="2453" y="1896"/>
                </a:lnTo>
                <a:cubicBezTo>
                  <a:pt x="2287" y="1828"/>
                  <a:pt x="2080" y="1949"/>
                  <a:pt x="1991" y="2165"/>
                </a:cubicBezTo>
                <a:lnTo>
                  <a:pt x="1991" y="2165"/>
                </a:lnTo>
                <a:cubicBezTo>
                  <a:pt x="1903" y="2381"/>
                  <a:pt x="1964" y="2612"/>
                  <a:pt x="2130" y="2680"/>
                </a:cubicBezTo>
                <a:lnTo>
                  <a:pt x="2130" y="2680"/>
                </a:lnTo>
                <a:cubicBezTo>
                  <a:pt x="2178" y="2700"/>
                  <a:pt x="2267" y="2740"/>
                  <a:pt x="2370" y="2782"/>
                </a:cubicBezTo>
                <a:lnTo>
                  <a:pt x="2370" y="2782"/>
                </a:lnTo>
                <a:cubicBezTo>
                  <a:pt x="2504" y="2837"/>
                  <a:pt x="2503" y="2979"/>
                  <a:pt x="2355" y="3100"/>
                </a:cubicBezTo>
                <a:lnTo>
                  <a:pt x="2355" y="3100"/>
                </a:lnTo>
                <a:cubicBezTo>
                  <a:pt x="2168" y="3253"/>
                  <a:pt x="1971" y="3394"/>
                  <a:pt x="1763" y="3521"/>
                </a:cubicBezTo>
                <a:lnTo>
                  <a:pt x="1760" y="3522"/>
                </a:lnTo>
                <a:lnTo>
                  <a:pt x="1760" y="3522"/>
                </a:lnTo>
                <a:cubicBezTo>
                  <a:pt x="1587" y="3415"/>
                  <a:pt x="1421" y="3300"/>
                  <a:pt x="1262" y="3175"/>
                </a:cubicBezTo>
                <a:lnTo>
                  <a:pt x="1262" y="3175"/>
                </a:lnTo>
                <a:cubicBezTo>
                  <a:pt x="1111" y="3058"/>
                  <a:pt x="1136" y="2885"/>
                  <a:pt x="1291" y="2773"/>
                </a:cubicBezTo>
                <a:lnTo>
                  <a:pt x="1291" y="2773"/>
                </a:lnTo>
                <a:cubicBezTo>
                  <a:pt x="1456" y="2653"/>
                  <a:pt x="1596" y="2521"/>
                  <a:pt x="1625" y="2450"/>
                </a:cubicBezTo>
                <a:lnTo>
                  <a:pt x="1625" y="2450"/>
                </a:lnTo>
                <a:cubicBezTo>
                  <a:pt x="1692" y="2285"/>
                  <a:pt x="1572" y="2078"/>
                  <a:pt x="1356" y="1989"/>
                </a:cubicBezTo>
                <a:lnTo>
                  <a:pt x="1356" y="1989"/>
                </a:lnTo>
                <a:cubicBezTo>
                  <a:pt x="1139" y="1900"/>
                  <a:pt x="909" y="1962"/>
                  <a:pt x="840" y="2127"/>
                </a:cubicBezTo>
                <a:lnTo>
                  <a:pt x="840" y="2127"/>
                </a:lnTo>
                <a:cubicBezTo>
                  <a:pt x="821" y="2176"/>
                  <a:pt x="781" y="2264"/>
                  <a:pt x="738" y="2368"/>
                </a:cubicBezTo>
                <a:lnTo>
                  <a:pt x="738" y="2368"/>
                </a:lnTo>
                <a:cubicBezTo>
                  <a:pt x="683" y="2502"/>
                  <a:pt x="542" y="2500"/>
                  <a:pt x="421" y="2353"/>
                </a:cubicBezTo>
              </a:path>
            </a:pathLst>
          </a:custGeom>
          <a:solidFill>
            <a:srgbClr val="001965"/>
          </a:solidFill>
          <a:ln>
            <a:solidFill>
              <a:srgbClr val="4E5F94"/>
            </a:solidFill>
          </a:ln>
          <a:effectLst/>
        </p:spPr>
        <p:txBody>
          <a:bodyPr wrap="none" anchor="ctr"/>
          <a:lstStyle/>
          <a:p>
            <a:endParaRPr lang="en-US" sz="3266"/>
          </a:p>
        </p:txBody>
      </p:sp>
      <p:sp>
        <p:nvSpPr>
          <p:cNvPr id="5" name="Freeform 46">
            <a:extLst>
              <a:ext uri="{FF2B5EF4-FFF2-40B4-BE49-F238E27FC236}">
                <a16:creationId xmlns:a16="http://schemas.microsoft.com/office/drawing/2014/main" id="{9D2754A1-776D-7D2C-2244-EA594262CA21}"/>
              </a:ext>
            </a:extLst>
          </p:cNvPr>
          <p:cNvSpPr>
            <a:spLocks noChangeArrowheads="1"/>
          </p:cNvSpPr>
          <p:nvPr/>
        </p:nvSpPr>
        <p:spPr bwMode="auto">
          <a:xfrm>
            <a:off x="7965424" y="1773353"/>
            <a:ext cx="2195329" cy="2195329"/>
          </a:xfrm>
          <a:custGeom>
            <a:avLst/>
            <a:gdLst>
              <a:gd name="T0" fmla="*/ 1168 w 3523"/>
              <a:gd name="T1" fmla="*/ 421 h 3524"/>
              <a:gd name="T2" fmla="*/ 1761 w 3523"/>
              <a:gd name="T3" fmla="*/ 3 h 3524"/>
              <a:gd name="T4" fmla="*/ 2182 w 3523"/>
              <a:gd name="T5" fmla="*/ 595 h 3524"/>
              <a:gd name="T6" fmla="*/ 2499 w 3523"/>
              <a:gd name="T7" fmla="*/ 609 h 3524"/>
              <a:gd name="T8" fmla="*/ 2602 w 3523"/>
              <a:gd name="T9" fmla="*/ 369 h 3524"/>
              <a:gd name="T10" fmla="*/ 3117 w 3523"/>
              <a:gd name="T11" fmla="*/ 230 h 3524"/>
              <a:gd name="T12" fmla="*/ 3385 w 3523"/>
              <a:gd name="T13" fmla="*/ 691 h 3524"/>
              <a:gd name="T14" fmla="*/ 3051 w 3523"/>
              <a:gd name="T15" fmla="*/ 1014 h 3524"/>
              <a:gd name="T16" fmla="*/ 3022 w 3523"/>
              <a:gd name="T17" fmla="*/ 1417 h 3524"/>
              <a:gd name="T18" fmla="*/ 3522 w 3523"/>
              <a:gd name="T19" fmla="*/ 1763 h 3524"/>
              <a:gd name="T20" fmla="*/ 3522 w 3523"/>
              <a:gd name="T21" fmla="*/ 1763 h 3524"/>
              <a:gd name="T22" fmla="*/ 2930 w 3523"/>
              <a:gd name="T23" fmla="*/ 2184 h 3524"/>
              <a:gd name="T24" fmla="*/ 2916 w 3523"/>
              <a:gd name="T25" fmla="*/ 2501 h 3524"/>
              <a:gd name="T26" fmla="*/ 3155 w 3523"/>
              <a:gd name="T27" fmla="*/ 2602 h 3524"/>
              <a:gd name="T28" fmla="*/ 3294 w 3523"/>
              <a:gd name="T29" fmla="*/ 3118 h 3524"/>
              <a:gd name="T30" fmla="*/ 2833 w 3523"/>
              <a:gd name="T31" fmla="*/ 3387 h 3524"/>
              <a:gd name="T32" fmla="*/ 2510 w 3523"/>
              <a:gd name="T33" fmla="*/ 3053 h 3524"/>
              <a:gd name="T34" fmla="*/ 2108 w 3523"/>
              <a:gd name="T35" fmla="*/ 3024 h 3524"/>
              <a:gd name="T36" fmla="*/ 1761 w 3523"/>
              <a:gd name="T37" fmla="*/ 3523 h 3524"/>
              <a:gd name="T38" fmla="*/ 1262 w 3523"/>
              <a:gd name="T39" fmla="*/ 3176 h 3524"/>
              <a:gd name="T40" fmla="*/ 1291 w 3523"/>
              <a:gd name="T41" fmla="*/ 2774 h 3524"/>
              <a:gd name="T42" fmla="*/ 1625 w 3523"/>
              <a:gd name="T43" fmla="*/ 2452 h 3524"/>
              <a:gd name="T44" fmla="*/ 1356 w 3523"/>
              <a:gd name="T45" fmla="*/ 1991 h 3524"/>
              <a:gd name="T46" fmla="*/ 841 w 3523"/>
              <a:gd name="T47" fmla="*/ 2130 h 3524"/>
              <a:gd name="T48" fmla="*/ 738 w 3523"/>
              <a:gd name="T49" fmla="*/ 2370 h 3524"/>
              <a:gd name="T50" fmla="*/ 421 w 3523"/>
              <a:gd name="T51" fmla="*/ 2355 h 3524"/>
              <a:gd name="T52" fmla="*/ 0 w 3523"/>
              <a:gd name="T53" fmla="*/ 1763 h 3524"/>
              <a:gd name="T54" fmla="*/ 0 w 3523"/>
              <a:gd name="T55" fmla="*/ 1760 h 3524"/>
              <a:gd name="T56" fmla="*/ 346 w 3523"/>
              <a:gd name="T57" fmla="*/ 1261 h 3524"/>
              <a:gd name="T58" fmla="*/ 748 w 3523"/>
              <a:gd name="T59" fmla="*/ 1291 h 3524"/>
              <a:gd name="T60" fmla="*/ 1071 w 3523"/>
              <a:gd name="T61" fmla="*/ 1624 h 3524"/>
              <a:gd name="T62" fmla="*/ 1532 w 3523"/>
              <a:gd name="T63" fmla="*/ 1355 h 3524"/>
              <a:gd name="T64" fmla="*/ 1393 w 3523"/>
              <a:gd name="T65" fmla="*/ 840 h 3524"/>
              <a:gd name="T66" fmla="*/ 1153 w 3523"/>
              <a:gd name="T67" fmla="*/ 738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23" h="3524">
                <a:moveTo>
                  <a:pt x="1168" y="421"/>
                </a:moveTo>
                <a:lnTo>
                  <a:pt x="1168" y="421"/>
                </a:lnTo>
                <a:cubicBezTo>
                  <a:pt x="1355" y="268"/>
                  <a:pt x="1552" y="127"/>
                  <a:pt x="1760" y="0"/>
                </a:cubicBezTo>
                <a:lnTo>
                  <a:pt x="1761" y="3"/>
                </a:lnTo>
                <a:lnTo>
                  <a:pt x="1761" y="3"/>
                </a:lnTo>
                <a:cubicBezTo>
                  <a:pt x="1888" y="210"/>
                  <a:pt x="2029" y="407"/>
                  <a:pt x="2182" y="595"/>
                </a:cubicBezTo>
                <a:lnTo>
                  <a:pt x="2182" y="595"/>
                </a:lnTo>
                <a:cubicBezTo>
                  <a:pt x="2303" y="742"/>
                  <a:pt x="2444" y="742"/>
                  <a:pt x="2499" y="609"/>
                </a:cubicBezTo>
                <a:lnTo>
                  <a:pt x="2499" y="609"/>
                </a:lnTo>
                <a:cubicBezTo>
                  <a:pt x="2541" y="506"/>
                  <a:pt x="2582" y="417"/>
                  <a:pt x="2602" y="369"/>
                </a:cubicBezTo>
                <a:lnTo>
                  <a:pt x="2602" y="369"/>
                </a:lnTo>
                <a:cubicBezTo>
                  <a:pt x="2670" y="203"/>
                  <a:pt x="2900" y="142"/>
                  <a:pt x="3117" y="230"/>
                </a:cubicBezTo>
                <a:lnTo>
                  <a:pt x="3117" y="230"/>
                </a:lnTo>
                <a:cubicBezTo>
                  <a:pt x="3333" y="319"/>
                  <a:pt x="3454" y="525"/>
                  <a:pt x="3385" y="691"/>
                </a:cubicBezTo>
                <a:lnTo>
                  <a:pt x="3385" y="691"/>
                </a:lnTo>
                <a:cubicBezTo>
                  <a:pt x="3356" y="762"/>
                  <a:pt x="3218" y="894"/>
                  <a:pt x="3051" y="1014"/>
                </a:cubicBezTo>
                <a:lnTo>
                  <a:pt x="3051" y="1014"/>
                </a:lnTo>
                <a:cubicBezTo>
                  <a:pt x="2897" y="1126"/>
                  <a:pt x="2872" y="1299"/>
                  <a:pt x="3022" y="1417"/>
                </a:cubicBezTo>
                <a:lnTo>
                  <a:pt x="3022" y="1417"/>
                </a:lnTo>
                <a:cubicBezTo>
                  <a:pt x="3182" y="1541"/>
                  <a:pt x="3348" y="1657"/>
                  <a:pt x="3522" y="1763"/>
                </a:cubicBezTo>
                <a:lnTo>
                  <a:pt x="3522" y="1763"/>
                </a:lnTo>
                <a:lnTo>
                  <a:pt x="3522" y="1763"/>
                </a:lnTo>
                <a:cubicBezTo>
                  <a:pt x="3314" y="1890"/>
                  <a:pt x="3117" y="2030"/>
                  <a:pt x="2930" y="2184"/>
                </a:cubicBezTo>
                <a:lnTo>
                  <a:pt x="2930" y="2184"/>
                </a:lnTo>
                <a:cubicBezTo>
                  <a:pt x="2782" y="2305"/>
                  <a:pt x="2782" y="2446"/>
                  <a:pt x="2916" y="2501"/>
                </a:cubicBezTo>
                <a:lnTo>
                  <a:pt x="2916" y="2501"/>
                </a:lnTo>
                <a:cubicBezTo>
                  <a:pt x="3019" y="2543"/>
                  <a:pt x="3107" y="2583"/>
                  <a:pt x="3155" y="2602"/>
                </a:cubicBezTo>
                <a:lnTo>
                  <a:pt x="3155" y="2602"/>
                </a:lnTo>
                <a:cubicBezTo>
                  <a:pt x="3321" y="2671"/>
                  <a:pt x="3383" y="2901"/>
                  <a:pt x="3294" y="3118"/>
                </a:cubicBezTo>
                <a:lnTo>
                  <a:pt x="3294" y="3118"/>
                </a:lnTo>
                <a:cubicBezTo>
                  <a:pt x="3205" y="3334"/>
                  <a:pt x="2999" y="3454"/>
                  <a:pt x="2833" y="3387"/>
                </a:cubicBezTo>
                <a:lnTo>
                  <a:pt x="2833" y="3387"/>
                </a:lnTo>
                <a:cubicBezTo>
                  <a:pt x="2762" y="3357"/>
                  <a:pt x="2631" y="3219"/>
                  <a:pt x="2510" y="3053"/>
                </a:cubicBezTo>
                <a:lnTo>
                  <a:pt x="2510" y="3053"/>
                </a:lnTo>
                <a:cubicBezTo>
                  <a:pt x="2398" y="2898"/>
                  <a:pt x="2225" y="2873"/>
                  <a:pt x="2108" y="3024"/>
                </a:cubicBezTo>
                <a:lnTo>
                  <a:pt x="2108" y="3024"/>
                </a:lnTo>
                <a:cubicBezTo>
                  <a:pt x="1983" y="3182"/>
                  <a:pt x="1868" y="3349"/>
                  <a:pt x="1762" y="3522"/>
                </a:cubicBezTo>
                <a:lnTo>
                  <a:pt x="1761" y="3523"/>
                </a:lnTo>
                <a:lnTo>
                  <a:pt x="1761" y="3523"/>
                </a:lnTo>
                <a:cubicBezTo>
                  <a:pt x="1587" y="3417"/>
                  <a:pt x="1421" y="3301"/>
                  <a:pt x="1262" y="3176"/>
                </a:cubicBezTo>
                <a:lnTo>
                  <a:pt x="1262" y="3176"/>
                </a:lnTo>
                <a:cubicBezTo>
                  <a:pt x="1111" y="3059"/>
                  <a:pt x="1136" y="2886"/>
                  <a:pt x="1291" y="2774"/>
                </a:cubicBezTo>
                <a:lnTo>
                  <a:pt x="1291" y="2774"/>
                </a:lnTo>
                <a:cubicBezTo>
                  <a:pt x="1457" y="2654"/>
                  <a:pt x="1595" y="2522"/>
                  <a:pt x="1625" y="2452"/>
                </a:cubicBezTo>
                <a:lnTo>
                  <a:pt x="1625" y="2452"/>
                </a:lnTo>
                <a:cubicBezTo>
                  <a:pt x="1693" y="2287"/>
                  <a:pt x="1573" y="2080"/>
                  <a:pt x="1356" y="1991"/>
                </a:cubicBezTo>
                <a:lnTo>
                  <a:pt x="1356" y="1991"/>
                </a:lnTo>
                <a:cubicBezTo>
                  <a:pt x="1139" y="1902"/>
                  <a:pt x="909" y="1964"/>
                  <a:pt x="841" y="2130"/>
                </a:cubicBezTo>
                <a:lnTo>
                  <a:pt x="841" y="2130"/>
                </a:lnTo>
                <a:cubicBezTo>
                  <a:pt x="821" y="2178"/>
                  <a:pt x="781" y="2267"/>
                  <a:pt x="738" y="2370"/>
                </a:cubicBezTo>
                <a:lnTo>
                  <a:pt x="738" y="2370"/>
                </a:lnTo>
                <a:cubicBezTo>
                  <a:pt x="684" y="2504"/>
                  <a:pt x="542" y="2503"/>
                  <a:pt x="421" y="2355"/>
                </a:cubicBezTo>
                <a:lnTo>
                  <a:pt x="421" y="2355"/>
                </a:lnTo>
                <a:cubicBezTo>
                  <a:pt x="268" y="2168"/>
                  <a:pt x="127" y="1971"/>
                  <a:pt x="0" y="1763"/>
                </a:cubicBezTo>
                <a:lnTo>
                  <a:pt x="0" y="1760"/>
                </a:lnTo>
                <a:lnTo>
                  <a:pt x="0" y="1760"/>
                </a:lnTo>
                <a:cubicBezTo>
                  <a:pt x="106" y="1586"/>
                  <a:pt x="221" y="1420"/>
                  <a:pt x="346" y="1261"/>
                </a:cubicBezTo>
                <a:lnTo>
                  <a:pt x="346" y="1261"/>
                </a:lnTo>
                <a:cubicBezTo>
                  <a:pt x="463" y="1111"/>
                  <a:pt x="636" y="1135"/>
                  <a:pt x="748" y="1291"/>
                </a:cubicBezTo>
                <a:lnTo>
                  <a:pt x="748" y="1291"/>
                </a:lnTo>
                <a:cubicBezTo>
                  <a:pt x="869" y="1456"/>
                  <a:pt x="1000" y="1595"/>
                  <a:pt x="1071" y="1624"/>
                </a:cubicBezTo>
                <a:lnTo>
                  <a:pt x="1071" y="1624"/>
                </a:lnTo>
                <a:cubicBezTo>
                  <a:pt x="1237" y="1692"/>
                  <a:pt x="1443" y="1572"/>
                  <a:pt x="1532" y="1355"/>
                </a:cubicBezTo>
                <a:lnTo>
                  <a:pt x="1532" y="1355"/>
                </a:lnTo>
                <a:cubicBezTo>
                  <a:pt x="1621" y="1139"/>
                  <a:pt x="1559" y="909"/>
                  <a:pt x="1393" y="840"/>
                </a:cubicBezTo>
                <a:lnTo>
                  <a:pt x="1393" y="840"/>
                </a:lnTo>
                <a:cubicBezTo>
                  <a:pt x="1345" y="821"/>
                  <a:pt x="1257" y="781"/>
                  <a:pt x="1153" y="738"/>
                </a:cubicBezTo>
                <a:lnTo>
                  <a:pt x="1153" y="738"/>
                </a:lnTo>
                <a:cubicBezTo>
                  <a:pt x="1020" y="683"/>
                  <a:pt x="1020" y="541"/>
                  <a:pt x="1168" y="421"/>
                </a:cubicBezTo>
              </a:path>
            </a:pathLst>
          </a:custGeom>
          <a:solidFill>
            <a:srgbClr val="D8EAF8"/>
          </a:solidFill>
          <a:ln>
            <a:solidFill>
              <a:srgbClr val="D8EAF8"/>
            </a:solidFill>
          </a:ln>
          <a:effectLst/>
        </p:spPr>
        <p:txBody>
          <a:bodyPr wrap="none" anchor="ctr"/>
          <a:lstStyle/>
          <a:p>
            <a:endParaRPr lang="en-US" sz="3266"/>
          </a:p>
        </p:txBody>
      </p:sp>
      <p:sp>
        <p:nvSpPr>
          <p:cNvPr id="6" name="Freeform 47">
            <a:extLst>
              <a:ext uri="{FF2B5EF4-FFF2-40B4-BE49-F238E27FC236}">
                <a16:creationId xmlns:a16="http://schemas.microsoft.com/office/drawing/2014/main" id="{908B7269-B7FB-2298-7249-ECBCF9D885AD}"/>
              </a:ext>
            </a:extLst>
          </p:cNvPr>
          <p:cNvSpPr>
            <a:spLocks noChangeArrowheads="1"/>
          </p:cNvSpPr>
          <p:nvPr/>
        </p:nvSpPr>
        <p:spPr bwMode="auto">
          <a:xfrm>
            <a:off x="7965424" y="3965935"/>
            <a:ext cx="2195329" cy="2195329"/>
          </a:xfrm>
          <a:custGeom>
            <a:avLst/>
            <a:gdLst>
              <a:gd name="T0" fmla="*/ 2353 w 3523"/>
              <a:gd name="T1" fmla="*/ 3103 h 3525"/>
              <a:gd name="T2" fmla="*/ 1761 w 3523"/>
              <a:gd name="T3" fmla="*/ 3521 h 3525"/>
              <a:gd name="T4" fmla="*/ 1340 w 3523"/>
              <a:gd name="T5" fmla="*/ 2929 h 3525"/>
              <a:gd name="T6" fmla="*/ 1022 w 3523"/>
              <a:gd name="T7" fmla="*/ 2915 h 3525"/>
              <a:gd name="T8" fmla="*/ 920 w 3523"/>
              <a:gd name="T9" fmla="*/ 3155 h 3525"/>
              <a:gd name="T10" fmla="*/ 404 w 3523"/>
              <a:gd name="T11" fmla="*/ 3293 h 3525"/>
              <a:gd name="T12" fmla="*/ 136 w 3523"/>
              <a:gd name="T13" fmla="*/ 2832 h 3525"/>
              <a:gd name="T14" fmla="*/ 470 w 3523"/>
              <a:gd name="T15" fmla="*/ 2510 h 3525"/>
              <a:gd name="T16" fmla="*/ 499 w 3523"/>
              <a:gd name="T17" fmla="*/ 2107 h 3525"/>
              <a:gd name="T18" fmla="*/ 0 w 3523"/>
              <a:gd name="T19" fmla="*/ 1761 h 3525"/>
              <a:gd name="T20" fmla="*/ 0 w 3523"/>
              <a:gd name="T21" fmla="*/ 1761 h 3525"/>
              <a:gd name="T22" fmla="*/ 591 w 3523"/>
              <a:gd name="T23" fmla="*/ 1340 h 3525"/>
              <a:gd name="T24" fmla="*/ 606 w 3523"/>
              <a:gd name="T25" fmla="*/ 1022 h 3525"/>
              <a:gd name="T26" fmla="*/ 366 w 3523"/>
              <a:gd name="T27" fmla="*/ 920 h 3525"/>
              <a:gd name="T28" fmla="*/ 227 w 3523"/>
              <a:gd name="T29" fmla="*/ 405 h 3525"/>
              <a:gd name="T30" fmla="*/ 689 w 3523"/>
              <a:gd name="T31" fmla="*/ 136 h 3525"/>
              <a:gd name="T32" fmla="*/ 1011 w 3523"/>
              <a:gd name="T33" fmla="*/ 470 h 3525"/>
              <a:gd name="T34" fmla="*/ 1414 w 3523"/>
              <a:gd name="T35" fmla="*/ 499 h 3525"/>
              <a:gd name="T36" fmla="*/ 1761 w 3523"/>
              <a:gd name="T37" fmla="*/ 0 h 3525"/>
              <a:gd name="T38" fmla="*/ 2260 w 3523"/>
              <a:gd name="T39" fmla="*/ 346 h 3525"/>
              <a:gd name="T40" fmla="*/ 2230 w 3523"/>
              <a:gd name="T41" fmla="*/ 749 h 3525"/>
              <a:gd name="T42" fmla="*/ 1896 w 3523"/>
              <a:gd name="T43" fmla="*/ 1071 h 3525"/>
              <a:gd name="T44" fmla="*/ 2165 w 3523"/>
              <a:gd name="T45" fmla="*/ 1532 h 3525"/>
              <a:gd name="T46" fmla="*/ 2680 w 3523"/>
              <a:gd name="T47" fmla="*/ 1394 h 3525"/>
              <a:gd name="T48" fmla="*/ 2783 w 3523"/>
              <a:gd name="T49" fmla="*/ 1154 h 3525"/>
              <a:gd name="T50" fmla="*/ 3100 w 3523"/>
              <a:gd name="T51" fmla="*/ 1169 h 3525"/>
              <a:gd name="T52" fmla="*/ 3521 w 3523"/>
              <a:gd name="T53" fmla="*/ 1761 h 3525"/>
              <a:gd name="T54" fmla="*/ 3522 w 3523"/>
              <a:gd name="T55" fmla="*/ 1764 h 3525"/>
              <a:gd name="T56" fmla="*/ 3175 w 3523"/>
              <a:gd name="T57" fmla="*/ 2262 h 3525"/>
              <a:gd name="T58" fmla="*/ 2773 w 3523"/>
              <a:gd name="T59" fmla="*/ 2233 h 3525"/>
              <a:gd name="T60" fmla="*/ 2450 w 3523"/>
              <a:gd name="T61" fmla="*/ 1900 h 3525"/>
              <a:gd name="T62" fmla="*/ 1989 w 3523"/>
              <a:gd name="T63" fmla="*/ 2168 h 3525"/>
              <a:gd name="T64" fmla="*/ 2128 w 3523"/>
              <a:gd name="T65" fmla="*/ 2683 h 3525"/>
              <a:gd name="T66" fmla="*/ 2368 w 3523"/>
              <a:gd name="T67" fmla="*/ 2786 h 3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23" h="3525">
                <a:moveTo>
                  <a:pt x="2353" y="3103"/>
                </a:moveTo>
                <a:lnTo>
                  <a:pt x="2353" y="3103"/>
                </a:lnTo>
                <a:cubicBezTo>
                  <a:pt x="2167" y="3256"/>
                  <a:pt x="1969" y="3397"/>
                  <a:pt x="1762" y="3524"/>
                </a:cubicBezTo>
                <a:lnTo>
                  <a:pt x="1761" y="3521"/>
                </a:lnTo>
                <a:lnTo>
                  <a:pt x="1761" y="3521"/>
                </a:lnTo>
                <a:cubicBezTo>
                  <a:pt x="1633" y="3314"/>
                  <a:pt x="1493" y="3116"/>
                  <a:pt x="1340" y="2929"/>
                </a:cubicBezTo>
                <a:lnTo>
                  <a:pt x="1340" y="2929"/>
                </a:lnTo>
                <a:cubicBezTo>
                  <a:pt x="1218" y="2782"/>
                  <a:pt x="1077" y="2781"/>
                  <a:pt x="1022" y="2915"/>
                </a:cubicBezTo>
                <a:lnTo>
                  <a:pt x="1022" y="2915"/>
                </a:lnTo>
                <a:cubicBezTo>
                  <a:pt x="980" y="3018"/>
                  <a:pt x="939" y="3107"/>
                  <a:pt x="920" y="3155"/>
                </a:cubicBezTo>
                <a:lnTo>
                  <a:pt x="920" y="3155"/>
                </a:lnTo>
                <a:cubicBezTo>
                  <a:pt x="851" y="3320"/>
                  <a:pt x="621" y="3382"/>
                  <a:pt x="404" y="3293"/>
                </a:cubicBezTo>
                <a:lnTo>
                  <a:pt x="404" y="3293"/>
                </a:lnTo>
                <a:cubicBezTo>
                  <a:pt x="188" y="3204"/>
                  <a:pt x="68" y="2998"/>
                  <a:pt x="136" y="2832"/>
                </a:cubicBezTo>
                <a:lnTo>
                  <a:pt x="136" y="2832"/>
                </a:lnTo>
                <a:cubicBezTo>
                  <a:pt x="165" y="2761"/>
                  <a:pt x="304" y="2630"/>
                  <a:pt x="470" y="2510"/>
                </a:cubicBezTo>
                <a:lnTo>
                  <a:pt x="470" y="2510"/>
                </a:lnTo>
                <a:cubicBezTo>
                  <a:pt x="624" y="2398"/>
                  <a:pt x="649" y="2225"/>
                  <a:pt x="499" y="2107"/>
                </a:cubicBezTo>
                <a:lnTo>
                  <a:pt x="499" y="2107"/>
                </a:lnTo>
                <a:cubicBezTo>
                  <a:pt x="340" y="1983"/>
                  <a:pt x="173" y="1867"/>
                  <a:pt x="0" y="1761"/>
                </a:cubicBezTo>
                <a:lnTo>
                  <a:pt x="0" y="1761"/>
                </a:lnTo>
                <a:lnTo>
                  <a:pt x="0" y="1761"/>
                </a:lnTo>
                <a:cubicBezTo>
                  <a:pt x="207" y="1634"/>
                  <a:pt x="405" y="1493"/>
                  <a:pt x="591" y="1340"/>
                </a:cubicBezTo>
                <a:lnTo>
                  <a:pt x="591" y="1340"/>
                </a:lnTo>
                <a:cubicBezTo>
                  <a:pt x="739" y="1219"/>
                  <a:pt x="739" y="1078"/>
                  <a:pt x="606" y="1022"/>
                </a:cubicBezTo>
                <a:lnTo>
                  <a:pt x="606" y="1022"/>
                </a:lnTo>
                <a:cubicBezTo>
                  <a:pt x="503" y="980"/>
                  <a:pt x="414" y="940"/>
                  <a:pt x="366" y="920"/>
                </a:cubicBezTo>
                <a:lnTo>
                  <a:pt x="366" y="920"/>
                </a:lnTo>
                <a:cubicBezTo>
                  <a:pt x="200" y="852"/>
                  <a:pt x="139" y="621"/>
                  <a:pt x="227" y="405"/>
                </a:cubicBezTo>
                <a:lnTo>
                  <a:pt x="227" y="405"/>
                </a:lnTo>
                <a:cubicBezTo>
                  <a:pt x="316" y="189"/>
                  <a:pt x="523" y="68"/>
                  <a:pt x="689" y="136"/>
                </a:cubicBezTo>
                <a:lnTo>
                  <a:pt x="689" y="136"/>
                </a:lnTo>
                <a:cubicBezTo>
                  <a:pt x="759" y="166"/>
                  <a:pt x="891" y="304"/>
                  <a:pt x="1011" y="470"/>
                </a:cubicBezTo>
                <a:lnTo>
                  <a:pt x="1011" y="470"/>
                </a:lnTo>
                <a:cubicBezTo>
                  <a:pt x="1123" y="625"/>
                  <a:pt x="1296" y="649"/>
                  <a:pt x="1414" y="499"/>
                </a:cubicBezTo>
                <a:lnTo>
                  <a:pt x="1414" y="499"/>
                </a:lnTo>
                <a:cubicBezTo>
                  <a:pt x="1538" y="340"/>
                  <a:pt x="1654" y="174"/>
                  <a:pt x="1760" y="1"/>
                </a:cubicBezTo>
                <a:lnTo>
                  <a:pt x="1761" y="0"/>
                </a:lnTo>
                <a:lnTo>
                  <a:pt x="1761" y="0"/>
                </a:lnTo>
                <a:cubicBezTo>
                  <a:pt x="1934" y="106"/>
                  <a:pt x="2100" y="222"/>
                  <a:pt x="2260" y="346"/>
                </a:cubicBezTo>
                <a:lnTo>
                  <a:pt x="2260" y="346"/>
                </a:lnTo>
                <a:cubicBezTo>
                  <a:pt x="2410" y="464"/>
                  <a:pt x="2385" y="636"/>
                  <a:pt x="2230" y="749"/>
                </a:cubicBezTo>
                <a:lnTo>
                  <a:pt x="2230" y="749"/>
                </a:lnTo>
                <a:cubicBezTo>
                  <a:pt x="2065" y="869"/>
                  <a:pt x="1926" y="1000"/>
                  <a:pt x="1896" y="1071"/>
                </a:cubicBezTo>
                <a:lnTo>
                  <a:pt x="1896" y="1071"/>
                </a:lnTo>
                <a:cubicBezTo>
                  <a:pt x="1828" y="1237"/>
                  <a:pt x="1949" y="1444"/>
                  <a:pt x="2165" y="1532"/>
                </a:cubicBezTo>
                <a:lnTo>
                  <a:pt x="2165" y="1532"/>
                </a:lnTo>
                <a:cubicBezTo>
                  <a:pt x="2381" y="1621"/>
                  <a:pt x="2612" y="1560"/>
                  <a:pt x="2680" y="1394"/>
                </a:cubicBezTo>
                <a:lnTo>
                  <a:pt x="2680" y="1394"/>
                </a:lnTo>
                <a:cubicBezTo>
                  <a:pt x="2700" y="1346"/>
                  <a:pt x="2741" y="1257"/>
                  <a:pt x="2783" y="1154"/>
                </a:cubicBezTo>
                <a:lnTo>
                  <a:pt x="2783" y="1154"/>
                </a:lnTo>
                <a:cubicBezTo>
                  <a:pt x="2837" y="1020"/>
                  <a:pt x="2979" y="1021"/>
                  <a:pt x="3100" y="1169"/>
                </a:cubicBezTo>
                <a:lnTo>
                  <a:pt x="3100" y="1169"/>
                </a:lnTo>
                <a:cubicBezTo>
                  <a:pt x="3254" y="1356"/>
                  <a:pt x="3394" y="1553"/>
                  <a:pt x="3521" y="1761"/>
                </a:cubicBezTo>
                <a:lnTo>
                  <a:pt x="3522" y="1764"/>
                </a:lnTo>
                <a:lnTo>
                  <a:pt x="3522" y="1764"/>
                </a:lnTo>
                <a:cubicBezTo>
                  <a:pt x="3416" y="1937"/>
                  <a:pt x="3300" y="2103"/>
                  <a:pt x="3175" y="2262"/>
                </a:cubicBezTo>
                <a:lnTo>
                  <a:pt x="3175" y="2262"/>
                </a:lnTo>
                <a:cubicBezTo>
                  <a:pt x="3058" y="2413"/>
                  <a:pt x="2885" y="2388"/>
                  <a:pt x="2773" y="2233"/>
                </a:cubicBezTo>
                <a:lnTo>
                  <a:pt x="2773" y="2233"/>
                </a:lnTo>
                <a:cubicBezTo>
                  <a:pt x="2653" y="2068"/>
                  <a:pt x="2521" y="1929"/>
                  <a:pt x="2450" y="1900"/>
                </a:cubicBezTo>
                <a:lnTo>
                  <a:pt x="2450" y="1900"/>
                </a:lnTo>
                <a:cubicBezTo>
                  <a:pt x="2285" y="1831"/>
                  <a:pt x="2078" y="1952"/>
                  <a:pt x="1989" y="2168"/>
                </a:cubicBezTo>
                <a:lnTo>
                  <a:pt x="1989" y="2168"/>
                </a:lnTo>
                <a:cubicBezTo>
                  <a:pt x="1901" y="2384"/>
                  <a:pt x="1962" y="2615"/>
                  <a:pt x="2128" y="2683"/>
                </a:cubicBezTo>
                <a:lnTo>
                  <a:pt x="2128" y="2683"/>
                </a:lnTo>
                <a:cubicBezTo>
                  <a:pt x="2176" y="2703"/>
                  <a:pt x="2265" y="2743"/>
                  <a:pt x="2368" y="2786"/>
                </a:cubicBezTo>
                <a:lnTo>
                  <a:pt x="2368" y="2786"/>
                </a:lnTo>
                <a:cubicBezTo>
                  <a:pt x="2502" y="2841"/>
                  <a:pt x="2501" y="2982"/>
                  <a:pt x="2353" y="3103"/>
                </a:cubicBezTo>
              </a:path>
            </a:pathLst>
          </a:custGeom>
          <a:solidFill>
            <a:srgbClr val="AAD3D1"/>
          </a:solidFill>
          <a:ln>
            <a:noFill/>
          </a:ln>
          <a:effectLst/>
        </p:spPr>
        <p:txBody>
          <a:bodyPr wrap="none" anchor="ctr"/>
          <a:lstStyle/>
          <a:p>
            <a:endParaRPr lang="en-US" sz="3266"/>
          </a:p>
        </p:txBody>
      </p:sp>
    </p:spTree>
    <p:extLst>
      <p:ext uri="{BB962C8B-B14F-4D97-AF65-F5344CB8AC3E}">
        <p14:creationId xmlns:p14="http://schemas.microsoft.com/office/powerpoint/2010/main" val="3022141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5EF566-8343-66E3-75D5-EED233E41981}"/>
              </a:ext>
            </a:extLst>
          </p:cNvPr>
          <p:cNvPicPr>
            <a:picLocks noChangeAspect="1"/>
          </p:cNvPicPr>
          <p:nvPr/>
        </p:nvPicPr>
        <p:blipFill rotWithShape="1">
          <a:blip r:embed="rId2"/>
          <a:srcRect l="-1" t="14857" r="-978"/>
          <a:stretch/>
        </p:blipFill>
        <p:spPr>
          <a:xfrm>
            <a:off x="0" y="1195850"/>
            <a:ext cx="12311270" cy="4840091"/>
          </a:xfrm>
          <a:prstGeom prst="rect">
            <a:avLst/>
          </a:prstGeom>
        </p:spPr>
      </p:pic>
      <p:sp>
        <p:nvSpPr>
          <p:cNvPr id="4" name="Title 1">
            <a:extLst>
              <a:ext uri="{FF2B5EF4-FFF2-40B4-BE49-F238E27FC236}">
                <a16:creationId xmlns:a16="http://schemas.microsoft.com/office/drawing/2014/main" id="{5CEEFC68-DD46-AE73-D4F3-37B60F1CD093}"/>
              </a:ext>
            </a:extLst>
          </p:cNvPr>
          <p:cNvSpPr txBox="1">
            <a:spLocks/>
          </p:cNvSpPr>
          <p:nvPr/>
        </p:nvSpPr>
        <p:spPr>
          <a:xfrm>
            <a:off x="451052" y="324000"/>
            <a:ext cx="10896000" cy="1296000"/>
          </a:xfrm>
          <a:prstGeom prst="rect">
            <a:avLst/>
          </a:prstGeom>
        </p:spPr>
        <p:txBody>
          <a:bodyPr/>
          <a:lstStyle>
            <a:lvl1pPr algn="l" defTabSz="914377" rtl="0" eaLnBrk="1" latinLnBrk="0" hangingPunct="1">
              <a:lnSpc>
                <a:spcPct val="100000"/>
              </a:lnSpc>
              <a:spcBef>
                <a:spcPct val="0"/>
              </a:spcBef>
              <a:buNone/>
              <a:defRPr sz="3600" kern="1200">
                <a:solidFill>
                  <a:schemeClr val="tx2"/>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001965"/>
                </a:solidFill>
                <a:effectLst/>
                <a:uLnTx/>
                <a:uFillTx/>
                <a:latin typeface="Apis For Office"/>
                <a:ea typeface="+mj-ea"/>
                <a:cs typeface="+mj-cs"/>
              </a:rPr>
              <a:t>Obesity is a </a:t>
            </a:r>
            <a:r>
              <a:rPr kumimoji="0" lang="en-GB" sz="3600" b="1" i="0" u="none" strike="noStrike" kern="1200" cap="none" spc="0" normalizeH="0" baseline="0" noProof="0" dirty="0">
                <a:ln>
                  <a:noFill/>
                </a:ln>
                <a:solidFill>
                  <a:srgbClr val="001965"/>
                </a:solidFill>
                <a:effectLst/>
                <a:uLnTx/>
                <a:uFillTx/>
                <a:latin typeface="Apis For Office"/>
                <a:ea typeface="+mj-ea"/>
                <a:cs typeface="+mj-cs"/>
              </a:rPr>
              <a:t>DISEASE</a:t>
            </a:r>
          </a:p>
          <a:p>
            <a:pPr marL="0" marR="0" lvl="0" indent="0" algn="l" defTabSz="914377" rtl="0" eaLnBrk="1" fontAlgn="auto" latinLnBrk="0" hangingPunct="1">
              <a:lnSpc>
                <a:spcPct val="100000"/>
              </a:lnSpc>
              <a:spcBef>
                <a:spcPct val="0"/>
              </a:spcBef>
              <a:spcAft>
                <a:spcPts val="0"/>
              </a:spcAft>
              <a:buClrTx/>
              <a:buSzTx/>
              <a:buFontTx/>
              <a:buNone/>
              <a:tabLst/>
              <a:defRPr/>
            </a:pPr>
            <a:endParaRPr kumimoji="0" lang="en-GB" sz="3600" b="0" i="0" u="none" strike="noStrike" kern="1200" cap="none" spc="0" normalizeH="0" baseline="0" noProof="0" dirty="0">
              <a:ln>
                <a:noFill/>
              </a:ln>
              <a:solidFill>
                <a:srgbClr val="001965"/>
              </a:solidFill>
              <a:effectLst/>
              <a:uLnTx/>
              <a:uFillTx/>
              <a:latin typeface="Apis For Office"/>
              <a:ea typeface="+mj-ea"/>
              <a:cs typeface="+mj-cs"/>
            </a:endParaRPr>
          </a:p>
        </p:txBody>
      </p:sp>
      <p:sp>
        <p:nvSpPr>
          <p:cNvPr id="5" name="Rectangle: Top Corners Rounded 4">
            <a:extLst>
              <a:ext uri="{FF2B5EF4-FFF2-40B4-BE49-F238E27FC236}">
                <a16:creationId xmlns:a16="http://schemas.microsoft.com/office/drawing/2014/main" id="{21D2F3C8-F77A-32A9-EBE6-BDB27BD93E8F}"/>
              </a:ext>
            </a:extLst>
          </p:cNvPr>
          <p:cNvSpPr/>
          <p:nvPr/>
        </p:nvSpPr>
        <p:spPr>
          <a:xfrm rot="5400000">
            <a:off x="1214840" y="826531"/>
            <a:ext cx="500805" cy="1630007"/>
          </a:xfrm>
          <a:prstGeom prst="round2SameRect">
            <a:avLst>
              <a:gd name="adj1" fmla="val 50000"/>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76000" rIns="36000" bIns="36000" rtlCol="0" anchor="t"/>
          <a:lstStyle/>
          <a:p>
            <a:pPr marL="0" marR="0" lvl="0" indent="0" algn="l" defTabSz="121815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 name="TextBox 1">
            <a:extLst>
              <a:ext uri="{FF2B5EF4-FFF2-40B4-BE49-F238E27FC236}">
                <a16:creationId xmlns:a16="http://schemas.microsoft.com/office/drawing/2014/main" id="{4674B843-7E26-EBB2-4515-7078A114C2D8}"/>
              </a:ext>
            </a:extLst>
          </p:cNvPr>
          <p:cNvSpPr txBox="1"/>
          <p:nvPr/>
        </p:nvSpPr>
        <p:spPr>
          <a:xfrm>
            <a:off x="787400" y="6534000"/>
            <a:ext cx="1825821"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001965"/>
                </a:solidFill>
                <a:effectLst/>
                <a:uLnTx/>
                <a:uFillTx/>
                <a:latin typeface="Apis For Office"/>
                <a:ea typeface="+mn-ea"/>
                <a:cs typeface="+mn-cs"/>
              </a:rPr>
              <a:t>Summary of previous slides</a:t>
            </a:r>
          </a:p>
        </p:txBody>
      </p:sp>
    </p:spTree>
    <p:extLst>
      <p:ext uri="{BB962C8B-B14F-4D97-AF65-F5344CB8AC3E}">
        <p14:creationId xmlns:p14="http://schemas.microsoft.com/office/powerpoint/2010/main" val="3812522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27652" name="Title 6"/>
          <p:cNvSpPr>
            <a:spLocks noGrp="1"/>
          </p:cNvSpPr>
          <p:nvPr>
            <p:ph type="title"/>
          </p:nvPr>
        </p:nvSpPr>
        <p:spPr>
          <a:xfrm>
            <a:off x="648000" y="648000"/>
            <a:ext cx="11391600" cy="1296000"/>
          </a:xfrm>
        </p:spPr>
        <p:txBody>
          <a:bodyPr/>
          <a:lstStyle/>
          <a:p>
            <a:r>
              <a:rPr lang="en-GB" dirty="0"/>
              <a:t>Obesity remains underdiagnosed and undertreated</a:t>
            </a:r>
          </a:p>
        </p:txBody>
      </p:sp>
      <p:sp>
        <p:nvSpPr>
          <p:cNvPr id="6" name="Content Placeholder 5">
            <a:extLst>
              <a:ext uri="{FF2B5EF4-FFF2-40B4-BE49-F238E27FC236}">
                <a16:creationId xmlns:a16="http://schemas.microsoft.com/office/drawing/2014/main" id="{B8FBF998-97F2-449A-9006-BAAFBC0BFA54}"/>
              </a:ext>
            </a:extLst>
          </p:cNvPr>
          <p:cNvSpPr>
            <a:spLocks noGrp="1"/>
          </p:cNvSpPr>
          <p:nvPr>
            <p:ph type="body" sz="quarter" idx="13"/>
          </p:nvPr>
        </p:nvSpPr>
        <p:spPr>
          <a:xfrm>
            <a:off x="270628" y="6384171"/>
            <a:ext cx="8652000" cy="324000"/>
          </a:xfrm>
        </p:spPr>
        <p:txBody>
          <a:bodyPr/>
          <a:lstStyle/>
          <a:p>
            <a:r>
              <a:rPr lang="en-US" sz="800" dirty="0"/>
              <a:t>*Includes lifestyle and behavioral counselling, anti-obesity medications and bariatric surgery.</a:t>
            </a:r>
            <a:r>
              <a:rPr lang="en-GB" sz="800" dirty="0"/>
              <a:t> </a:t>
            </a:r>
            <a:br>
              <a:rPr lang="en-GB" sz="800" dirty="0"/>
            </a:br>
            <a:r>
              <a:rPr lang="en-GB" sz="800" dirty="0"/>
              <a:t>1. Adapted from: Colby and Ortman. 2014. Available from www.census.gov/content/dam/Census/library/publications/2015/demo/p25-1143.pdf. Accessed October 2022; 2. </a:t>
            </a:r>
            <a:r>
              <a:rPr lang="en-GB" sz="800" dirty="0" err="1"/>
              <a:t>Centers</a:t>
            </a:r>
            <a:r>
              <a:rPr lang="en-GB" sz="800" dirty="0"/>
              <a:t> for Disease Control and Prevention. Available from www.cdc.gov/nchs/fastats/obesity-overweight.htm. Accessed on October 2022; 3. Ma et al. Obesity (Silver Spring) 2009;17:1077–85; </a:t>
            </a:r>
            <a:br>
              <a:rPr lang="en-GB" sz="800" dirty="0"/>
            </a:br>
            <a:r>
              <a:rPr lang="en-GB" sz="800" dirty="0"/>
              <a:t>4. IMS </a:t>
            </a:r>
            <a:r>
              <a:rPr lang="en-GB" sz="800" dirty="0" err="1"/>
              <a:t>Xponent</a:t>
            </a:r>
            <a:r>
              <a:rPr lang="en-GB" sz="800" dirty="0"/>
              <a:t> Dec-15; 5. Caterson et al. Diabetes </a:t>
            </a:r>
            <a:r>
              <a:rPr lang="en-GB" sz="800" dirty="0" err="1"/>
              <a:t>Obes</a:t>
            </a:r>
            <a:r>
              <a:rPr lang="en-GB" sz="800" dirty="0"/>
              <a:t> </a:t>
            </a:r>
            <a:r>
              <a:rPr lang="en-GB" sz="800" dirty="0" err="1"/>
              <a:t>Metab</a:t>
            </a:r>
            <a:r>
              <a:rPr lang="en-GB" sz="800" dirty="0"/>
              <a:t> 2019; 21:1914–24; 6. Saxon et al. Obesity (Silver Spring, Md.) 2019;27:1975–81.</a:t>
            </a:r>
            <a:endParaRPr lang="en-US" sz="800" dirty="0"/>
          </a:p>
        </p:txBody>
      </p:sp>
      <p:grpSp>
        <p:nvGrpSpPr>
          <p:cNvPr id="7" name="Group 6">
            <a:extLst>
              <a:ext uri="{FF2B5EF4-FFF2-40B4-BE49-F238E27FC236}">
                <a16:creationId xmlns:a16="http://schemas.microsoft.com/office/drawing/2014/main" id="{9EA65478-A41E-4DFF-8297-01122815932C}"/>
              </a:ext>
            </a:extLst>
          </p:cNvPr>
          <p:cNvGrpSpPr/>
          <p:nvPr/>
        </p:nvGrpSpPr>
        <p:grpSpPr>
          <a:xfrm>
            <a:off x="647999" y="1636108"/>
            <a:ext cx="10896301" cy="4042044"/>
            <a:chOff x="409796" y="1006639"/>
            <a:chExt cx="8438264" cy="3130222"/>
          </a:xfrm>
        </p:grpSpPr>
        <p:pic>
          <p:nvPicPr>
            <p:cNvPr id="46" name="Graphic 45" descr="Man">
              <a:extLst>
                <a:ext uri="{FF2B5EF4-FFF2-40B4-BE49-F238E27FC236}">
                  <a16:creationId xmlns:a16="http://schemas.microsoft.com/office/drawing/2014/main" id="{FCBC4D62-AD98-4AD1-9C11-737DBF62EE5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1293256"/>
              <a:ext cx="203181" cy="247062"/>
            </a:xfrm>
            <a:prstGeom prst="rect">
              <a:avLst/>
            </a:prstGeom>
          </p:spPr>
        </p:pic>
        <p:pic>
          <p:nvPicPr>
            <p:cNvPr id="47" name="Graphic 46" descr="Woman">
              <a:extLst>
                <a:ext uri="{FF2B5EF4-FFF2-40B4-BE49-F238E27FC236}">
                  <a16:creationId xmlns:a16="http://schemas.microsoft.com/office/drawing/2014/main" id="{87592AB8-0260-4CC9-8F0F-9B6318F53D6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1293256"/>
              <a:ext cx="203181" cy="247062"/>
            </a:xfrm>
            <a:prstGeom prst="rect">
              <a:avLst/>
            </a:prstGeom>
          </p:spPr>
        </p:pic>
        <p:pic>
          <p:nvPicPr>
            <p:cNvPr id="48" name="Graphic 47" descr="Man">
              <a:extLst>
                <a:ext uri="{FF2B5EF4-FFF2-40B4-BE49-F238E27FC236}">
                  <a16:creationId xmlns:a16="http://schemas.microsoft.com/office/drawing/2014/main" id="{85BFB27D-D30A-432B-9548-8630BD08E34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1293256"/>
              <a:ext cx="203181" cy="247062"/>
            </a:xfrm>
            <a:prstGeom prst="rect">
              <a:avLst/>
            </a:prstGeom>
          </p:spPr>
        </p:pic>
        <p:pic>
          <p:nvPicPr>
            <p:cNvPr id="49" name="Graphic 48" descr="Woman">
              <a:extLst>
                <a:ext uri="{FF2B5EF4-FFF2-40B4-BE49-F238E27FC236}">
                  <a16:creationId xmlns:a16="http://schemas.microsoft.com/office/drawing/2014/main" id="{7E6733B0-1D8C-4325-8D32-569D167FA9D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1293256"/>
              <a:ext cx="203181" cy="247062"/>
            </a:xfrm>
            <a:prstGeom prst="rect">
              <a:avLst/>
            </a:prstGeom>
          </p:spPr>
        </p:pic>
        <p:pic>
          <p:nvPicPr>
            <p:cNvPr id="50" name="Graphic 49" descr="Man">
              <a:extLst>
                <a:ext uri="{FF2B5EF4-FFF2-40B4-BE49-F238E27FC236}">
                  <a16:creationId xmlns:a16="http://schemas.microsoft.com/office/drawing/2014/main" id="{EBBEDE5A-51E1-410B-BC7D-07944E51C8F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1293256"/>
              <a:ext cx="203181" cy="247062"/>
            </a:xfrm>
            <a:prstGeom prst="rect">
              <a:avLst/>
            </a:prstGeom>
          </p:spPr>
        </p:pic>
        <p:pic>
          <p:nvPicPr>
            <p:cNvPr id="51" name="Graphic 50" descr="Woman">
              <a:extLst>
                <a:ext uri="{FF2B5EF4-FFF2-40B4-BE49-F238E27FC236}">
                  <a16:creationId xmlns:a16="http://schemas.microsoft.com/office/drawing/2014/main" id="{DCAB4DA1-2846-4D6A-876C-3766898F5DC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1293256"/>
              <a:ext cx="203181" cy="247062"/>
            </a:xfrm>
            <a:prstGeom prst="rect">
              <a:avLst/>
            </a:prstGeom>
          </p:spPr>
        </p:pic>
        <p:pic>
          <p:nvPicPr>
            <p:cNvPr id="52" name="Graphic 51" descr="Man">
              <a:extLst>
                <a:ext uri="{FF2B5EF4-FFF2-40B4-BE49-F238E27FC236}">
                  <a16:creationId xmlns:a16="http://schemas.microsoft.com/office/drawing/2014/main" id="{56C2FD26-B575-4691-9F64-5B42CC37AF9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1293256"/>
              <a:ext cx="203181" cy="247062"/>
            </a:xfrm>
            <a:prstGeom prst="rect">
              <a:avLst/>
            </a:prstGeom>
          </p:spPr>
        </p:pic>
        <p:pic>
          <p:nvPicPr>
            <p:cNvPr id="53" name="Graphic 52" descr="Woman">
              <a:extLst>
                <a:ext uri="{FF2B5EF4-FFF2-40B4-BE49-F238E27FC236}">
                  <a16:creationId xmlns:a16="http://schemas.microsoft.com/office/drawing/2014/main" id="{14065648-150B-4F56-B062-699D976E8F7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1293256"/>
              <a:ext cx="203181" cy="247062"/>
            </a:xfrm>
            <a:prstGeom prst="rect">
              <a:avLst/>
            </a:prstGeom>
          </p:spPr>
        </p:pic>
        <p:pic>
          <p:nvPicPr>
            <p:cNvPr id="54" name="Graphic 53" descr="Man">
              <a:extLst>
                <a:ext uri="{FF2B5EF4-FFF2-40B4-BE49-F238E27FC236}">
                  <a16:creationId xmlns:a16="http://schemas.microsoft.com/office/drawing/2014/main" id="{BE8C1748-CC6A-4EB6-82A4-7A223E7540C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1293256"/>
              <a:ext cx="203181" cy="247062"/>
            </a:xfrm>
            <a:prstGeom prst="rect">
              <a:avLst/>
            </a:prstGeom>
          </p:spPr>
        </p:pic>
        <p:pic>
          <p:nvPicPr>
            <p:cNvPr id="55" name="Graphic 54" descr="Woman">
              <a:extLst>
                <a:ext uri="{FF2B5EF4-FFF2-40B4-BE49-F238E27FC236}">
                  <a16:creationId xmlns:a16="http://schemas.microsoft.com/office/drawing/2014/main" id="{5F3003F4-DB9F-4F1C-A4F3-31B0F87FB1F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1293256"/>
              <a:ext cx="203181" cy="247062"/>
            </a:xfrm>
            <a:prstGeom prst="rect">
              <a:avLst/>
            </a:prstGeom>
          </p:spPr>
        </p:pic>
        <p:pic>
          <p:nvPicPr>
            <p:cNvPr id="56" name="Graphic 55" descr="Man">
              <a:extLst>
                <a:ext uri="{FF2B5EF4-FFF2-40B4-BE49-F238E27FC236}">
                  <a16:creationId xmlns:a16="http://schemas.microsoft.com/office/drawing/2014/main" id="{2911554F-9E7E-47D9-985F-F17A9F9A8FD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1293256"/>
              <a:ext cx="203181" cy="247062"/>
            </a:xfrm>
            <a:prstGeom prst="rect">
              <a:avLst/>
            </a:prstGeom>
          </p:spPr>
        </p:pic>
        <p:pic>
          <p:nvPicPr>
            <p:cNvPr id="57" name="Graphic 56" descr="Woman">
              <a:extLst>
                <a:ext uri="{FF2B5EF4-FFF2-40B4-BE49-F238E27FC236}">
                  <a16:creationId xmlns:a16="http://schemas.microsoft.com/office/drawing/2014/main" id="{028E330F-8E46-404A-A0F2-7F90312B6BB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1293256"/>
              <a:ext cx="203181" cy="247062"/>
            </a:xfrm>
            <a:prstGeom prst="rect">
              <a:avLst/>
            </a:prstGeom>
          </p:spPr>
        </p:pic>
        <p:pic>
          <p:nvPicPr>
            <p:cNvPr id="58" name="Graphic 57" descr="Man">
              <a:extLst>
                <a:ext uri="{FF2B5EF4-FFF2-40B4-BE49-F238E27FC236}">
                  <a16:creationId xmlns:a16="http://schemas.microsoft.com/office/drawing/2014/main" id="{9EC7A8A3-4EFB-44E0-9B1B-E004A554DD8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1293256"/>
              <a:ext cx="203181" cy="247062"/>
            </a:xfrm>
            <a:prstGeom prst="rect">
              <a:avLst/>
            </a:prstGeom>
          </p:spPr>
        </p:pic>
        <p:pic>
          <p:nvPicPr>
            <p:cNvPr id="59" name="Graphic 58" descr="Woman">
              <a:extLst>
                <a:ext uri="{FF2B5EF4-FFF2-40B4-BE49-F238E27FC236}">
                  <a16:creationId xmlns:a16="http://schemas.microsoft.com/office/drawing/2014/main" id="{D71ACAF7-B7D6-4836-A8D3-0B39BA9D217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1293256"/>
              <a:ext cx="203181" cy="247062"/>
            </a:xfrm>
            <a:prstGeom prst="rect">
              <a:avLst/>
            </a:prstGeom>
          </p:spPr>
        </p:pic>
        <p:pic>
          <p:nvPicPr>
            <p:cNvPr id="60" name="Graphic 59" descr="Man">
              <a:extLst>
                <a:ext uri="{FF2B5EF4-FFF2-40B4-BE49-F238E27FC236}">
                  <a16:creationId xmlns:a16="http://schemas.microsoft.com/office/drawing/2014/main" id="{1F2220FA-6248-4517-ACC4-3DB5D3EB900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1293256"/>
              <a:ext cx="203181" cy="247062"/>
            </a:xfrm>
            <a:prstGeom prst="rect">
              <a:avLst/>
            </a:prstGeom>
          </p:spPr>
        </p:pic>
        <p:pic>
          <p:nvPicPr>
            <p:cNvPr id="61" name="Graphic 60" descr="Woman">
              <a:extLst>
                <a:ext uri="{FF2B5EF4-FFF2-40B4-BE49-F238E27FC236}">
                  <a16:creationId xmlns:a16="http://schemas.microsoft.com/office/drawing/2014/main" id="{75CB364D-1F9A-40AC-9C8E-0BF638584D7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1293256"/>
              <a:ext cx="203181" cy="247062"/>
            </a:xfrm>
            <a:prstGeom prst="rect">
              <a:avLst/>
            </a:prstGeom>
          </p:spPr>
        </p:pic>
        <p:pic>
          <p:nvPicPr>
            <p:cNvPr id="62" name="Graphic 61" descr="Man">
              <a:extLst>
                <a:ext uri="{FF2B5EF4-FFF2-40B4-BE49-F238E27FC236}">
                  <a16:creationId xmlns:a16="http://schemas.microsoft.com/office/drawing/2014/main" id="{F9062C5E-CC60-4FC2-A32B-635F428F4EE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1293256"/>
              <a:ext cx="203181" cy="247062"/>
            </a:xfrm>
            <a:prstGeom prst="rect">
              <a:avLst/>
            </a:prstGeom>
          </p:spPr>
        </p:pic>
        <p:pic>
          <p:nvPicPr>
            <p:cNvPr id="63" name="Graphic 62" descr="Woman">
              <a:extLst>
                <a:ext uri="{FF2B5EF4-FFF2-40B4-BE49-F238E27FC236}">
                  <a16:creationId xmlns:a16="http://schemas.microsoft.com/office/drawing/2014/main" id="{4A8063A7-2A4B-4ED2-AAB5-45B3D995374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1293256"/>
              <a:ext cx="203181" cy="247062"/>
            </a:xfrm>
            <a:prstGeom prst="rect">
              <a:avLst/>
            </a:prstGeom>
          </p:spPr>
        </p:pic>
        <p:pic>
          <p:nvPicPr>
            <p:cNvPr id="69" name="Graphic 68" descr="Man">
              <a:extLst>
                <a:ext uri="{FF2B5EF4-FFF2-40B4-BE49-F238E27FC236}">
                  <a16:creationId xmlns:a16="http://schemas.microsoft.com/office/drawing/2014/main" id="{7DE48E5A-FCDE-4259-AFFC-A5CA1BA5A16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1546039"/>
              <a:ext cx="203181" cy="247062"/>
            </a:xfrm>
            <a:prstGeom prst="rect">
              <a:avLst/>
            </a:prstGeom>
          </p:spPr>
        </p:pic>
        <p:pic>
          <p:nvPicPr>
            <p:cNvPr id="70" name="Graphic 69" descr="Woman">
              <a:extLst>
                <a:ext uri="{FF2B5EF4-FFF2-40B4-BE49-F238E27FC236}">
                  <a16:creationId xmlns:a16="http://schemas.microsoft.com/office/drawing/2014/main" id="{0C26B7F6-9D51-4FBD-AD6E-983F65A11D3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1546039"/>
              <a:ext cx="203181" cy="247062"/>
            </a:xfrm>
            <a:prstGeom prst="rect">
              <a:avLst/>
            </a:prstGeom>
          </p:spPr>
        </p:pic>
        <p:pic>
          <p:nvPicPr>
            <p:cNvPr id="71" name="Graphic 70" descr="Man">
              <a:extLst>
                <a:ext uri="{FF2B5EF4-FFF2-40B4-BE49-F238E27FC236}">
                  <a16:creationId xmlns:a16="http://schemas.microsoft.com/office/drawing/2014/main" id="{0AC485FE-6677-4E0F-8DA0-7FCD98770DF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1546039"/>
              <a:ext cx="203181" cy="247062"/>
            </a:xfrm>
            <a:prstGeom prst="rect">
              <a:avLst/>
            </a:prstGeom>
          </p:spPr>
        </p:pic>
        <p:pic>
          <p:nvPicPr>
            <p:cNvPr id="72" name="Graphic 71" descr="Woman">
              <a:extLst>
                <a:ext uri="{FF2B5EF4-FFF2-40B4-BE49-F238E27FC236}">
                  <a16:creationId xmlns:a16="http://schemas.microsoft.com/office/drawing/2014/main" id="{84D5D4A5-DC01-4DA8-B7E2-AA8F333FA0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1546039"/>
              <a:ext cx="203181" cy="247062"/>
            </a:xfrm>
            <a:prstGeom prst="rect">
              <a:avLst/>
            </a:prstGeom>
          </p:spPr>
        </p:pic>
        <p:pic>
          <p:nvPicPr>
            <p:cNvPr id="73" name="Graphic 72" descr="Man">
              <a:extLst>
                <a:ext uri="{FF2B5EF4-FFF2-40B4-BE49-F238E27FC236}">
                  <a16:creationId xmlns:a16="http://schemas.microsoft.com/office/drawing/2014/main" id="{2C412237-88AB-4085-B53F-A07F41ABD4E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1546039"/>
              <a:ext cx="203181" cy="247062"/>
            </a:xfrm>
            <a:prstGeom prst="rect">
              <a:avLst/>
            </a:prstGeom>
          </p:spPr>
        </p:pic>
        <p:pic>
          <p:nvPicPr>
            <p:cNvPr id="74" name="Graphic 73" descr="Woman">
              <a:extLst>
                <a:ext uri="{FF2B5EF4-FFF2-40B4-BE49-F238E27FC236}">
                  <a16:creationId xmlns:a16="http://schemas.microsoft.com/office/drawing/2014/main" id="{ACC654AD-EC32-4FE3-B343-9C093DEB3E3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1546039"/>
              <a:ext cx="203181" cy="247062"/>
            </a:xfrm>
            <a:prstGeom prst="rect">
              <a:avLst/>
            </a:prstGeom>
          </p:spPr>
        </p:pic>
        <p:pic>
          <p:nvPicPr>
            <p:cNvPr id="75" name="Graphic 74" descr="Man">
              <a:extLst>
                <a:ext uri="{FF2B5EF4-FFF2-40B4-BE49-F238E27FC236}">
                  <a16:creationId xmlns:a16="http://schemas.microsoft.com/office/drawing/2014/main" id="{C0593131-5C64-4D51-9820-D457E4E225F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1546039"/>
              <a:ext cx="203181" cy="247062"/>
            </a:xfrm>
            <a:prstGeom prst="rect">
              <a:avLst/>
            </a:prstGeom>
          </p:spPr>
        </p:pic>
        <p:pic>
          <p:nvPicPr>
            <p:cNvPr id="76" name="Graphic 75" descr="Woman">
              <a:extLst>
                <a:ext uri="{FF2B5EF4-FFF2-40B4-BE49-F238E27FC236}">
                  <a16:creationId xmlns:a16="http://schemas.microsoft.com/office/drawing/2014/main" id="{E3CC75AD-6480-4E40-AFDB-E3A931297C4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1546039"/>
              <a:ext cx="203181" cy="247062"/>
            </a:xfrm>
            <a:prstGeom prst="rect">
              <a:avLst/>
            </a:prstGeom>
          </p:spPr>
        </p:pic>
        <p:pic>
          <p:nvPicPr>
            <p:cNvPr id="77" name="Graphic 76" descr="Man">
              <a:extLst>
                <a:ext uri="{FF2B5EF4-FFF2-40B4-BE49-F238E27FC236}">
                  <a16:creationId xmlns:a16="http://schemas.microsoft.com/office/drawing/2014/main" id="{6F959A23-B876-4DD5-B3E2-A2F5D73068E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1546039"/>
              <a:ext cx="203181" cy="247062"/>
            </a:xfrm>
            <a:prstGeom prst="rect">
              <a:avLst/>
            </a:prstGeom>
          </p:spPr>
        </p:pic>
        <p:pic>
          <p:nvPicPr>
            <p:cNvPr id="78" name="Graphic 77" descr="Woman">
              <a:extLst>
                <a:ext uri="{FF2B5EF4-FFF2-40B4-BE49-F238E27FC236}">
                  <a16:creationId xmlns:a16="http://schemas.microsoft.com/office/drawing/2014/main" id="{85C4C0FF-FFF8-45F3-BA0F-25ECA0E9A5B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1546039"/>
              <a:ext cx="203181" cy="247062"/>
            </a:xfrm>
            <a:prstGeom prst="rect">
              <a:avLst/>
            </a:prstGeom>
          </p:spPr>
        </p:pic>
        <p:pic>
          <p:nvPicPr>
            <p:cNvPr id="79" name="Graphic 78" descr="Man">
              <a:extLst>
                <a:ext uri="{FF2B5EF4-FFF2-40B4-BE49-F238E27FC236}">
                  <a16:creationId xmlns:a16="http://schemas.microsoft.com/office/drawing/2014/main" id="{5A0377A7-2B7E-4A92-9851-0E47E72C96B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1546039"/>
              <a:ext cx="203181" cy="247062"/>
            </a:xfrm>
            <a:prstGeom prst="rect">
              <a:avLst/>
            </a:prstGeom>
          </p:spPr>
        </p:pic>
        <p:pic>
          <p:nvPicPr>
            <p:cNvPr id="80" name="Graphic 79" descr="Woman">
              <a:extLst>
                <a:ext uri="{FF2B5EF4-FFF2-40B4-BE49-F238E27FC236}">
                  <a16:creationId xmlns:a16="http://schemas.microsoft.com/office/drawing/2014/main" id="{8BB011B5-622A-43F3-A33B-E0BD3A92761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1546039"/>
              <a:ext cx="203181" cy="247062"/>
            </a:xfrm>
            <a:prstGeom prst="rect">
              <a:avLst/>
            </a:prstGeom>
          </p:spPr>
        </p:pic>
        <p:pic>
          <p:nvPicPr>
            <p:cNvPr id="81" name="Graphic 80" descr="Man">
              <a:extLst>
                <a:ext uri="{FF2B5EF4-FFF2-40B4-BE49-F238E27FC236}">
                  <a16:creationId xmlns:a16="http://schemas.microsoft.com/office/drawing/2014/main" id="{6C2911D7-22C3-4F9C-9F7C-90C10DD62ED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1546039"/>
              <a:ext cx="203181" cy="247062"/>
            </a:xfrm>
            <a:prstGeom prst="rect">
              <a:avLst/>
            </a:prstGeom>
          </p:spPr>
        </p:pic>
        <p:pic>
          <p:nvPicPr>
            <p:cNvPr id="82" name="Graphic 81" descr="Woman">
              <a:extLst>
                <a:ext uri="{FF2B5EF4-FFF2-40B4-BE49-F238E27FC236}">
                  <a16:creationId xmlns:a16="http://schemas.microsoft.com/office/drawing/2014/main" id="{FA4E5765-B54C-4EAD-B3F2-DFFB16B1CF1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1546039"/>
              <a:ext cx="203181" cy="247062"/>
            </a:xfrm>
            <a:prstGeom prst="rect">
              <a:avLst/>
            </a:prstGeom>
          </p:spPr>
        </p:pic>
        <p:pic>
          <p:nvPicPr>
            <p:cNvPr id="83" name="Graphic 82" descr="Man">
              <a:extLst>
                <a:ext uri="{FF2B5EF4-FFF2-40B4-BE49-F238E27FC236}">
                  <a16:creationId xmlns:a16="http://schemas.microsoft.com/office/drawing/2014/main" id="{D871B2E3-CD73-4F20-82D2-3415735935A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1546039"/>
              <a:ext cx="203181" cy="247062"/>
            </a:xfrm>
            <a:prstGeom prst="rect">
              <a:avLst/>
            </a:prstGeom>
          </p:spPr>
        </p:pic>
        <p:pic>
          <p:nvPicPr>
            <p:cNvPr id="84" name="Graphic 83" descr="Woman">
              <a:extLst>
                <a:ext uri="{FF2B5EF4-FFF2-40B4-BE49-F238E27FC236}">
                  <a16:creationId xmlns:a16="http://schemas.microsoft.com/office/drawing/2014/main" id="{AD76CEF1-7203-42E6-88F8-5B4BF7E6091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1546039"/>
              <a:ext cx="203181" cy="247062"/>
            </a:xfrm>
            <a:prstGeom prst="rect">
              <a:avLst/>
            </a:prstGeom>
          </p:spPr>
        </p:pic>
        <p:pic>
          <p:nvPicPr>
            <p:cNvPr id="85" name="Graphic 84" descr="Man">
              <a:extLst>
                <a:ext uri="{FF2B5EF4-FFF2-40B4-BE49-F238E27FC236}">
                  <a16:creationId xmlns:a16="http://schemas.microsoft.com/office/drawing/2014/main" id="{0AE88D3A-A09F-41D2-98EF-2BD7B7E0F23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1546039"/>
              <a:ext cx="203181" cy="247062"/>
            </a:xfrm>
            <a:prstGeom prst="rect">
              <a:avLst/>
            </a:prstGeom>
          </p:spPr>
        </p:pic>
        <p:pic>
          <p:nvPicPr>
            <p:cNvPr id="86" name="Graphic 85" descr="Woman">
              <a:extLst>
                <a:ext uri="{FF2B5EF4-FFF2-40B4-BE49-F238E27FC236}">
                  <a16:creationId xmlns:a16="http://schemas.microsoft.com/office/drawing/2014/main" id="{A8E6368E-5E91-412B-90CA-AAF1317E09C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1546039"/>
              <a:ext cx="203181" cy="247062"/>
            </a:xfrm>
            <a:prstGeom prst="rect">
              <a:avLst/>
            </a:prstGeom>
          </p:spPr>
        </p:pic>
        <p:pic>
          <p:nvPicPr>
            <p:cNvPr id="92" name="Graphic 91" descr="Man">
              <a:extLst>
                <a:ext uri="{FF2B5EF4-FFF2-40B4-BE49-F238E27FC236}">
                  <a16:creationId xmlns:a16="http://schemas.microsoft.com/office/drawing/2014/main" id="{31AA601D-631A-49BB-AA83-4ECE7782AEB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1798823"/>
              <a:ext cx="203181" cy="247062"/>
            </a:xfrm>
            <a:prstGeom prst="rect">
              <a:avLst/>
            </a:prstGeom>
          </p:spPr>
        </p:pic>
        <p:pic>
          <p:nvPicPr>
            <p:cNvPr id="93" name="Graphic 92" descr="Woman">
              <a:extLst>
                <a:ext uri="{FF2B5EF4-FFF2-40B4-BE49-F238E27FC236}">
                  <a16:creationId xmlns:a16="http://schemas.microsoft.com/office/drawing/2014/main" id="{09CF9BAF-2002-45C5-A2D0-C4ABD47240C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1798823"/>
              <a:ext cx="203181" cy="247062"/>
            </a:xfrm>
            <a:prstGeom prst="rect">
              <a:avLst/>
            </a:prstGeom>
          </p:spPr>
        </p:pic>
        <p:pic>
          <p:nvPicPr>
            <p:cNvPr id="94" name="Graphic 93" descr="Man">
              <a:extLst>
                <a:ext uri="{FF2B5EF4-FFF2-40B4-BE49-F238E27FC236}">
                  <a16:creationId xmlns:a16="http://schemas.microsoft.com/office/drawing/2014/main" id="{C249A6D9-1C0D-4627-86EA-9C8CB316677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1798823"/>
              <a:ext cx="203181" cy="247062"/>
            </a:xfrm>
            <a:prstGeom prst="rect">
              <a:avLst/>
            </a:prstGeom>
          </p:spPr>
        </p:pic>
        <p:pic>
          <p:nvPicPr>
            <p:cNvPr id="95" name="Graphic 94" descr="Woman">
              <a:extLst>
                <a:ext uri="{FF2B5EF4-FFF2-40B4-BE49-F238E27FC236}">
                  <a16:creationId xmlns:a16="http://schemas.microsoft.com/office/drawing/2014/main" id="{7B0C551D-4B7F-4AAA-89FE-0E8B67BEC30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1798823"/>
              <a:ext cx="203181" cy="247062"/>
            </a:xfrm>
            <a:prstGeom prst="rect">
              <a:avLst/>
            </a:prstGeom>
          </p:spPr>
        </p:pic>
        <p:pic>
          <p:nvPicPr>
            <p:cNvPr id="96" name="Graphic 95" descr="Man">
              <a:extLst>
                <a:ext uri="{FF2B5EF4-FFF2-40B4-BE49-F238E27FC236}">
                  <a16:creationId xmlns:a16="http://schemas.microsoft.com/office/drawing/2014/main" id="{AE275AEF-4717-4CCF-A4E9-3A3B9D43844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1798823"/>
              <a:ext cx="203181" cy="247062"/>
            </a:xfrm>
            <a:prstGeom prst="rect">
              <a:avLst/>
            </a:prstGeom>
          </p:spPr>
        </p:pic>
        <p:pic>
          <p:nvPicPr>
            <p:cNvPr id="97" name="Graphic 96" descr="Woman">
              <a:extLst>
                <a:ext uri="{FF2B5EF4-FFF2-40B4-BE49-F238E27FC236}">
                  <a16:creationId xmlns:a16="http://schemas.microsoft.com/office/drawing/2014/main" id="{8D1888E9-62E5-4B1C-AB7A-5AFB93CF58D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1798823"/>
              <a:ext cx="203181" cy="247062"/>
            </a:xfrm>
            <a:prstGeom prst="rect">
              <a:avLst/>
            </a:prstGeom>
          </p:spPr>
        </p:pic>
        <p:pic>
          <p:nvPicPr>
            <p:cNvPr id="98" name="Graphic 97" descr="Man">
              <a:extLst>
                <a:ext uri="{FF2B5EF4-FFF2-40B4-BE49-F238E27FC236}">
                  <a16:creationId xmlns:a16="http://schemas.microsoft.com/office/drawing/2014/main" id="{41E2B072-5FC9-4842-8FC7-A7CA5BEFA8B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1798823"/>
              <a:ext cx="203181" cy="247062"/>
            </a:xfrm>
            <a:prstGeom prst="rect">
              <a:avLst/>
            </a:prstGeom>
          </p:spPr>
        </p:pic>
        <p:pic>
          <p:nvPicPr>
            <p:cNvPr id="99" name="Graphic 98" descr="Woman">
              <a:extLst>
                <a:ext uri="{FF2B5EF4-FFF2-40B4-BE49-F238E27FC236}">
                  <a16:creationId xmlns:a16="http://schemas.microsoft.com/office/drawing/2014/main" id="{0686B19E-7E6A-4E30-94E7-4B5B93D65C3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1798823"/>
              <a:ext cx="203181" cy="247062"/>
            </a:xfrm>
            <a:prstGeom prst="rect">
              <a:avLst/>
            </a:prstGeom>
          </p:spPr>
        </p:pic>
        <p:pic>
          <p:nvPicPr>
            <p:cNvPr id="100" name="Graphic 99" descr="Man">
              <a:extLst>
                <a:ext uri="{FF2B5EF4-FFF2-40B4-BE49-F238E27FC236}">
                  <a16:creationId xmlns:a16="http://schemas.microsoft.com/office/drawing/2014/main" id="{0883B16F-392F-46C5-8395-2320982D730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1798823"/>
              <a:ext cx="203181" cy="247062"/>
            </a:xfrm>
            <a:prstGeom prst="rect">
              <a:avLst/>
            </a:prstGeom>
          </p:spPr>
        </p:pic>
        <p:pic>
          <p:nvPicPr>
            <p:cNvPr id="101" name="Graphic 100" descr="Woman">
              <a:extLst>
                <a:ext uri="{FF2B5EF4-FFF2-40B4-BE49-F238E27FC236}">
                  <a16:creationId xmlns:a16="http://schemas.microsoft.com/office/drawing/2014/main" id="{85241860-86B9-4A15-A2CF-71E0E0BA6B3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1798823"/>
              <a:ext cx="203181" cy="247062"/>
            </a:xfrm>
            <a:prstGeom prst="rect">
              <a:avLst/>
            </a:prstGeom>
          </p:spPr>
        </p:pic>
        <p:pic>
          <p:nvPicPr>
            <p:cNvPr id="102" name="Graphic 101" descr="Man">
              <a:extLst>
                <a:ext uri="{FF2B5EF4-FFF2-40B4-BE49-F238E27FC236}">
                  <a16:creationId xmlns:a16="http://schemas.microsoft.com/office/drawing/2014/main" id="{4ADD5CE8-91D4-4963-A2AF-9041C651149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1798823"/>
              <a:ext cx="203181" cy="247062"/>
            </a:xfrm>
            <a:prstGeom prst="rect">
              <a:avLst/>
            </a:prstGeom>
          </p:spPr>
        </p:pic>
        <p:pic>
          <p:nvPicPr>
            <p:cNvPr id="103" name="Graphic 102" descr="Woman">
              <a:extLst>
                <a:ext uri="{FF2B5EF4-FFF2-40B4-BE49-F238E27FC236}">
                  <a16:creationId xmlns:a16="http://schemas.microsoft.com/office/drawing/2014/main" id="{A1F98442-4523-41C5-BEA7-6F85C9BB29F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1798823"/>
              <a:ext cx="203181" cy="247062"/>
            </a:xfrm>
            <a:prstGeom prst="rect">
              <a:avLst/>
            </a:prstGeom>
          </p:spPr>
        </p:pic>
        <p:pic>
          <p:nvPicPr>
            <p:cNvPr id="104" name="Graphic 103" descr="Man">
              <a:extLst>
                <a:ext uri="{FF2B5EF4-FFF2-40B4-BE49-F238E27FC236}">
                  <a16:creationId xmlns:a16="http://schemas.microsoft.com/office/drawing/2014/main" id="{9DE6557F-5D9F-49A6-A798-0581A2B078C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1798823"/>
              <a:ext cx="203181" cy="247062"/>
            </a:xfrm>
            <a:prstGeom prst="rect">
              <a:avLst/>
            </a:prstGeom>
          </p:spPr>
        </p:pic>
        <p:pic>
          <p:nvPicPr>
            <p:cNvPr id="105" name="Graphic 104" descr="Woman">
              <a:extLst>
                <a:ext uri="{FF2B5EF4-FFF2-40B4-BE49-F238E27FC236}">
                  <a16:creationId xmlns:a16="http://schemas.microsoft.com/office/drawing/2014/main" id="{9A38AC01-F21D-47D5-849A-287DDC4659A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1798823"/>
              <a:ext cx="203181" cy="247062"/>
            </a:xfrm>
            <a:prstGeom prst="rect">
              <a:avLst/>
            </a:prstGeom>
          </p:spPr>
        </p:pic>
        <p:pic>
          <p:nvPicPr>
            <p:cNvPr id="106" name="Graphic 105" descr="Man">
              <a:extLst>
                <a:ext uri="{FF2B5EF4-FFF2-40B4-BE49-F238E27FC236}">
                  <a16:creationId xmlns:a16="http://schemas.microsoft.com/office/drawing/2014/main" id="{1C285C91-B2AB-4CD3-A3AA-F20AD1766EB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1798823"/>
              <a:ext cx="203181" cy="247062"/>
            </a:xfrm>
            <a:prstGeom prst="rect">
              <a:avLst/>
            </a:prstGeom>
          </p:spPr>
        </p:pic>
        <p:pic>
          <p:nvPicPr>
            <p:cNvPr id="107" name="Graphic 106" descr="Woman">
              <a:extLst>
                <a:ext uri="{FF2B5EF4-FFF2-40B4-BE49-F238E27FC236}">
                  <a16:creationId xmlns:a16="http://schemas.microsoft.com/office/drawing/2014/main" id="{5BFF18F8-9615-413D-9F7A-70F3D179EB6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1798823"/>
              <a:ext cx="203181" cy="247062"/>
            </a:xfrm>
            <a:prstGeom prst="rect">
              <a:avLst/>
            </a:prstGeom>
          </p:spPr>
        </p:pic>
        <p:pic>
          <p:nvPicPr>
            <p:cNvPr id="108" name="Graphic 107" descr="Man">
              <a:extLst>
                <a:ext uri="{FF2B5EF4-FFF2-40B4-BE49-F238E27FC236}">
                  <a16:creationId xmlns:a16="http://schemas.microsoft.com/office/drawing/2014/main" id="{28B26049-3594-4A7E-AD3D-1743CD749EB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1798823"/>
              <a:ext cx="203181" cy="247062"/>
            </a:xfrm>
            <a:prstGeom prst="rect">
              <a:avLst/>
            </a:prstGeom>
          </p:spPr>
        </p:pic>
        <p:pic>
          <p:nvPicPr>
            <p:cNvPr id="109" name="Graphic 108" descr="Woman">
              <a:extLst>
                <a:ext uri="{FF2B5EF4-FFF2-40B4-BE49-F238E27FC236}">
                  <a16:creationId xmlns:a16="http://schemas.microsoft.com/office/drawing/2014/main" id="{3E8B194A-33CE-4C64-872A-4386BD62BDF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1798823"/>
              <a:ext cx="203181" cy="247062"/>
            </a:xfrm>
            <a:prstGeom prst="rect">
              <a:avLst/>
            </a:prstGeom>
          </p:spPr>
        </p:pic>
        <p:pic>
          <p:nvPicPr>
            <p:cNvPr id="115" name="Graphic 114" descr="Man">
              <a:extLst>
                <a:ext uri="{FF2B5EF4-FFF2-40B4-BE49-F238E27FC236}">
                  <a16:creationId xmlns:a16="http://schemas.microsoft.com/office/drawing/2014/main" id="{E3C402A6-E118-4E58-A92D-2A02F4051CE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2051607"/>
              <a:ext cx="203181" cy="247062"/>
            </a:xfrm>
            <a:prstGeom prst="rect">
              <a:avLst/>
            </a:prstGeom>
          </p:spPr>
        </p:pic>
        <p:pic>
          <p:nvPicPr>
            <p:cNvPr id="116" name="Graphic 115" descr="Woman">
              <a:extLst>
                <a:ext uri="{FF2B5EF4-FFF2-40B4-BE49-F238E27FC236}">
                  <a16:creationId xmlns:a16="http://schemas.microsoft.com/office/drawing/2014/main" id="{B2CC60C9-041A-40E4-9C97-8494E057A6D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2051607"/>
              <a:ext cx="203181" cy="247062"/>
            </a:xfrm>
            <a:prstGeom prst="rect">
              <a:avLst/>
            </a:prstGeom>
          </p:spPr>
        </p:pic>
        <p:pic>
          <p:nvPicPr>
            <p:cNvPr id="117" name="Graphic 116" descr="Man">
              <a:extLst>
                <a:ext uri="{FF2B5EF4-FFF2-40B4-BE49-F238E27FC236}">
                  <a16:creationId xmlns:a16="http://schemas.microsoft.com/office/drawing/2014/main" id="{DD4E286A-529D-44E0-B882-3BAF2FE49DA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2051607"/>
              <a:ext cx="203181" cy="247062"/>
            </a:xfrm>
            <a:prstGeom prst="rect">
              <a:avLst/>
            </a:prstGeom>
          </p:spPr>
        </p:pic>
        <p:pic>
          <p:nvPicPr>
            <p:cNvPr id="118" name="Graphic 117" descr="Woman">
              <a:extLst>
                <a:ext uri="{FF2B5EF4-FFF2-40B4-BE49-F238E27FC236}">
                  <a16:creationId xmlns:a16="http://schemas.microsoft.com/office/drawing/2014/main" id="{3E968953-4141-4F10-9CE5-468B3991481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2051607"/>
              <a:ext cx="203181" cy="247062"/>
            </a:xfrm>
            <a:prstGeom prst="rect">
              <a:avLst/>
            </a:prstGeom>
          </p:spPr>
        </p:pic>
        <p:pic>
          <p:nvPicPr>
            <p:cNvPr id="119" name="Graphic 118" descr="Man">
              <a:extLst>
                <a:ext uri="{FF2B5EF4-FFF2-40B4-BE49-F238E27FC236}">
                  <a16:creationId xmlns:a16="http://schemas.microsoft.com/office/drawing/2014/main" id="{3D3D3BEF-C545-4390-8C88-F9619815DA2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2051607"/>
              <a:ext cx="203181" cy="247062"/>
            </a:xfrm>
            <a:prstGeom prst="rect">
              <a:avLst/>
            </a:prstGeom>
          </p:spPr>
        </p:pic>
        <p:pic>
          <p:nvPicPr>
            <p:cNvPr id="120" name="Graphic 119" descr="Woman">
              <a:extLst>
                <a:ext uri="{FF2B5EF4-FFF2-40B4-BE49-F238E27FC236}">
                  <a16:creationId xmlns:a16="http://schemas.microsoft.com/office/drawing/2014/main" id="{66C7A83E-EECB-42A5-A2F9-24B33822962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2051607"/>
              <a:ext cx="203181" cy="247062"/>
            </a:xfrm>
            <a:prstGeom prst="rect">
              <a:avLst/>
            </a:prstGeom>
          </p:spPr>
        </p:pic>
        <p:pic>
          <p:nvPicPr>
            <p:cNvPr id="121" name="Graphic 120" descr="Man">
              <a:extLst>
                <a:ext uri="{FF2B5EF4-FFF2-40B4-BE49-F238E27FC236}">
                  <a16:creationId xmlns:a16="http://schemas.microsoft.com/office/drawing/2014/main" id="{DC988C55-5E85-4543-BA2E-B9AE8940466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2051607"/>
              <a:ext cx="203181" cy="247062"/>
            </a:xfrm>
            <a:prstGeom prst="rect">
              <a:avLst/>
            </a:prstGeom>
          </p:spPr>
        </p:pic>
        <p:pic>
          <p:nvPicPr>
            <p:cNvPr id="122" name="Graphic 121" descr="Woman">
              <a:extLst>
                <a:ext uri="{FF2B5EF4-FFF2-40B4-BE49-F238E27FC236}">
                  <a16:creationId xmlns:a16="http://schemas.microsoft.com/office/drawing/2014/main" id="{5F787013-784C-47CA-99E3-B54B8ACE61B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2051607"/>
              <a:ext cx="203181" cy="247062"/>
            </a:xfrm>
            <a:prstGeom prst="rect">
              <a:avLst/>
            </a:prstGeom>
          </p:spPr>
        </p:pic>
        <p:pic>
          <p:nvPicPr>
            <p:cNvPr id="123" name="Graphic 122" descr="Man">
              <a:extLst>
                <a:ext uri="{FF2B5EF4-FFF2-40B4-BE49-F238E27FC236}">
                  <a16:creationId xmlns:a16="http://schemas.microsoft.com/office/drawing/2014/main" id="{E2FBF64A-8828-4C56-88E4-0551DADCEA0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2051607"/>
              <a:ext cx="203181" cy="247062"/>
            </a:xfrm>
            <a:prstGeom prst="rect">
              <a:avLst/>
            </a:prstGeom>
          </p:spPr>
        </p:pic>
        <p:pic>
          <p:nvPicPr>
            <p:cNvPr id="124" name="Graphic 123" descr="Woman">
              <a:extLst>
                <a:ext uri="{FF2B5EF4-FFF2-40B4-BE49-F238E27FC236}">
                  <a16:creationId xmlns:a16="http://schemas.microsoft.com/office/drawing/2014/main" id="{117B8737-C7A0-4B49-8FB3-1F77B89CE0B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2051607"/>
              <a:ext cx="203181" cy="247062"/>
            </a:xfrm>
            <a:prstGeom prst="rect">
              <a:avLst/>
            </a:prstGeom>
          </p:spPr>
        </p:pic>
        <p:pic>
          <p:nvPicPr>
            <p:cNvPr id="125" name="Graphic 124" descr="Man">
              <a:extLst>
                <a:ext uri="{FF2B5EF4-FFF2-40B4-BE49-F238E27FC236}">
                  <a16:creationId xmlns:a16="http://schemas.microsoft.com/office/drawing/2014/main" id="{93A41E87-CD02-49BF-AC27-05FA8208954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2051607"/>
              <a:ext cx="203181" cy="247062"/>
            </a:xfrm>
            <a:prstGeom prst="rect">
              <a:avLst/>
            </a:prstGeom>
          </p:spPr>
        </p:pic>
        <p:pic>
          <p:nvPicPr>
            <p:cNvPr id="126" name="Graphic 125" descr="Woman">
              <a:extLst>
                <a:ext uri="{FF2B5EF4-FFF2-40B4-BE49-F238E27FC236}">
                  <a16:creationId xmlns:a16="http://schemas.microsoft.com/office/drawing/2014/main" id="{BA2730FE-8511-44CD-B86B-4913F314F05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2051607"/>
              <a:ext cx="203181" cy="247062"/>
            </a:xfrm>
            <a:prstGeom prst="rect">
              <a:avLst/>
            </a:prstGeom>
          </p:spPr>
        </p:pic>
        <p:pic>
          <p:nvPicPr>
            <p:cNvPr id="127" name="Graphic 126" descr="Man">
              <a:extLst>
                <a:ext uri="{FF2B5EF4-FFF2-40B4-BE49-F238E27FC236}">
                  <a16:creationId xmlns:a16="http://schemas.microsoft.com/office/drawing/2014/main" id="{BA4AD7BD-3806-4003-86D8-67DFBA51FEC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2051607"/>
              <a:ext cx="203181" cy="247062"/>
            </a:xfrm>
            <a:prstGeom prst="rect">
              <a:avLst/>
            </a:prstGeom>
          </p:spPr>
        </p:pic>
        <p:pic>
          <p:nvPicPr>
            <p:cNvPr id="128" name="Graphic 127" descr="Woman">
              <a:extLst>
                <a:ext uri="{FF2B5EF4-FFF2-40B4-BE49-F238E27FC236}">
                  <a16:creationId xmlns:a16="http://schemas.microsoft.com/office/drawing/2014/main" id="{A7016604-DB21-432C-9781-87373CD66A8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2051607"/>
              <a:ext cx="203181" cy="247062"/>
            </a:xfrm>
            <a:prstGeom prst="rect">
              <a:avLst/>
            </a:prstGeom>
          </p:spPr>
        </p:pic>
        <p:pic>
          <p:nvPicPr>
            <p:cNvPr id="129" name="Graphic 128" descr="Man">
              <a:extLst>
                <a:ext uri="{FF2B5EF4-FFF2-40B4-BE49-F238E27FC236}">
                  <a16:creationId xmlns:a16="http://schemas.microsoft.com/office/drawing/2014/main" id="{CDBC6FC5-91B9-4F80-8D95-8AE863C972B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2051607"/>
              <a:ext cx="203181" cy="247062"/>
            </a:xfrm>
            <a:prstGeom prst="rect">
              <a:avLst/>
            </a:prstGeom>
          </p:spPr>
        </p:pic>
        <p:pic>
          <p:nvPicPr>
            <p:cNvPr id="130" name="Graphic 129" descr="Woman">
              <a:extLst>
                <a:ext uri="{FF2B5EF4-FFF2-40B4-BE49-F238E27FC236}">
                  <a16:creationId xmlns:a16="http://schemas.microsoft.com/office/drawing/2014/main" id="{0947663A-0F8B-480C-AA37-CE9D0654B3A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2051607"/>
              <a:ext cx="203181" cy="247062"/>
            </a:xfrm>
            <a:prstGeom prst="rect">
              <a:avLst/>
            </a:prstGeom>
          </p:spPr>
        </p:pic>
        <p:pic>
          <p:nvPicPr>
            <p:cNvPr id="131" name="Graphic 130" descr="Man">
              <a:extLst>
                <a:ext uri="{FF2B5EF4-FFF2-40B4-BE49-F238E27FC236}">
                  <a16:creationId xmlns:a16="http://schemas.microsoft.com/office/drawing/2014/main" id="{D939440C-CC1D-47D0-9AD1-511BF73859A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2051607"/>
              <a:ext cx="203181" cy="247062"/>
            </a:xfrm>
            <a:prstGeom prst="rect">
              <a:avLst/>
            </a:prstGeom>
          </p:spPr>
        </p:pic>
        <p:pic>
          <p:nvPicPr>
            <p:cNvPr id="132" name="Graphic 131" descr="Woman">
              <a:extLst>
                <a:ext uri="{FF2B5EF4-FFF2-40B4-BE49-F238E27FC236}">
                  <a16:creationId xmlns:a16="http://schemas.microsoft.com/office/drawing/2014/main" id="{8830CCDF-1E6F-4F96-8A94-C9792E77748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2051607"/>
              <a:ext cx="203181" cy="247062"/>
            </a:xfrm>
            <a:prstGeom prst="rect">
              <a:avLst/>
            </a:prstGeom>
          </p:spPr>
        </p:pic>
        <p:pic>
          <p:nvPicPr>
            <p:cNvPr id="138" name="Graphic 137" descr="Man">
              <a:extLst>
                <a:ext uri="{FF2B5EF4-FFF2-40B4-BE49-F238E27FC236}">
                  <a16:creationId xmlns:a16="http://schemas.microsoft.com/office/drawing/2014/main" id="{8C91F619-7915-4BE1-B248-5C44490940E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2304391"/>
              <a:ext cx="203181" cy="247062"/>
            </a:xfrm>
            <a:prstGeom prst="rect">
              <a:avLst/>
            </a:prstGeom>
          </p:spPr>
        </p:pic>
        <p:pic>
          <p:nvPicPr>
            <p:cNvPr id="139" name="Graphic 138" descr="Woman">
              <a:extLst>
                <a:ext uri="{FF2B5EF4-FFF2-40B4-BE49-F238E27FC236}">
                  <a16:creationId xmlns:a16="http://schemas.microsoft.com/office/drawing/2014/main" id="{04549ACD-B31D-4606-9638-AFBCE85E64C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2304391"/>
              <a:ext cx="203181" cy="247062"/>
            </a:xfrm>
            <a:prstGeom prst="rect">
              <a:avLst/>
            </a:prstGeom>
          </p:spPr>
        </p:pic>
        <p:pic>
          <p:nvPicPr>
            <p:cNvPr id="140" name="Graphic 139" descr="Man">
              <a:extLst>
                <a:ext uri="{FF2B5EF4-FFF2-40B4-BE49-F238E27FC236}">
                  <a16:creationId xmlns:a16="http://schemas.microsoft.com/office/drawing/2014/main" id="{EB4CAC82-96A8-480D-BD90-359FAD0D454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2304391"/>
              <a:ext cx="203181" cy="247062"/>
            </a:xfrm>
            <a:prstGeom prst="rect">
              <a:avLst/>
            </a:prstGeom>
          </p:spPr>
        </p:pic>
        <p:pic>
          <p:nvPicPr>
            <p:cNvPr id="141" name="Graphic 140" descr="Woman">
              <a:extLst>
                <a:ext uri="{FF2B5EF4-FFF2-40B4-BE49-F238E27FC236}">
                  <a16:creationId xmlns:a16="http://schemas.microsoft.com/office/drawing/2014/main" id="{9F9F247D-91A3-43D9-8A13-CA6FE6EC388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2304391"/>
              <a:ext cx="203181" cy="247062"/>
            </a:xfrm>
            <a:prstGeom prst="rect">
              <a:avLst/>
            </a:prstGeom>
          </p:spPr>
        </p:pic>
        <p:pic>
          <p:nvPicPr>
            <p:cNvPr id="142" name="Graphic 141" descr="Man">
              <a:extLst>
                <a:ext uri="{FF2B5EF4-FFF2-40B4-BE49-F238E27FC236}">
                  <a16:creationId xmlns:a16="http://schemas.microsoft.com/office/drawing/2014/main" id="{C4A8DD67-1173-4281-8415-22D0971F97E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2304391"/>
              <a:ext cx="203181" cy="247062"/>
            </a:xfrm>
            <a:prstGeom prst="rect">
              <a:avLst/>
            </a:prstGeom>
          </p:spPr>
        </p:pic>
        <p:pic>
          <p:nvPicPr>
            <p:cNvPr id="143" name="Graphic 142" descr="Woman">
              <a:extLst>
                <a:ext uri="{FF2B5EF4-FFF2-40B4-BE49-F238E27FC236}">
                  <a16:creationId xmlns:a16="http://schemas.microsoft.com/office/drawing/2014/main" id="{CC2D5069-5970-4A27-824C-9D3699B0D73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2304391"/>
              <a:ext cx="203181" cy="247062"/>
            </a:xfrm>
            <a:prstGeom prst="rect">
              <a:avLst/>
            </a:prstGeom>
          </p:spPr>
        </p:pic>
        <p:pic>
          <p:nvPicPr>
            <p:cNvPr id="144" name="Graphic 143" descr="Man">
              <a:extLst>
                <a:ext uri="{FF2B5EF4-FFF2-40B4-BE49-F238E27FC236}">
                  <a16:creationId xmlns:a16="http://schemas.microsoft.com/office/drawing/2014/main" id="{03CD0903-57F5-4259-997B-FACF9ABBB16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2304391"/>
              <a:ext cx="203181" cy="247062"/>
            </a:xfrm>
            <a:prstGeom prst="rect">
              <a:avLst/>
            </a:prstGeom>
          </p:spPr>
        </p:pic>
        <p:pic>
          <p:nvPicPr>
            <p:cNvPr id="145" name="Graphic 144" descr="Woman">
              <a:extLst>
                <a:ext uri="{FF2B5EF4-FFF2-40B4-BE49-F238E27FC236}">
                  <a16:creationId xmlns:a16="http://schemas.microsoft.com/office/drawing/2014/main" id="{6C06E08A-9008-4FC8-9CCA-D1A89DBDADF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2304391"/>
              <a:ext cx="203181" cy="247062"/>
            </a:xfrm>
            <a:prstGeom prst="rect">
              <a:avLst/>
            </a:prstGeom>
          </p:spPr>
        </p:pic>
        <p:pic>
          <p:nvPicPr>
            <p:cNvPr id="146" name="Graphic 145" descr="Man">
              <a:extLst>
                <a:ext uri="{FF2B5EF4-FFF2-40B4-BE49-F238E27FC236}">
                  <a16:creationId xmlns:a16="http://schemas.microsoft.com/office/drawing/2014/main" id="{74A039A7-2EC0-47BF-A015-8D8C201281B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2304391"/>
              <a:ext cx="203181" cy="247062"/>
            </a:xfrm>
            <a:prstGeom prst="rect">
              <a:avLst/>
            </a:prstGeom>
          </p:spPr>
        </p:pic>
        <p:pic>
          <p:nvPicPr>
            <p:cNvPr id="147" name="Graphic 146" descr="Woman">
              <a:extLst>
                <a:ext uri="{FF2B5EF4-FFF2-40B4-BE49-F238E27FC236}">
                  <a16:creationId xmlns:a16="http://schemas.microsoft.com/office/drawing/2014/main" id="{F81BED3C-3666-4861-B47F-9F7DB446D9B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2304391"/>
              <a:ext cx="203181" cy="247062"/>
            </a:xfrm>
            <a:prstGeom prst="rect">
              <a:avLst/>
            </a:prstGeom>
          </p:spPr>
        </p:pic>
        <p:pic>
          <p:nvPicPr>
            <p:cNvPr id="148" name="Graphic 147" descr="Man">
              <a:extLst>
                <a:ext uri="{FF2B5EF4-FFF2-40B4-BE49-F238E27FC236}">
                  <a16:creationId xmlns:a16="http://schemas.microsoft.com/office/drawing/2014/main" id="{A72BBBC0-48BE-4AB7-A78A-8E93FBB0A76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2304391"/>
              <a:ext cx="203181" cy="247062"/>
            </a:xfrm>
            <a:prstGeom prst="rect">
              <a:avLst/>
            </a:prstGeom>
          </p:spPr>
        </p:pic>
        <p:pic>
          <p:nvPicPr>
            <p:cNvPr id="149" name="Graphic 148" descr="Woman">
              <a:extLst>
                <a:ext uri="{FF2B5EF4-FFF2-40B4-BE49-F238E27FC236}">
                  <a16:creationId xmlns:a16="http://schemas.microsoft.com/office/drawing/2014/main" id="{9A78212A-CC0A-4F53-8D14-94EB423CB31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2304391"/>
              <a:ext cx="203181" cy="247062"/>
            </a:xfrm>
            <a:prstGeom prst="rect">
              <a:avLst/>
            </a:prstGeom>
          </p:spPr>
        </p:pic>
        <p:pic>
          <p:nvPicPr>
            <p:cNvPr id="150" name="Graphic 149" descr="Man">
              <a:extLst>
                <a:ext uri="{FF2B5EF4-FFF2-40B4-BE49-F238E27FC236}">
                  <a16:creationId xmlns:a16="http://schemas.microsoft.com/office/drawing/2014/main" id="{B1E4E0A4-3BDA-4447-8A32-3E7E6CA0D74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2304391"/>
              <a:ext cx="203181" cy="247062"/>
            </a:xfrm>
            <a:prstGeom prst="rect">
              <a:avLst/>
            </a:prstGeom>
          </p:spPr>
        </p:pic>
        <p:pic>
          <p:nvPicPr>
            <p:cNvPr id="151" name="Graphic 150" descr="Woman">
              <a:extLst>
                <a:ext uri="{FF2B5EF4-FFF2-40B4-BE49-F238E27FC236}">
                  <a16:creationId xmlns:a16="http://schemas.microsoft.com/office/drawing/2014/main" id="{82597603-5D2C-43F6-A044-EF7B518FA4D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2304391"/>
              <a:ext cx="203181" cy="247062"/>
            </a:xfrm>
            <a:prstGeom prst="rect">
              <a:avLst/>
            </a:prstGeom>
          </p:spPr>
        </p:pic>
        <p:pic>
          <p:nvPicPr>
            <p:cNvPr id="152" name="Graphic 151" descr="Man">
              <a:extLst>
                <a:ext uri="{FF2B5EF4-FFF2-40B4-BE49-F238E27FC236}">
                  <a16:creationId xmlns:a16="http://schemas.microsoft.com/office/drawing/2014/main" id="{BA016A96-C95E-48B3-8952-90540D3E069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2304391"/>
              <a:ext cx="203181" cy="247062"/>
            </a:xfrm>
            <a:prstGeom prst="rect">
              <a:avLst/>
            </a:prstGeom>
          </p:spPr>
        </p:pic>
        <p:pic>
          <p:nvPicPr>
            <p:cNvPr id="153" name="Graphic 152" descr="Woman">
              <a:extLst>
                <a:ext uri="{FF2B5EF4-FFF2-40B4-BE49-F238E27FC236}">
                  <a16:creationId xmlns:a16="http://schemas.microsoft.com/office/drawing/2014/main" id="{384FDA71-958A-4573-B901-235CB8FCD84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2304391"/>
              <a:ext cx="203181" cy="247062"/>
            </a:xfrm>
            <a:prstGeom prst="rect">
              <a:avLst/>
            </a:prstGeom>
          </p:spPr>
        </p:pic>
        <p:pic>
          <p:nvPicPr>
            <p:cNvPr id="154" name="Graphic 153" descr="Man">
              <a:extLst>
                <a:ext uri="{FF2B5EF4-FFF2-40B4-BE49-F238E27FC236}">
                  <a16:creationId xmlns:a16="http://schemas.microsoft.com/office/drawing/2014/main" id="{3B20BB31-4B47-4F26-9A3E-64F6DC2ADFE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2304391"/>
              <a:ext cx="203181" cy="247062"/>
            </a:xfrm>
            <a:prstGeom prst="rect">
              <a:avLst/>
            </a:prstGeom>
          </p:spPr>
        </p:pic>
        <p:pic>
          <p:nvPicPr>
            <p:cNvPr id="155" name="Graphic 154" descr="Woman">
              <a:extLst>
                <a:ext uri="{FF2B5EF4-FFF2-40B4-BE49-F238E27FC236}">
                  <a16:creationId xmlns:a16="http://schemas.microsoft.com/office/drawing/2014/main" id="{094A47C6-78F3-456C-A3AA-31AD6358592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2304391"/>
              <a:ext cx="203181" cy="247062"/>
            </a:xfrm>
            <a:prstGeom prst="rect">
              <a:avLst/>
            </a:prstGeom>
          </p:spPr>
        </p:pic>
        <p:pic>
          <p:nvPicPr>
            <p:cNvPr id="161" name="Graphic 160" descr="Man">
              <a:extLst>
                <a:ext uri="{FF2B5EF4-FFF2-40B4-BE49-F238E27FC236}">
                  <a16:creationId xmlns:a16="http://schemas.microsoft.com/office/drawing/2014/main" id="{294F568B-CB6D-474E-843A-F3945F8DA2B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2557172"/>
              <a:ext cx="203181" cy="247062"/>
            </a:xfrm>
            <a:prstGeom prst="rect">
              <a:avLst/>
            </a:prstGeom>
          </p:spPr>
        </p:pic>
        <p:pic>
          <p:nvPicPr>
            <p:cNvPr id="162" name="Graphic 161" descr="Woman">
              <a:extLst>
                <a:ext uri="{FF2B5EF4-FFF2-40B4-BE49-F238E27FC236}">
                  <a16:creationId xmlns:a16="http://schemas.microsoft.com/office/drawing/2014/main" id="{1B3F8821-8E4B-43B3-B7FE-3A597FB131A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2557172"/>
              <a:ext cx="203181" cy="247062"/>
            </a:xfrm>
            <a:prstGeom prst="rect">
              <a:avLst/>
            </a:prstGeom>
          </p:spPr>
        </p:pic>
        <p:pic>
          <p:nvPicPr>
            <p:cNvPr id="163" name="Graphic 162" descr="Man">
              <a:extLst>
                <a:ext uri="{FF2B5EF4-FFF2-40B4-BE49-F238E27FC236}">
                  <a16:creationId xmlns:a16="http://schemas.microsoft.com/office/drawing/2014/main" id="{260263AB-837E-4E29-BB31-7F7A54DCB58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2557172"/>
              <a:ext cx="203181" cy="247062"/>
            </a:xfrm>
            <a:prstGeom prst="rect">
              <a:avLst/>
            </a:prstGeom>
          </p:spPr>
        </p:pic>
        <p:pic>
          <p:nvPicPr>
            <p:cNvPr id="164" name="Graphic 163" descr="Woman">
              <a:extLst>
                <a:ext uri="{FF2B5EF4-FFF2-40B4-BE49-F238E27FC236}">
                  <a16:creationId xmlns:a16="http://schemas.microsoft.com/office/drawing/2014/main" id="{EBDB0503-1005-4F1E-90D3-BC73B7E7EA1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2557172"/>
              <a:ext cx="203181" cy="247062"/>
            </a:xfrm>
            <a:prstGeom prst="rect">
              <a:avLst/>
            </a:prstGeom>
          </p:spPr>
        </p:pic>
        <p:pic>
          <p:nvPicPr>
            <p:cNvPr id="165" name="Graphic 164" descr="Man">
              <a:extLst>
                <a:ext uri="{FF2B5EF4-FFF2-40B4-BE49-F238E27FC236}">
                  <a16:creationId xmlns:a16="http://schemas.microsoft.com/office/drawing/2014/main" id="{94453E5C-BAF9-487E-9A89-2864DD9716E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2557172"/>
              <a:ext cx="203181" cy="247062"/>
            </a:xfrm>
            <a:prstGeom prst="rect">
              <a:avLst/>
            </a:prstGeom>
          </p:spPr>
        </p:pic>
        <p:pic>
          <p:nvPicPr>
            <p:cNvPr id="166" name="Graphic 165" descr="Woman">
              <a:extLst>
                <a:ext uri="{FF2B5EF4-FFF2-40B4-BE49-F238E27FC236}">
                  <a16:creationId xmlns:a16="http://schemas.microsoft.com/office/drawing/2014/main" id="{24BF3B1D-118F-4B97-A131-8C6054E4252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2557172"/>
              <a:ext cx="203181" cy="247062"/>
            </a:xfrm>
            <a:prstGeom prst="rect">
              <a:avLst/>
            </a:prstGeom>
          </p:spPr>
        </p:pic>
        <p:pic>
          <p:nvPicPr>
            <p:cNvPr id="167" name="Graphic 166" descr="Man">
              <a:extLst>
                <a:ext uri="{FF2B5EF4-FFF2-40B4-BE49-F238E27FC236}">
                  <a16:creationId xmlns:a16="http://schemas.microsoft.com/office/drawing/2014/main" id="{34C67900-F5F7-4ACF-B923-48F0726D3E2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2557172"/>
              <a:ext cx="203181" cy="247062"/>
            </a:xfrm>
            <a:prstGeom prst="rect">
              <a:avLst/>
            </a:prstGeom>
          </p:spPr>
        </p:pic>
        <p:pic>
          <p:nvPicPr>
            <p:cNvPr id="168" name="Graphic 167" descr="Woman">
              <a:extLst>
                <a:ext uri="{FF2B5EF4-FFF2-40B4-BE49-F238E27FC236}">
                  <a16:creationId xmlns:a16="http://schemas.microsoft.com/office/drawing/2014/main" id="{FDBCA8F9-3D93-4B97-82E9-A162C14C9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2557172"/>
              <a:ext cx="203181" cy="247062"/>
            </a:xfrm>
            <a:prstGeom prst="rect">
              <a:avLst/>
            </a:prstGeom>
          </p:spPr>
        </p:pic>
        <p:pic>
          <p:nvPicPr>
            <p:cNvPr id="169" name="Graphic 168" descr="Man">
              <a:extLst>
                <a:ext uri="{FF2B5EF4-FFF2-40B4-BE49-F238E27FC236}">
                  <a16:creationId xmlns:a16="http://schemas.microsoft.com/office/drawing/2014/main" id="{999899B6-3652-4455-A154-BD7F6C5D2A7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2557172"/>
              <a:ext cx="203181" cy="247062"/>
            </a:xfrm>
            <a:prstGeom prst="rect">
              <a:avLst/>
            </a:prstGeom>
          </p:spPr>
        </p:pic>
        <p:pic>
          <p:nvPicPr>
            <p:cNvPr id="170" name="Graphic 169" descr="Woman">
              <a:extLst>
                <a:ext uri="{FF2B5EF4-FFF2-40B4-BE49-F238E27FC236}">
                  <a16:creationId xmlns:a16="http://schemas.microsoft.com/office/drawing/2014/main" id="{C3E9AAA5-4B0F-4ED2-A088-0B500B90B25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2557172"/>
              <a:ext cx="203181" cy="247062"/>
            </a:xfrm>
            <a:prstGeom prst="rect">
              <a:avLst/>
            </a:prstGeom>
          </p:spPr>
        </p:pic>
        <p:pic>
          <p:nvPicPr>
            <p:cNvPr id="171" name="Graphic 170" descr="Man">
              <a:extLst>
                <a:ext uri="{FF2B5EF4-FFF2-40B4-BE49-F238E27FC236}">
                  <a16:creationId xmlns:a16="http://schemas.microsoft.com/office/drawing/2014/main" id="{EBF7DAAE-73ED-43F7-A070-D3B5AC9EE17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2557172"/>
              <a:ext cx="203181" cy="247062"/>
            </a:xfrm>
            <a:prstGeom prst="rect">
              <a:avLst/>
            </a:prstGeom>
          </p:spPr>
        </p:pic>
        <p:pic>
          <p:nvPicPr>
            <p:cNvPr id="172" name="Graphic 171" descr="Woman">
              <a:extLst>
                <a:ext uri="{FF2B5EF4-FFF2-40B4-BE49-F238E27FC236}">
                  <a16:creationId xmlns:a16="http://schemas.microsoft.com/office/drawing/2014/main" id="{493DD7C0-70AC-415E-82B0-3936467FDF7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2557172"/>
              <a:ext cx="203181" cy="247062"/>
            </a:xfrm>
            <a:prstGeom prst="rect">
              <a:avLst/>
            </a:prstGeom>
          </p:spPr>
        </p:pic>
        <p:pic>
          <p:nvPicPr>
            <p:cNvPr id="173" name="Graphic 172" descr="Man">
              <a:extLst>
                <a:ext uri="{FF2B5EF4-FFF2-40B4-BE49-F238E27FC236}">
                  <a16:creationId xmlns:a16="http://schemas.microsoft.com/office/drawing/2014/main" id="{850BECC1-3EE6-4E95-A563-43C4AEEB9AA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2557172"/>
              <a:ext cx="203181" cy="247062"/>
            </a:xfrm>
            <a:prstGeom prst="rect">
              <a:avLst/>
            </a:prstGeom>
          </p:spPr>
        </p:pic>
        <p:pic>
          <p:nvPicPr>
            <p:cNvPr id="174" name="Graphic 173" descr="Woman">
              <a:extLst>
                <a:ext uri="{FF2B5EF4-FFF2-40B4-BE49-F238E27FC236}">
                  <a16:creationId xmlns:a16="http://schemas.microsoft.com/office/drawing/2014/main" id="{83C059C9-80BE-46F4-AD55-D82D2E4D5F4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2557172"/>
              <a:ext cx="203181" cy="247062"/>
            </a:xfrm>
            <a:prstGeom prst="rect">
              <a:avLst/>
            </a:prstGeom>
          </p:spPr>
        </p:pic>
        <p:pic>
          <p:nvPicPr>
            <p:cNvPr id="175" name="Graphic 174" descr="Man">
              <a:extLst>
                <a:ext uri="{FF2B5EF4-FFF2-40B4-BE49-F238E27FC236}">
                  <a16:creationId xmlns:a16="http://schemas.microsoft.com/office/drawing/2014/main" id="{1109859C-8D12-46BD-A3EB-972250BD14E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2557172"/>
              <a:ext cx="203181" cy="247062"/>
            </a:xfrm>
            <a:prstGeom prst="rect">
              <a:avLst/>
            </a:prstGeom>
          </p:spPr>
        </p:pic>
        <p:pic>
          <p:nvPicPr>
            <p:cNvPr id="176" name="Graphic 175" descr="Woman">
              <a:extLst>
                <a:ext uri="{FF2B5EF4-FFF2-40B4-BE49-F238E27FC236}">
                  <a16:creationId xmlns:a16="http://schemas.microsoft.com/office/drawing/2014/main" id="{F7DF567D-7BCD-47B8-BD51-9CFEEEDC064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2557172"/>
              <a:ext cx="203181" cy="247062"/>
            </a:xfrm>
            <a:prstGeom prst="rect">
              <a:avLst/>
            </a:prstGeom>
          </p:spPr>
        </p:pic>
        <p:pic>
          <p:nvPicPr>
            <p:cNvPr id="177" name="Graphic 176" descr="Man">
              <a:extLst>
                <a:ext uri="{FF2B5EF4-FFF2-40B4-BE49-F238E27FC236}">
                  <a16:creationId xmlns:a16="http://schemas.microsoft.com/office/drawing/2014/main" id="{87F0563A-704A-466C-AB26-9063C2679B6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2557172"/>
              <a:ext cx="203181" cy="247062"/>
            </a:xfrm>
            <a:prstGeom prst="rect">
              <a:avLst/>
            </a:prstGeom>
          </p:spPr>
        </p:pic>
        <p:pic>
          <p:nvPicPr>
            <p:cNvPr id="178" name="Graphic 177" descr="Woman">
              <a:extLst>
                <a:ext uri="{FF2B5EF4-FFF2-40B4-BE49-F238E27FC236}">
                  <a16:creationId xmlns:a16="http://schemas.microsoft.com/office/drawing/2014/main" id="{84A12558-755F-4CDC-94DF-1E86CB8677E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2557172"/>
              <a:ext cx="203181" cy="247062"/>
            </a:xfrm>
            <a:prstGeom prst="rect">
              <a:avLst/>
            </a:prstGeom>
          </p:spPr>
        </p:pic>
        <p:pic>
          <p:nvPicPr>
            <p:cNvPr id="230" name="Graphic 229" descr="Man">
              <a:extLst>
                <a:ext uri="{FF2B5EF4-FFF2-40B4-BE49-F238E27FC236}">
                  <a16:creationId xmlns:a16="http://schemas.microsoft.com/office/drawing/2014/main" id="{3EEC8CCF-A79A-429B-B7C6-14AC90FF315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2804234"/>
              <a:ext cx="203181" cy="247062"/>
            </a:xfrm>
            <a:prstGeom prst="rect">
              <a:avLst/>
            </a:prstGeom>
          </p:spPr>
        </p:pic>
        <p:pic>
          <p:nvPicPr>
            <p:cNvPr id="231" name="Graphic 230" descr="Woman">
              <a:extLst>
                <a:ext uri="{FF2B5EF4-FFF2-40B4-BE49-F238E27FC236}">
                  <a16:creationId xmlns:a16="http://schemas.microsoft.com/office/drawing/2014/main" id="{7671C8CC-2569-472F-A188-F38601A388B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2804234"/>
              <a:ext cx="203181" cy="247062"/>
            </a:xfrm>
            <a:prstGeom prst="rect">
              <a:avLst/>
            </a:prstGeom>
          </p:spPr>
        </p:pic>
        <p:pic>
          <p:nvPicPr>
            <p:cNvPr id="232" name="Graphic 231" descr="Man">
              <a:extLst>
                <a:ext uri="{FF2B5EF4-FFF2-40B4-BE49-F238E27FC236}">
                  <a16:creationId xmlns:a16="http://schemas.microsoft.com/office/drawing/2014/main" id="{AD4B89FB-320C-4BD2-BCBF-E856BB35F17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2804234"/>
              <a:ext cx="203181" cy="247062"/>
            </a:xfrm>
            <a:prstGeom prst="rect">
              <a:avLst/>
            </a:prstGeom>
          </p:spPr>
        </p:pic>
        <p:pic>
          <p:nvPicPr>
            <p:cNvPr id="233" name="Graphic 232" descr="Woman">
              <a:extLst>
                <a:ext uri="{FF2B5EF4-FFF2-40B4-BE49-F238E27FC236}">
                  <a16:creationId xmlns:a16="http://schemas.microsoft.com/office/drawing/2014/main" id="{73647323-5C6B-4CF8-87A7-D169DA78E5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2804234"/>
              <a:ext cx="203181" cy="247062"/>
            </a:xfrm>
            <a:prstGeom prst="rect">
              <a:avLst/>
            </a:prstGeom>
          </p:spPr>
        </p:pic>
        <p:pic>
          <p:nvPicPr>
            <p:cNvPr id="234" name="Graphic 233" descr="Man">
              <a:extLst>
                <a:ext uri="{FF2B5EF4-FFF2-40B4-BE49-F238E27FC236}">
                  <a16:creationId xmlns:a16="http://schemas.microsoft.com/office/drawing/2014/main" id="{8C62A4A0-CD3F-48DE-AEDB-B0BFB1BAD52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2804234"/>
              <a:ext cx="203181" cy="247062"/>
            </a:xfrm>
            <a:prstGeom prst="rect">
              <a:avLst/>
            </a:prstGeom>
          </p:spPr>
        </p:pic>
        <p:pic>
          <p:nvPicPr>
            <p:cNvPr id="235" name="Graphic 234" descr="Woman">
              <a:extLst>
                <a:ext uri="{FF2B5EF4-FFF2-40B4-BE49-F238E27FC236}">
                  <a16:creationId xmlns:a16="http://schemas.microsoft.com/office/drawing/2014/main" id="{277B9BA3-068C-472D-92BF-DF3239B2B3F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2804234"/>
              <a:ext cx="203181" cy="247062"/>
            </a:xfrm>
            <a:prstGeom prst="rect">
              <a:avLst/>
            </a:prstGeom>
          </p:spPr>
        </p:pic>
        <p:pic>
          <p:nvPicPr>
            <p:cNvPr id="236" name="Graphic 235" descr="Man">
              <a:extLst>
                <a:ext uri="{FF2B5EF4-FFF2-40B4-BE49-F238E27FC236}">
                  <a16:creationId xmlns:a16="http://schemas.microsoft.com/office/drawing/2014/main" id="{32CA9087-F42F-4F04-ADA9-E948E75865D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2804234"/>
              <a:ext cx="203181" cy="247062"/>
            </a:xfrm>
            <a:prstGeom prst="rect">
              <a:avLst/>
            </a:prstGeom>
          </p:spPr>
        </p:pic>
        <p:pic>
          <p:nvPicPr>
            <p:cNvPr id="237" name="Graphic 236" descr="Woman">
              <a:extLst>
                <a:ext uri="{FF2B5EF4-FFF2-40B4-BE49-F238E27FC236}">
                  <a16:creationId xmlns:a16="http://schemas.microsoft.com/office/drawing/2014/main" id="{4F93F759-D171-43E5-AE11-A2EC7B7A6C8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2804234"/>
              <a:ext cx="203181" cy="247062"/>
            </a:xfrm>
            <a:prstGeom prst="rect">
              <a:avLst/>
            </a:prstGeom>
          </p:spPr>
        </p:pic>
        <p:pic>
          <p:nvPicPr>
            <p:cNvPr id="238" name="Graphic 237" descr="Man">
              <a:extLst>
                <a:ext uri="{FF2B5EF4-FFF2-40B4-BE49-F238E27FC236}">
                  <a16:creationId xmlns:a16="http://schemas.microsoft.com/office/drawing/2014/main" id="{2659E204-4328-4AFB-BE9F-A930177D0D6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2804234"/>
              <a:ext cx="203181" cy="247062"/>
            </a:xfrm>
            <a:prstGeom prst="rect">
              <a:avLst/>
            </a:prstGeom>
          </p:spPr>
        </p:pic>
        <p:pic>
          <p:nvPicPr>
            <p:cNvPr id="239" name="Graphic 238" descr="Woman">
              <a:extLst>
                <a:ext uri="{FF2B5EF4-FFF2-40B4-BE49-F238E27FC236}">
                  <a16:creationId xmlns:a16="http://schemas.microsoft.com/office/drawing/2014/main" id="{FA6A2CC9-7C49-4E8F-B422-11C441CAAF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2804234"/>
              <a:ext cx="203181" cy="247062"/>
            </a:xfrm>
            <a:prstGeom prst="rect">
              <a:avLst/>
            </a:prstGeom>
          </p:spPr>
        </p:pic>
        <p:pic>
          <p:nvPicPr>
            <p:cNvPr id="240" name="Graphic 239" descr="Man">
              <a:extLst>
                <a:ext uri="{FF2B5EF4-FFF2-40B4-BE49-F238E27FC236}">
                  <a16:creationId xmlns:a16="http://schemas.microsoft.com/office/drawing/2014/main" id="{F14F9804-FFF1-424B-B110-392C25EC8B4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2804234"/>
              <a:ext cx="203181" cy="247062"/>
            </a:xfrm>
            <a:prstGeom prst="rect">
              <a:avLst/>
            </a:prstGeom>
          </p:spPr>
        </p:pic>
        <p:pic>
          <p:nvPicPr>
            <p:cNvPr id="241" name="Graphic 240" descr="Woman">
              <a:extLst>
                <a:ext uri="{FF2B5EF4-FFF2-40B4-BE49-F238E27FC236}">
                  <a16:creationId xmlns:a16="http://schemas.microsoft.com/office/drawing/2014/main" id="{AE301566-7A8F-4371-88B8-40410048AB7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2804234"/>
              <a:ext cx="203181" cy="247062"/>
            </a:xfrm>
            <a:prstGeom prst="rect">
              <a:avLst/>
            </a:prstGeom>
          </p:spPr>
        </p:pic>
        <p:pic>
          <p:nvPicPr>
            <p:cNvPr id="242" name="Graphic 241" descr="Man">
              <a:extLst>
                <a:ext uri="{FF2B5EF4-FFF2-40B4-BE49-F238E27FC236}">
                  <a16:creationId xmlns:a16="http://schemas.microsoft.com/office/drawing/2014/main" id="{F9E12AEB-F6EF-4BE1-B93B-6769448A57D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2804234"/>
              <a:ext cx="203181" cy="247062"/>
            </a:xfrm>
            <a:prstGeom prst="rect">
              <a:avLst/>
            </a:prstGeom>
          </p:spPr>
        </p:pic>
        <p:pic>
          <p:nvPicPr>
            <p:cNvPr id="243" name="Graphic 242" descr="Woman">
              <a:extLst>
                <a:ext uri="{FF2B5EF4-FFF2-40B4-BE49-F238E27FC236}">
                  <a16:creationId xmlns:a16="http://schemas.microsoft.com/office/drawing/2014/main" id="{209AF0BE-8B98-4155-B764-DCA873B13E4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2804234"/>
              <a:ext cx="203181" cy="247062"/>
            </a:xfrm>
            <a:prstGeom prst="rect">
              <a:avLst/>
            </a:prstGeom>
          </p:spPr>
        </p:pic>
        <p:pic>
          <p:nvPicPr>
            <p:cNvPr id="244" name="Graphic 243" descr="Man">
              <a:extLst>
                <a:ext uri="{FF2B5EF4-FFF2-40B4-BE49-F238E27FC236}">
                  <a16:creationId xmlns:a16="http://schemas.microsoft.com/office/drawing/2014/main" id="{5EF5FC05-EA8F-4F59-8A9D-D103CE81771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2804234"/>
              <a:ext cx="203181" cy="247062"/>
            </a:xfrm>
            <a:prstGeom prst="rect">
              <a:avLst/>
            </a:prstGeom>
          </p:spPr>
        </p:pic>
        <p:pic>
          <p:nvPicPr>
            <p:cNvPr id="245" name="Graphic 244" descr="Woman">
              <a:extLst>
                <a:ext uri="{FF2B5EF4-FFF2-40B4-BE49-F238E27FC236}">
                  <a16:creationId xmlns:a16="http://schemas.microsoft.com/office/drawing/2014/main" id="{3F47A313-551D-45D8-B76F-4090DAC2E77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2804234"/>
              <a:ext cx="203181" cy="247062"/>
            </a:xfrm>
            <a:prstGeom prst="rect">
              <a:avLst/>
            </a:prstGeom>
          </p:spPr>
        </p:pic>
        <p:pic>
          <p:nvPicPr>
            <p:cNvPr id="246" name="Graphic 245" descr="Man">
              <a:extLst>
                <a:ext uri="{FF2B5EF4-FFF2-40B4-BE49-F238E27FC236}">
                  <a16:creationId xmlns:a16="http://schemas.microsoft.com/office/drawing/2014/main" id="{A58E8967-E0BC-4539-BF27-2D8A1667BA9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2804234"/>
              <a:ext cx="203181" cy="247062"/>
            </a:xfrm>
            <a:prstGeom prst="rect">
              <a:avLst/>
            </a:prstGeom>
          </p:spPr>
        </p:pic>
        <p:pic>
          <p:nvPicPr>
            <p:cNvPr id="247" name="Graphic 246" descr="Woman">
              <a:extLst>
                <a:ext uri="{FF2B5EF4-FFF2-40B4-BE49-F238E27FC236}">
                  <a16:creationId xmlns:a16="http://schemas.microsoft.com/office/drawing/2014/main" id="{44A15E95-0A38-42A7-8D21-7A321153DB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2804234"/>
              <a:ext cx="203181" cy="247062"/>
            </a:xfrm>
            <a:prstGeom prst="rect">
              <a:avLst/>
            </a:prstGeom>
          </p:spPr>
        </p:pic>
        <p:pic>
          <p:nvPicPr>
            <p:cNvPr id="253" name="Graphic 252" descr="Man">
              <a:extLst>
                <a:ext uri="{FF2B5EF4-FFF2-40B4-BE49-F238E27FC236}">
                  <a16:creationId xmlns:a16="http://schemas.microsoft.com/office/drawing/2014/main" id="{5ACE52C9-D4D2-470C-9AE5-9C3E73911E9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3051297"/>
              <a:ext cx="203181" cy="247062"/>
            </a:xfrm>
            <a:prstGeom prst="rect">
              <a:avLst/>
            </a:prstGeom>
          </p:spPr>
        </p:pic>
        <p:pic>
          <p:nvPicPr>
            <p:cNvPr id="254" name="Graphic 253" descr="Woman">
              <a:extLst>
                <a:ext uri="{FF2B5EF4-FFF2-40B4-BE49-F238E27FC236}">
                  <a16:creationId xmlns:a16="http://schemas.microsoft.com/office/drawing/2014/main" id="{F248AEDD-4829-43FE-87D9-EDA200E24AE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3051297"/>
              <a:ext cx="203181" cy="247062"/>
            </a:xfrm>
            <a:prstGeom prst="rect">
              <a:avLst/>
            </a:prstGeom>
          </p:spPr>
        </p:pic>
        <p:pic>
          <p:nvPicPr>
            <p:cNvPr id="255" name="Graphic 254" descr="Man">
              <a:extLst>
                <a:ext uri="{FF2B5EF4-FFF2-40B4-BE49-F238E27FC236}">
                  <a16:creationId xmlns:a16="http://schemas.microsoft.com/office/drawing/2014/main" id="{E3314F5B-6091-422C-8AB5-35926B8D657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3051297"/>
              <a:ext cx="203181" cy="247062"/>
            </a:xfrm>
            <a:prstGeom prst="rect">
              <a:avLst/>
            </a:prstGeom>
          </p:spPr>
        </p:pic>
        <p:pic>
          <p:nvPicPr>
            <p:cNvPr id="256" name="Graphic 255" descr="Woman">
              <a:extLst>
                <a:ext uri="{FF2B5EF4-FFF2-40B4-BE49-F238E27FC236}">
                  <a16:creationId xmlns:a16="http://schemas.microsoft.com/office/drawing/2014/main" id="{E69D957D-734F-4A5B-8C56-3231206CF29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3051297"/>
              <a:ext cx="203181" cy="247062"/>
            </a:xfrm>
            <a:prstGeom prst="rect">
              <a:avLst/>
            </a:prstGeom>
          </p:spPr>
        </p:pic>
        <p:pic>
          <p:nvPicPr>
            <p:cNvPr id="257" name="Graphic 256" descr="Man">
              <a:extLst>
                <a:ext uri="{FF2B5EF4-FFF2-40B4-BE49-F238E27FC236}">
                  <a16:creationId xmlns:a16="http://schemas.microsoft.com/office/drawing/2014/main" id="{263A4D33-BA29-4A5C-980C-1EEFE22BF53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3051297"/>
              <a:ext cx="203181" cy="247062"/>
            </a:xfrm>
            <a:prstGeom prst="rect">
              <a:avLst/>
            </a:prstGeom>
          </p:spPr>
        </p:pic>
        <p:pic>
          <p:nvPicPr>
            <p:cNvPr id="258" name="Graphic 257" descr="Woman">
              <a:extLst>
                <a:ext uri="{FF2B5EF4-FFF2-40B4-BE49-F238E27FC236}">
                  <a16:creationId xmlns:a16="http://schemas.microsoft.com/office/drawing/2014/main" id="{BB232437-F846-4116-AFFC-05232536DE2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3051297"/>
              <a:ext cx="203181" cy="247062"/>
            </a:xfrm>
            <a:prstGeom prst="rect">
              <a:avLst/>
            </a:prstGeom>
          </p:spPr>
        </p:pic>
        <p:pic>
          <p:nvPicPr>
            <p:cNvPr id="259" name="Graphic 258" descr="Man">
              <a:extLst>
                <a:ext uri="{FF2B5EF4-FFF2-40B4-BE49-F238E27FC236}">
                  <a16:creationId xmlns:a16="http://schemas.microsoft.com/office/drawing/2014/main" id="{1B3F2C50-806C-41EF-9970-14625B2B735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3051297"/>
              <a:ext cx="203181" cy="247062"/>
            </a:xfrm>
            <a:prstGeom prst="rect">
              <a:avLst/>
            </a:prstGeom>
          </p:spPr>
        </p:pic>
        <p:pic>
          <p:nvPicPr>
            <p:cNvPr id="260" name="Graphic 259" descr="Woman">
              <a:extLst>
                <a:ext uri="{FF2B5EF4-FFF2-40B4-BE49-F238E27FC236}">
                  <a16:creationId xmlns:a16="http://schemas.microsoft.com/office/drawing/2014/main" id="{4CA7FA3E-D139-480E-8F11-F63E504BBDF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3051297"/>
              <a:ext cx="203181" cy="247062"/>
            </a:xfrm>
            <a:prstGeom prst="rect">
              <a:avLst/>
            </a:prstGeom>
          </p:spPr>
        </p:pic>
        <p:pic>
          <p:nvPicPr>
            <p:cNvPr id="261" name="Graphic 260" descr="Man">
              <a:extLst>
                <a:ext uri="{FF2B5EF4-FFF2-40B4-BE49-F238E27FC236}">
                  <a16:creationId xmlns:a16="http://schemas.microsoft.com/office/drawing/2014/main" id="{797510A4-1915-4C54-8123-DCAD1D04396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3051297"/>
              <a:ext cx="203181" cy="247062"/>
            </a:xfrm>
            <a:prstGeom prst="rect">
              <a:avLst/>
            </a:prstGeom>
          </p:spPr>
        </p:pic>
        <p:pic>
          <p:nvPicPr>
            <p:cNvPr id="262" name="Graphic 261" descr="Woman">
              <a:extLst>
                <a:ext uri="{FF2B5EF4-FFF2-40B4-BE49-F238E27FC236}">
                  <a16:creationId xmlns:a16="http://schemas.microsoft.com/office/drawing/2014/main" id="{616092AB-D79F-4355-AEBD-1EF22CA95F7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3051297"/>
              <a:ext cx="203181" cy="247062"/>
            </a:xfrm>
            <a:prstGeom prst="rect">
              <a:avLst/>
            </a:prstGeom>
          </p:spPr>
        </p:pic>
        <p:pic>
          <p:nvPicPr>
            <p:cNvPr id="263" name="Graphic 262" descr="Man">
              <a:extLst>
                <a:ext uri="{FF2B5EF4-FFF2-40B4-BE49-F238E27FC236}">
                  <a16:creationId xmlns:a16="http://schemas.microsoft.com/office/drawing/2014/main" id="{89C17AEB-1794-4240-B223-CB2890A2DB3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3051297"/>
              <a:ext cx="203181" cy="247062"/>
            </a:xfrm>
            <a:prstGeom prst="rect">
              <a:avLst/>
            </a:prstGeom>
          </p:spPr>
        </p:pic>
        <p:pic>
          <p:nvPicPr>
            <p:cNvPr id="264" name="Graphic 263" descr="Woman">
              <a:extLst>
                <a:ext uri="{FF2B5EF4-FFF2-40B4-BE49-F238E27FC236}">
                  <a16:creationId xmlns:a16="http://schemas.microsoft.com/office/drawing/2014/main" id="{768C8A42-C73A-4C90-A4EB-31EE0CF93BB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3051297"/>
              <a:ext cx="203181" cy="247062"/>
            </a:xfrm>
            <a:prstGeom prst="rect">
              <a:avLst/>
            </a:prstGeom>
          </p:spPr>
        </p:pic>
        <p:pic>
          <p:nvPicPr>
            <p:cNvPr id="265" name="Graphic 264" descr="Man">
              <a:extLst>
                <a:ext uri="{FF2B5EF4-FFF2-40B4-BE49-F238E27FC236}">
                  <a16:creationId xmlns:a16="http://schemas.microsoft.com/office/drawing/2014/main" id="{077A576B-3511-46D2-9F0E-B3910BEC16C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3051297"/>
              <a:ext cx="203181" cy="247062"/>
            </a:xfrm>
            <a:prstGeom prst="rect">
              <a:avLst/>
            </a:prstGeom>
          </p:spPr>
        </p:pic>
        <p:pic>
          <p:nvPicPr>
            <p:cNvPr id="266" name="Graphic 265" descr="Woman">
              <a:extLst>
                <a:ext uri="{FF2B5EF4-FFF2-40B4-BE49-F238E27FC236}">
                  <a16:creationId xmlns:a16="http://schemas.microsoft.com/office/drawing/2014/main" id="{0B0875EF-EAC5-4DA9-8565-E712F46D62C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3051297"/>
              <a:ext cx="203181" cy="247062"/>
            </a:xfrm>
            <a:prstGeom prst="rect">
              <a:avLst/>
            </a:prstGeom>
          </p:spPr>
        </p:pic>
        <p:pic>
          <p:nvPicPr>
            <p:cNvPr id="267" name="Graphic 266" descr="Man">
              <a:extLst>
                <a:ext uri="{FF2B5EF4-FFF2-40B4-BE49-F238E27FC236}">
                  <a16:creationId xmlns:a16="http://schemas.microsoft.com/office/drawing/2014/main" id="{D1EA7F4D-26B2-443D-92D0-BAAA9B7BB3C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3051297"/>
              <a:ext cx="203181" cy="247062"/>
            </a:xfrm>
            <a:prstGeom prst="rect">
              <a:avLst/>
            </a:prstGeom>
          </p:spPr>
        </p:pic>
        <p:pic>
          <p:nvPicPr>
            <p:cNvPr id="268" name="Graphic 267" descr="Woman">
              <a:extLst>
                <a:ext uri="{FF2B5EF4-FFF2-40B4-BE49-F238E27FC236}">
                  <a16:creationId xmlns:a16="http://schemas.microsoft.com/office/drawing/2014/main" id="{7C04072C-43B8-460B-A888-3E60B47ED44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3051297"/>
              <a:ext cx="203181" cy="247062"/>
            </a:xfrm>
            <a:prstGeom prst="rect">
              <a:avLst/>
            </a:prstGeom>
          </p:spPr>
        </p:pic>
        <p:pic>
          <p:nvPicPr>
            <p:cNvPr id="269" name="Graphic 268" descr="Man">
              <a:extLst>
                <a:ext uri="{FF2B5EF4-FFF2-40B4-BE49-F238E27FC236}">
                  <a16:creationId xmlns:a16="http://schemas.microsoft.com/office/drawing/2014/main" id="{98109656-9FC7-4A30-84CD-CE963526CF4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3051297"/>
              <a:ext cx="203181" cy="247062"/>
            </a:xfrm>
            <a:prstGeom prst="rect">
              <a:avLst/>
            </a:prstGeom>
          </p:spPr>
        </p:pic>
        <p:pic>
          <p:nvPicPr>
            <p:cNvPr id="270" name="Graphic 269" descr="Woman">
              <a:extLst>
                <a:ext uri="{FF2B5EF4-FFF2-40B4-BE49-F238E27FC236}">
                  <a16:creationId xmlns:a16="http://schemas.microsoft.com/office/drawing/2014/main" id="{17663A80-B64F-4ABA-8531-68EB4CA7A93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3051297"/>
              <a:ext cx="203181" cy="247062"/>
            </a:xfrm>
            <a:prstGeom prst="rect">
              <a:avLst/>
            </a:prstGeom>
          </p:spPr>
        </p:pic>
        <p:pic>
          <p:nvPicPr>
            <p:cNvPr id="276" name="Graphic 275" descr="Man">
              <a:extLst>
                <a:ext uri="{FF2B5EF4-FFF2-40B4-BE49-F238E27FC236}">
                  <a16:creationId xmlns:a16="http://schemas.microsoft.com/office/drawing/2014/main" id="{2AB07263-F812-4A62-9716-CAE72FAFC01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3298360"/>
              <a:ext cx="203181" cy="247062"/>
            </a:xfrm>
            <a:prstGeom prst="rect">
              <a:avLst/>
            </a:prstGeom>
          </p:spPr>
        </p:pic>
        <p:pic>
          <p:nvPicPr>
            <p:cNvPr id="277" name="Graphic 276" descr="Woman">
              <a:extLst>
                <a:ext uri="{FF2B5EF4-FFF2-40B4-BE49-F238E27FC236}">
                  <a16:creationId xmlns:a16="http://schemas.microsoft.com/office/drawing/2014/main" id="{BC779858-7A2C-414C-A507-74F2CBB1693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3298360"/>
              <a:ext cx="203181" cy="247062"/>
            </a:xfrm>
            <a:prstGeom prst="rect">
              <a:avLst/>
            </a:prstGeom>
          </p:spPr>
        </p:pic>
        <p:pic>
          <p:nvPicPr>
            <p:cNvPr id="278" name="Graphic 277" descr="Man">
              <a:extLst>
                <a:ext uri="{FF2B5EF4-FFF2-40B4-BE49-F238E27FC236}">
                  <a16:creationId xmlns:a16="http://schemas.microsoft.com/office/drawing/2014/main" id="{D1A03C2F-2F22-4506-AB37-9EDAE370108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3298360"/>
              <a:ext cx="203181" cy="247062"/>
            </a:xfrm>
            <a:prstGeom prst="rect">
              <a:avLst/>
            </a:prstGeom>
          </p:spPr>
        </p:pic>
        <p:pic>
          <p:nvPicPr>
            <p:cNvPr id="279" name="Graphic 278" descr="Woman">
              <a:extLst>
                <a:ext uri="{FF2B5EF4-FFF2-40B4-BE49-F238E27FC236}">
                  <a16:creationId xmlns:a16="http://schemas.microsoft.com/office/drawing/2014/main" id="{C6B86A7E-A18C-4CFE-B82B-EEBF7C15DFE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3298360"/>
              <a:ext cx="203181" cy="247062"/>
            </a:xfrm>
            <a:prstGeom prst="rect">
              <a:avLst/>
            </a:prstGeom>
          </p:spPr>
        </p:pic>
        <p:pic>
          <p:nvPicPr>
            <p:cNvPr id="280" name="Graphic 279" descr="Man">
              <a:extLst>
                <a:ext uri="{FF2B5EF4-FFF2-40B4-BE49-F238E27FC236}">
                  <a16:creationId xmlns:a16="http://schemas.microsoft.com/office/drawing/2014/main" id="{60FD85BB-9DF4-4E16-A560-B7D7AC07284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3298360"/>
              <a:ext cx="203181" cy="247062"/>
            </a:xfrm>
            <a:prstGeom prst="rect">
              <a:avLst/>
            </a:prstGeom>
          </p:spPr>
        </p:pic>
        <p:pic>
          <p:nvPicPr>
            <p:cNvPr id="281" name="Graphic 280" descr="Woman">
              <a:extLst>
                <a:ext uri="{FF2B5EF4-FFF2-40B4-BE49-F238E27FC236}">
                  <a16:creationId xmlns:a16="http://schemas.microsoft.com/office/drawing/2014/main" id="{8386F482-FDD9-4CA3-AF2A-5B1D0DDC643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3298360"/>
              <a:ext cx="203181" cy="247062"/>
            </a:xfrm>
            <a:prstGeom prst="rect">
              <a:avLst/>
            </a:prstGeom>
          </p:spPr>
        </p:pic>
        <p:pic>
          <p:nvPicPr>
            <p:cNvPr id="282" name="Graphic 281" descr="Man">
              <a:extLst>
                <a:ext uri="{FF2B5EF4-FFF2-40B4-BE49-F238E27FC236}">
                  <a16:creationId xmlns:a16="http://schemas.microsoft.com/office/drawing/2014/main" id="{73855A3A-954C-4DF3-A71B-981E2622F9A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3298360"/>
              <a:ext cx="203181" cy="247062"/>
            </a:xfrm>
            <a:prstGeom prst="rect">
              <a:avLst/>
            </a:prstGeom>
          </p:spPr>
        </p:pic>
        <p:pic>
          <p:nvPicPr>
            <p:cNvPr id="283" name="Graphic 282" descr="Woman">
              <a:extLst>
                <a:ext uri="{FF2B5EF4-FFF2-40B4-BE49-F238E27FC236}">
                  <a16:creationId xmlns:a16="http://schemas.microsoft.com/office/drawing/2014/main" id="{88519F78-51E2-41D1-B3CE-BCC9D4077F0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3298360"/>
              <a:ext cx="203181" cy="247062"/>
            </a:xfrm>
            <a:prstGeom prst="rect">
              <a:avLst/>
            </a:prstGeom>
          </p:spPr>
        </p:pic>
        <p:pic>
          <p:nvPicPr>
            <p:cNvPr id="284" name="Graphic 283" descr="Man">
              <a:extLst>
                <a:ext uri="{FF2B5EF4-FFF2-40B4-BE49-F238E27FC236}">
                  <a16:creationId xmlns:a16="http://schemas.microsoft.com/office/drawing/2014/main" id="{A2FBA8C1-F52E-463B-A1B6-FB3B647EE67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3298360"/>
              <a:ext cx="203181" cy="247062"/>
            </a:xfrm>
            <a:prstGeom prst="rect">
              <a:avLst/>
            </a:prstGeom>
          </p:spPr>
        </p:pic>
        <p:pic>
          <p:nvPicPr>
            <p:cNvPr id="285" name="Graphic 284" descr="Woman">
              <a:extLst>
                <a:ext uri="{FF2B5EF4-FFF2-40B4-BE49-F238E27FC236}">
                  <a16:creationId xmlns:a16="http://schemas.microsoft.com/office/drawing/2014/main" id="{1F272D19-A78F-4234-B51C-A9DFE70CCBD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3298360"/>
              <a:ext cx="203181" cy="247062"/>
            </a:xfrm>
            <a:prstGeom prst="rect">
              <a:avLst/>
            </a:prstGeom>
          </p:spPr>
        </p:pic>
        <p:pic>
          <p:nvPicPr>
            <p:cNvPr id="286" name="Graphic 285" descr="Man">
              <a:extLst>
                <a:ext uri="{FF2B5EF4-FFF2-40B4-BE49-F238E27FC236}">
                  <a16:creationId xmlns:a16="http://schemas.microsoft.com/office/drawing/2014/main" id="{110E820F-83CA-402E-85EC-510B508A75E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3298360"/>
              <a:ext cx="203181" cy="247062"/>
            </a:xfrm>
            <a:prstGeom prst="rect">
              <a:avLst/>
            </a:prstGeom>
          </p:spPr>
        </p:pic>
        <p:pic>
          <p:nvPicPr>
            <p:cNvPr id="287" name="Graphic 286" descr="Woman">
              <a:extLst>
                <a:ext uri="{FF2B5EF4-FFF2-40B4-BE49-F238E27FC236}">
                  <a16:creationId xmlns:a16="http://schemas.microsoft.com/office/drawing/2014/main" id="{BC38894B-2057-4DBD-850B-E91D57F26B3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3298360"/>
              <a:ext cx="203181" cy="247062"/>
            </a:xfrm>
            <a:prstGeom prst="rect">
              <a:avLst/>
            </a:prstGeom>
          </p:spPr>
        </p:pic>
        <p:pic>
          <p:nvPicPr>
            <p:cNvPr id="288" name="Graphic 287" descr="Man">
              <a:extLst>
                <a:ext uri="{FF2B5EF4-FFF2-40B4-BE49-F238E27FC236}">
                  <a16:creationId xmlns:a16="http://schemas.microsoft.com/office/drawing/2014/main" id="{9B3F51A0-45A0-43B3-8401-1E9A4BCAF39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3298360"/>
              <a:ext cx="203181" cy="247062"/>
            </a:xfrm>
            <a:prstGeom prst="rect">
              <a:avLst/>
            </a:prstGeom>
          </p:spPr>
        </p:pic>
        <p:pic>
          <p:nvPicPr>
            <p:cNvPr id="289" name="Graphic 288" descr="Woman">
              <a:extLst>
                <a:ext uri="{FF2B5EF4-FFF2-40B4-BE49-F238E27FC236}">
                  <a16:creationId xmlns:a16="http://schemas.microsoft.com/office/drawing/2014/main" id="{7728AEB3-F6FD-405C-864E-DA0A596CBC8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3298360"/>
              <a:ext cx="203181" cy="247062"/>
            </a:xfrm>
            <a:prstGeom prst="rect">
              <a:avLst/>
            </a:prstGeom>
          </p:spPr>
        </p:pic>
        <p:pic>
          <p:nvPicPr>
            <p:cNvPr id="290" name="Graphic 289" descr="Man">
              <a:extLst>
                <a:ext uri="{FF2B5EF4-FFF2-40B4-BE49-F238E27FC236}">
                  <a16:creationId xmlns:a16="http://schemas.microsoft.com/office/drawing/2014/main" id="{1395DCE9-AEC9-4DF1-A013-AFBC4852392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3298360"/>
              <a:ext cx="203181" cy="247062"/>
            </a:xfrm>
            <a:prstGeom prst="rect">
              <a:avLst/>
            </a:prstGeom>
          </p:spPr>
        </p:pic>
        <p:pic>
          <p:nvPicPr>
            <p:cNvPr id="291" name="Graphic 290" descr="Woman">
              <a:extLst>
                <a:ext uri="{FF2B5EF4-FFF2-40B4-BE49-F238E27FC236}">
                  <a16:creationId xmlns:a16="http://schemas.microsoft.com/office/drawing/2014/main" id="{74FA64B3-CF93-4039-8BFB-9F0E2625D93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3298360"/>
              <a:ext cx="203181" cy="247062"/>
            </a:xfrm>
            <a:prstGeom prst="rect">
              <a:avLst/>
            </a:prstGeom>
          </p:spPr>
        </p:pic>
        <p:pic>
          <p:nvPicPr>
            <p:cNvPr id="292" name="Graphic 291" descr="Man">
              <a:extLst>
                <a:ext uri="{FF2B5EF4-FFF2-40B4-BE49-F238E27FC236}">
                  <a16:creationId xmlns:a16="http://schemas.microsoft.com/office/drawing/2014/main" id="{E2516ACE-86B1-490C-B7B1-974ED6E3F9D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3298360"/>
              <a:ext cx="203181" cy="247062"/>
            </a:xfrm>
            <a:prstGeom prst="rect">
              <a:avLst/>
            </a:prstGeom>
          </p:spPr>
        </p:pic>
        <p:pic>
          <p:nvPicPr>
            <p:cNvPr id="293" name="Graphic 292" descr="Woman">
              <a:extLst>
                <a:ext uri="{FF2B5EF4-FFF2-40B4-BE49-F238E27FC236}">
                  <a16:creationId xmlns:a16="http://schemas.microsoft.com/office/drawing/2014/main" id="{8B133A9C-B88D-4173-8881-B2CD925B15F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3298360"/>
              <a:ext cx="203181" cy="247062"/>
            </a:xfrm>
            <a:prstGeom prst="rect">
              <a:avLst/>
            </a:prstGeom>
          </p:spPr>
        </p:pic>
        <p:pic>
          <p:nvPicPr>
            <p:cNvPr id="299" name="Graphic 298" descr="Man">
              <a:extLst>
                <a:ext uri="{FF2B5EF4-FFF2-40B4-BE49-F238E27FC236}">
                  <a16:creationId xmlns:a16="http://schemas.microsoft.com/office/drawing/2014/main" id="{3D7B5245-C70F-4118-A61F-4EF42615DDA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3545422"/>
              <a:ext cx="203181" cy="247062"/>
            </a:xfrm>
            <a:prstGeom prst="rect">
              <a:avLst/>
            </a:prstGeom>
          </p:spPr>
        </p:pic>
        <p:pic>
          <p:nvPicPr>
            <p:cNvPr id="300" name="Graphic 299" descr="Woman">
              <a:extLst>
                <a:ext uri="{FF2B5EF4-FFF2-40B4-BE49-F238E27FC236}">
                  <a16:creationId xmlns:a16="http://schemas.microsoft.com/office/drawing/2014/main" id="{3AD1D1FD-AC8F-43B8-81F0-2E723B6430D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3545422"/>
              <a:ext cx="203181" cy="247062"/>
            </a:xfrm>
            <a:prstGeom prst="rect">
              <a:avLst/>
            </a:prstGeom>
          </p:spPr>
        </p:pic>
        <p:pic>
          <p:nvPicPr>
            <p:cNvPr id="301" name="Graphic 300" descr="Man">
              <a:extLst>
                <a:ext uri="{FF2B5EF4-FFF2-40B4-BE49-F238E27FC236}">
                  <a16:creationId xmlns:a16="http://schemas.microsoft.com/office/drawing/2014/main" id="{945BADCB-A8CE-4AC5-99BD-9D514E3B465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3545422"/>
              <a:ext cx="203181" cy="247062"/>
            </a:xfrm>
            <a:prstGeom prst="rect">
              <a:avLst/>
            </a:prstGeom>
          </p:spPr>
        </p:pic>
        <p:pic>
          <p:nvPicPr>
            <p:cNvPr id="302" name="Graphic 301" descr="Woman">
              <a:extLst>
                <a:ext uri="{FF2B5EF4-FFF2-40B4-BE49-F238E27FC236}">
                  <a16:creationId xmlns:a16="http://schemas.microsoft.com/office/drawing/2014/main" id="{D0971052-561A-42C8-9BB4-201FA134BA2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3545422"/>
              <a:ext cx="203181" cy="247062"/>
            </a:xfrm>
            <a:prstGeom prst="rect">
              <a:avLst/>
            </a:prstGeom>
          </p:spPr>
        </p:pic>
        <p:pic>
          <p:nvPicPr>
            <p:cNvPr id="303" name="Graphic 302" descr="Man">
              <a:extLst>
                <a:ext uri="{FF2B5EF4-FFF2-40B4-BE49-F238E27FC236}">
                  <a16:creationId xmlns:a16="http://schemas.microsoft.com/office/drawing/2014/main" id="{46FD3CE0-CF47-4A4C-8585-75B16500497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3545422"/>
              <a:ext cx="203181" cy="247062"/>
            </a:xfrm>
            <a:prstGeom prst="rect">
              <a:avLst/>
            </a:prstGeom>
          </p:spPr>
        </p:pic>
        <p:pic>
          <p:nvPicPr>
            <p:cNvPr id="304" name="Graphic 303" descr="Woman">
              <a:extLst>
                <a:ext uri="{FF2B5EF4-FFF2-40B4-BE49-F238E27FC236}">
                  <a16:creationId xmlns:a16="http://schemas.microsoft.com/office/drawing/2014/main" id="{EC0227CC-9E5D-4A2F-92AA-539927528B9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3545422"/>
              <a:ext cx="203181" cy="247062"/>
            </a:xfrm>
            <a:prstGeom prst="rect">
              <a:avLst/>
            </a:prstGeom>
          </p:spPr>
        </p:pic>
        <p:pic>
          <p:nvPicPr>
            <p:cNvPr id="305" name="Graphic 304" descr="Man">
              <a:extLst>
                <a:ext uri="{FF2B5EF4-FFF2-40B4-BE49-F238E27FC236}">
                  <a16:creationId xmlns:a16="http://schemas.microsoft.com/office/drawing/2014/main" id="{3550899F-CB4C-4DDE-8C51-7145696B5AA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3545422"/>
              <a:ext cx="203181" cy="247062"/>
            </a:xfrm>
            <a:prstGeom prst="rect">
              <a:avLst/>
            </a:prstGeom>
          </p:spPr>
        </p:pic>
        <p:pic>
          <p:nvPicPr>
            <p:cNvPr id="306" name="Graphic 305" descr="Woman">
              <a:extLst>
                <a:ext uri="{FF2B5EF4-FFF2-40B4-BE49-F238E27FC236}">
                  <a16:creationId xmlns:a16="http://schemas.microsoft.com/office/drawing/2014/main" id="{4CAF09F2-9B43-42A7-86D7-453191F6FFF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3545422"/>
              <a:ext cx="203181" cy="247062"/>
            </a:xfrm>
            <a:prstGeom prst="rect">
              <a:avLst/>
            </a:prstGeom>
          </p:spPr>
        </p:pic>
        <p:pic>
          <p:nvPicPr>
            <p:cNvPr id="307" name="Graphic 306" descr="Man">
              <a:extLst>
                <a:ext uri="{FF2B5EF4-FFF2-40B4-BE49-F238E27FC236}">
                  <a16:creationId xmlns:a16="http://schemas.microsoft.com/office/drawing/2014/main" id="{106EC657-1244-4E61-87C3-D2DE01CD07C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3545422"/>
              <a:ext cx="203181" cy="247062"/>
            </a:xfrm>
            <a:prstGeom prst="rect">
              <a:avLst/>
            </a:prstGeom>
          </p:spPr>
        </p:pic>
        <p:pic>
          <p:nvPicPr>
            <p:cNvPr id="308" name="Graphic 307" descr="Woman">
              <a:extLst>
                <a:ext uri="{FF2B5EF4-FFF2-40B4-BE49-F238E27FC236}">
                  <a16:creationId xmlns:a16="http://schemas.microsoft.com/office/drawing/2014/main" id="{165D9AB1-FFA9-4A20-B937-F6A9724A1A7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3545422"/>
              <a:ext cx="203181" cy="247062"/>
            </a:xfrm>
            <a:prstGeom prst="rect">
              <a:avLst/>
            </a:prstGeom>
          </p:spPr>
        </p:pic>
        <p:pic>
          <p:nvPicPr>
            <p:cNvPr id="309" name="Graphic 308" descr="Man">
              <a:extLst>
                <a:ext uri="{FF2B5EF4-FFF2-40B4-BE49-F238E27FC236}">
                  <a16:creationId xmlns:a16="http://schemas.microsoft.com/office/drawing/2014/main" id="{E77FD2CD-6F84-4A16-8124-FE243F0CF0B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3545422"/>
              <a:ext cx="203181" cy="247062"/>
            </a:xfrm>
            <a:prstGeom prst="rect">
              <a:avLst/>
            </a:prstGeom>
          </p:spPr>
        </p:pic>
        <p:pic>
          <p:nvPicPr>
            <p:cNvPr id="310" name="Graphic 309" descr="Woman">
              <a:extLst>
                <a:ext uri="{FF2B5EF4-FFF2-40B4-BE49-F238E27FC236}">
                  <a16:creationId xmlns:a16="http://schemas.microsoft.com/office/drawing/2014/main" id="{1EC12BD0-DADF-41F4-95F6-C6E09CC0EE2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3545422"/>
              <a:ext cx="203181" cy="247062"/>
            </a:xfrm>
            <a:prstGeom prst="rect">
              <a:avLst/>
            </a:prstGeom>
          </p:spPr>
        </p:pic>
        <p:pic>
          <p:nvPicPr>
            <p:cNvPr id="311" name="Graphic 310" descr="Man">
              <a:extLst>
                <a:ext uri="{FF2B5EF4-FFF2-40B4-BE49-F238E27FC236}">
                  <a16:creationId xmlns:a16="http://schemas.microsoft.com/office/drawing/2014/main" id="{D7826BF1-8DD0-493E-97B4-97F228525E0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3545422"/>
              <a:ext cx="203181" cy="247062"/>
            </a:xfrm>
            <a:prstGeom prst="rect">
              <a:avLst/>
            </a:prstGeom>
          </p:spPr>
        </p:pic>
        <p:pic>
          <p:nvPicPr>
            <p:cNvPr id="312" name="Graphic 311" descr="Woman">
              <a:extLst>
                <a:ext uri="{FF2B5EF4-FFF2-40B4-BE49-F238E27FC236}">
                  <a16:creationId xmlns:a16="http://schemas.microsoft.com/office/drawing/2014/main" id="{B5AF8327-AE90-4424-BE80-E90975F7519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3545422"/>
              <a:ext cx="203181" cy="247062"/>
            </a:xfrm>
            <a:prstGeom prst="rect">
              <a:avLst/>
            </a:prstGeom>
          </p:spPr>
        </p:pic>
        <p:pic>
          <p:nvPicPr>
            <p:cNvPr id="313" name="Graphic 312" descr="Man">
              <a:extLst>
                <a:ext uri="{FF2B5EF4-FFF2-40B4-BE49-F238E27FC236}">
                  <a16:creationId xmlns:a16="http://schemas.microsoft.com/office/drawing/2014/main" id="{15859682-9DB8-4F72-8C37-F81927C47C8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3545422"/>
              <a:ext cx="203181" cy="247062"/>
            </a:xfrm>
            <a:prstGeom prst="rect">
              <a:avLst/>
            </a:prstGeom>
          </p:spPr>
        </p:pic>
        <p:pic>
          <p:nvPicPr>
            <p:cNvPr id="314" name="Graphic 313" descr="Woman">
              <a:extLst>
                <a:ext uri="{FF2B5EF4-FFF2-40B4-BE49-F238E27FC236}">
                  <a16:creationId xmlns:a16="http://schemas.microsoft.com/office/drawing/2014/main" id="{E064D717-FC50-4D2C-9D35-8A3C4B64340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3545422"/>
              <a:ext cx="203181" cy="247062"/>
            </a:xfrm>
            <a:prstGeom prst="rect">
              <a:avLst/>
            </a:prstGeom>
          </p:spPr>
        </p:pic>
        <p:pic>
          <p:nvPicPr>
            <p:cNvPr id="315" name="Graphic 314" descr="Man">
              <a:extLst>
                <a:ext uri="{FF2B5EF4-FFF2-40B4-BE49-F238E27FC236}">
                  <a16:creationId xmlns:a16="http://schemas.microsoft.com/office/drawing/2014/main" id="{8F5D640A-1EAF-40B8-8744-452455E18C8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3545422"/>
              <a:ext cx="203181" cy="247062"/>
            </a:xfrm>
            <a:prstGeom prst="rect">
              <a:avLst/>
            </a:prstGeom>
          </p:spPr>
        </p:pic>
        <p:pic>
          <p:nvPicPr>
            <p:cNvPr id="316" name="Graphic 315" descr="Woman">
              <a:extLst>
                <a:ext uri="{FF2B5EF4-FFF2-40B4-BE49-F238E27FC236}">
                  <a16:creationId xmlns:a16="http://schemas.microsoft.com/office/drawing/2014/main" id="{945C3B32-8B13-4EA3-AC10-191EB249CDF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3545422"/>
              <a:ext cx="203181" cy="247062"/>
            </a:xfrm>
            <a:prstGeom prst="rect">
              <a:avLst/>
            </a:prstGeom>
          </p:spPr>
        </p:pic>
        <p:pic>
          <p:nvPicPr>
            <p:cNvPr id="322" name="Graphic 321" descr="Man">
              <a:extLst>
                <a:ext uri="{FF2B5EF4-FFF2-40B4-BE49-F238E27FC236}">
                  <a16:creationId xmlns:a16="http://schemas.microsoft.com/office/drawing/2014/main" id="{47FEE77B-21A3-4AE8-8013-FC0137CCECA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3792485"/>
              <a:ext cx="203181" cy="247062"/>
            </a:xfrm>
            <a:prstGeom prst="rect">
              <a:avLst/>
            </a:prstGeom>
          </p:spPr>
        </p:pic>
        <p:pic>
          <p:nvPicPr>
            <p:cNvPr id="323" name="Graphic 322" descr="Woman">
              <a:extLst>
                <a:ext uri="{FF2B5EF4-FFF2-40B4-BE49-F238E27FC236}">
                  <a16:creationId xmlns:a16="http://schemas.microsoft.com/office/drawing/2014/main" id="{4743D237-B52C-4FDD-8275-5859CF0529D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3792485"/>
              <a:ext cx="203181" cy="247062"/>
            </a:xfrm>
            <a:prstGeom prst="rect">
              <a:avLst/>
            </a:prstGeom>
          </p:spPr>
        </p:pic>
        <p:pic>
          <p:nvPicPr>
            <p:cNvPr id="324" name="Graphic 323" descr="Man">
              <a:extLst>
                <a:ext uri="{FF2B5EF4-FFF2-40B4-BE49-F238E27FC236}">
                  <a16:creationId xmlns:a16="http://schemas.microsoft.com/office/drawing/2014/main" id="{6F433479-115C-4176-9684-F1E4ECE89AE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40" y="3792485"/>
              <a:ext cx="203181" cy="247062"/>
            </a:xfrm>
            <a:prstGeom prst="rect">
              <a:avLst/>
            </a:prstGeom>
          </p:spPr>
        </p:pic>
        <p:pic>
          <p:nvPicPr>
            <p:cNvPr id="325" name="Graphic 324" descr="Woman">
              <a:extLst>
                <a:ext uri="{FF2B5EF4-FFF2-40B4-BE49-F238E27FC236}">
                  <a16:creationId xmlns:a16="http://schemas.microsoft.com/office/drawing/2014/main" id="{DCCDD20F-CDB4-49C2-AADF-50DAC63A618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5" y="3792485"/>
              <a:ext cx="203181" cy="247062"/>
            </a:xfrm>
            <a:prstGeom prst="rect">
              <a:avLst/>
            </a:prstGeom>
          </p:spPr>
        </p:pic>
        <p:pic>
          <p:nvPicPr>
            <p:cNvPr id="326" name="Graphic 325" descr="Man">
              <a:extLst>
                <a:ext uri="{FF2B5EF4-FFF2-40B4-BE49-F238E27FC236}">
                  <a16:creationId xmlns:a16="http://schemas.microsoft.com/office/drawing/2014/main" id="{DFD8D604-6941-478A-92A3-FBDD124309B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3792485"/>
              <a:ext cx="203181" cy="247062"/>
            </a:xfrm>
            <a:prstGeom prst="rect">
              <a:avLst/>
            </a:prstGeom>
          </p:spPr>
        </p:pic>
        <p:pic>
          <p:nvPicPr>
            <p:cNvPr id="327" name="Graphic 326" descr="Woman">
              <a:extLst>
                <a:ext uri="{FF2B5EF4-FFF2-40B4-BE49-F238E27FC236}">
                  <a16:creationId xmlns:a16="http://schemas.microsoft.com/office/drawing/2014/main" id="{A80CB5EE-2DF4-4299-BC07-B668C4DE309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4" y="3792485"/>
              <a:ext cx="203181" cy="247062"/>
            </a:xfrm>
            <a:prstGeom prst="rect">
              <a:avLst/>
            </a:prstGeom>
          </p:spPr>
        </p:pic>
        <p:pic>
          <p:nvPicPr>
            <p:cNvPr id="328" name="Graphic 327" descr="Man">
              <a:extLst>
                <a:ext uri="{FF2B5EF4-FFF2-40B4-BE49-F238E27FC236}">
                  <a16:creationId xmlns:a16="http://schemas.microsoft.com/office/drawing/2014/main" id="{D691B300-050E-4182-84BB-82DD94F6AB1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3792485"/>
              <a:ext cx="203181" cy="247062"/>
            </a:xfrm>
            <a:prstGeom prst="rect">
              <a:avLst/>
            </a:prstGeom>
          </p:spPr>
        </p:pic>
        <p:pic>
          <p:nvPicPr>
            <p:cNvPr id="329" name="Graphic 328" descr="Woman">
              <a:extLst>
                <a:ext uri="{FF2B5EF4-FFF2-40B4-BE49-F238E27FC236}">
                  <a16:creationId xmlns:a16="http://schemas.microsoft.com/office/drawing/2014/main" id="{6F15CF30-BADF-44DA-9703-417A6D36D9A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3792485"/>
              <a:ext cx="203181" cy="247062"/>
            </a:xfrm>
            <a:prstGeom prst="rect">
              <a:avLst/>
            </a:prstGeom>
          </p:spPr>
        </p:pic>
        <p:pic>
          <p:nvPicPr>
            <p:cNvPr id="330" name="Graphic 329" descr="Man">
              <a:extLst>
                <a:ext uri="{FF2B5EF4-FFF2-40B4-BE49-F238E27FC236}">
                  <a16:creationId xmlns:a16="http://schemas.microsoft.com/office/drawing/2014/main" id="{A2E5E8CF-6678-46F5-8EDF-7CDED75E8B3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3792485"/>
              <a:ext cx="203181" cy="247062"/>
            </a:xfrm>
            <a:prstGeom prst="rect">
              <a:avLst/>
            </a:prstGeom>
          </p:spPr>
        </p:pic>
        <p:pic>
          <p:nvPicPr>
            <p:cNvPr id="331" name="Graphic 330" descr="Woman">
              <a:extLst>
                <a:ext uri="{FF2B5EF4-FFF2-40B4-BE49-F238E27FC236}">
                  <a16:creationId xmlns:a16="http://schemas.microsoft.com/office/drawing/2014/main" id="{E55217F4-4ADC-47EB-BD57-B9C81EC5BD1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3792485"/>
              <a:ext cx="203181" cy="247062"/>
            </a:xfrm>
            <a:prstGeom prst="rect">
              <a:avLst/>
            </a:prstGeom>
          </p:spPr>
        </p:pic>
        <p:pic>
          <p:nvPicPr>
            <p:cNvPr id="332" name="Graphic 331" descr="Man">
              <a:extLst>
                <a:ext uri="{FF2B5EF4-FFF2-40B4-BE49-F238E27FC236}">
                  <a16:creationId xmlns:a16="http://schemas.microsoft.com/office/drawing/2014/main" id="{FC9DC463-FD89-484C-807B-ACCF04A961A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6" y="3792485"/>
              <a:ext cx="203181" cy="247062"/>
            </a:xfrm>
            <a:prstGeom prst="rect">
              <a:avLst/>
            </a:prstGeom>
          </p:spPr>
        </p:pic>
        <p:pic>
          <p:nvPicPr>
            <p:cNvPr id="333" name="Graphic 332" descr="Woman">
              <a:extLst>
                <a:ext uri="{FF2B5EF4-FFF2-40B4-BE49-F238E27FC236}">
                  <a16:creationId xmlns:a16="http://schemas.microsoft.com/office/drawing/2014/main" id="{577F1FD6-017F-48DE-BE82-F38AF2A8DDB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3792485"/>
              <a:ext cx="203181" cy="247062"/>
            </a:xfrm>
            <a:prstGeom prst="rect">
              <a:avLst/>
            </a:prstGeom>
          </p:spPr>
        </p:pic>
        <p:pic>
          <p:nvPicPr>
            <p:cNvPr id="334" name="Graphic 333" descr="Man">
              <a:extLst>
                <a:ext uri="{FF2B5EF4-FFF2-40B4-BE49-F238E27FC236}">
                  <a16:creationId xmlns:a16="http://schemas.microsoft.com/office/drawing/2014/main" id="{78C08E46-DA20-41A0-8BFB-5EEF0610569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3792485"/>
              <a:ext cx="203181" cy="247062"/>
            </a:xfrm>
            <a:prstGeom prst="rect">
              <a:avLst/>
            </a:prstGeom>
          </p:spPr>
        </p:pic>
        <p:pic>
          <p:nvPicPr>
            <p:cNvPr id="335" name="Graphic 334" descr="Woman">
              <a:extLst>
                <a:ext uri="{FF2B5EF4-FFF2-40B4-BE49-F238E27FC236}">
                  <a16:creationId xmlns:a16="http://schemas.microsoft.com/office/drawing/2014/main" id="{6ADE63A9-336E-4FDB-BA31-17C094D242D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1" y="3792485"/>
              <a:ext cx="203181" cy="247062"/>
            </a:xfrm>
            <a:prstGeom prst="rect">
              <a:avLst/>
            </a:prstGeom>
          </p:spPr>
        </p:pic>
        <p:pic>
          <p:nvPicPr>
            <p:cNvPr id="336" name="Graphic 335" descr="Man">
              <a:extLst>
                <a:ext uri="{FF2B5EF4-FFF2-40B4-BE49-F238E27FC236}">
                  <a16:creationId xmlns:a16="http://schemas.microsoft.com/office/drawing/2014/main" id="{51BEBC2E-A447-4AE0-AE00-9042C00A718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3792485"/>
              <a:ext cx="203181" cy="247062"/>
            </a:xfrm>
            <a:prstGeom prst="rect">
              <a:avLst/>
            </a:prstGeom>
          </p:spPr>
        </p:pic>
        <p:pic>
          <p:nvPicPr>
            <p:cNvPr id="337" name="Graphic 336" descr="Woman">
              <a:extLst>
                <a:ext uri="{FF2B5EF4-FFF2-40B4-BE49-F238E27FC236}">
                  <a16:creationId xmlns:a16="http://schemas.microsoft.com/office/drawing/2014/main" id="{A44A610C-668C-4080-A4F2-92AFD8F33D9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3792485"/>
              <a:ext cx="203181" cy="247062"/>
            </a:xfrm>
            <a:prstGeom prst="rect">
              <a:avLst/>
            </a:prstGeom>
          </p:spPr>
        </p:pic>
        <p:pic>
          <p:nvPicPr>
            <p:cNvPr id="338" name="Graphic 337" descr="Man">
              <a:extLst>
                <a:ext uri="{FF2B5EF4-FFF2-40B4-BE49-F238E27FC236}">
                  <a16:creationId xmlns:a16="http://schemas.microsoft.com/office/drawing/2014/main" id="{0525AAE6-141B-40A8-9DDF-56604466579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3792485"/>
              <a:ext cx="203181" cy="247062"/>
            </a:xfrm>
            <a:prstGeom prst="rect">
              <a:avLst/>
            </a:prstGeom>
          </p:spPr>
        </p:pic>
        <p:pic>
          <p:nvPicPr>
            <p:cNvPr id="339" name="Graphic 338" descr="Woman">
              <a:extLst>
                <a:ext uri="{FF2B5EF4-FFF2-40B4-BE49-F238E27FC236}">
                  <a16:creationId xmlns:a16="http://schemas.microsoft.com/office/drawing/2014/main" id="{1B2245C4-6D00-4069-9CA5-C5F5A480EED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3792485"/>
              <a:ext cx="203181" cy="247062"/>
            </a:xfrm>
            <a:prstGeom prst="rect">
              <a:avLst/>
            </a:prstGeom>
          </p:spPr>
        </p:pic>
        <p:pic>
          <p:nvPicPr>
            <p:cNvPr id="345" name="Graphic 344" descr="Man">
              <a:extLst>
                <a:ext uri="{FF2B5EF4-FFF2-40B4-BE49-F238E27FC236}">
                  <a16:creationId xmlns:a16="http://schemas.microsoft.com/office/drawing/2014/main" id="{33DE1E8A-5229-4C32-B308-6F6EE7CDCDE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15525" y="2804234"/>
              <a:ext cx="203181" cy="247062"/>
            </a:xfrm>
            <a:prstGeom prst="rect">
              <a:avLst/>
            </a:prstGeom>
          </p:spPr>
        </p:pic>
        <p:pic>
          <p:nvPicPr>
            <p:cNvPr id="346" name="Graphic 345" descr="Woman">
              <a:extLst>
                <a:ext uri="{FF2B5EF4-FFF2-40B4-BE49-F238E27FC236}">
                  <a16:creationId xmlns:a16="http://schemas.microsoft.com/office/drawing/2014/main" id="{CA21560C-07A1-4FE3-A93F-3065403B459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601310" y="2804234"/>
              <a:ext cx="203181" cy="247062"/>
            </a:xfrm>
            <a:prstGeom prst="rect">
              <a:avLst/>
            </a:prstGeom>
          </p:spPr>
        </p:pic>
        <p:pic>
          <p:nvPicPr>
            <p:cNvPr id="347" name="Graphic 346" descr="Man">
              <a:extLst>
                <a:ext uri="{FF2B5EF4-FFF2-40B4-BE49-F238E27FC236}">
                  <a16:creationId xmlns:a16="http://schemas.microsoft.com/office/drawing/2014/main" id="{E989DF4C-B0CA-4A44-8DCC-CF354CC379F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3953" y="2804234"/>
              <a:ext cx="203181" cy="247062"/>
            </a:xfrm>
            <a:prstGeom prst="rect">
              <a:avLst/>
            </a:prstGeom>
          </p:spPr>
        </p:pic>
        <p:pic>
          <p:nvPicPr>
            <p:cNvPr id="348" name="Graphic 347" descr="Woman">
              <a:extLst>
                <a:ext uri="{FF2B5EF4-FFF2-40B4-BE49-F238E27FC236}">
                  <a16:creationId xmlns:a16="http://schemas.microsoft.com/office/drawing/2014/main" id="{DC7B7159-398E-43E2-AA52-F81D75766F4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29738" y="2804234"/>
              <a:ext cx="203181" cy="247062"/>
            </a:xfrm>
            <a:prstGeom prst="rect">
              <a:avLst/>
            </a:prstGeom>
          </p:spPr>
        </p:pic>
        <p:pic>
          <p:nvPicPr>
            <p:cNvPr id="349" name="Graphic 348" descr="Man">
              <a:extLst>
                <a:ext uri="{FF2B5EF4-FFF2-40B4-BE49-F238E27FC236}">
                  <a16:creationId xmlns:a16="http://schemas.microsoft.com/office/drawing/2014/main" id="{C56FE54F-6F2A-4919-9B57-6536A5A14EB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172382" y="2804234"/>
              <a:ext cx="203181" cy="247062"/>
            </a:xfrm>
            <a:prstGeom prst="rect">
              <a:avLst/>
            </a:prstGeom>
          </p:spPr>
        </p:pic>
        <p:pic>
          <p:nvPicPr>
            <p:cNvPr id="350" name="Graphic 349" descr="Woman">
              <a:extLst>
                <a:ext uri="{FF2B5EF4-FFF2-40B4-BE49-F238E27FC236}">
                  <a16:creationId xmlns:a16="http://schemas.microsoft.com/office/drawing/2014/main" id="{D49DAD68-D5F0-4E0A-9487-04417ACEA42B}"/>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058167" y="2804234"/>
              <a:ext cx="203181" cy="247062"/>
            </a:xfrm>
            <a:prstGeom prst="rect">
              <a:avLst/>
            </a:prstGeom>
          </p:spPr>
        </p:pic>
        <p:pic>
          <p:nvPicPr>
            <p:cNvPr id="351" name="Graphic 350" descr="Man">
              <a:extLst>
                <a:ext uri="{FF2B5EF4-FFF2-40B4-BE49-F238E27FC236}">
                  <a16:creationId xmlns:a16="http://schemas.microsoft.com/office/drawing/2014/main" id="{8E44F2A4-D2FC-4576-8C27-4E78324F15D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00813" y="2804234"/>
              <a:ext cx="203181" cy="247062"/>
            </a:xfrm>
            <a:prstGeom prst="rect">
              <a:avLst/>
            </a:prstGeom>
          </p:spPr>
        </p:pic>
        <p:pic>
          <p:nvPicPr>
            <p:cNvPr id="352" name="Graphic 351" descr="Woman">
              <a:extLst>
                <a:ext uri="{FF2B5EF4-FFF2-40B4-BE49-F238E27FC236}">
                  <a16:creationId xmlns:a16="http://schemas.microsoft.com/office/drawing/2014/main" id="{6B701675-E121-41F0-9A5D-960C7EEAB213}"/>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86598" y="2804234"/>
              <a:ext cx="203181" cy="247062"/>
            </a:xfrm>
            <a:prstGeom prst="rect">
              <a:avLst/>
            </a:prstGeom>
          </p:spPr>
        </p:pic>
        <p:pic>
          <p:nvPicPr>
            <p:cNvPr id="353" name="Graphic 352" descr="Man">
              <a:extLst>
                <a:ext uri="{FF2B5EF4-FFF2-40B4-BE49-F238E27FC236}">
                  <a16:creationId xmlns:a16="http://schemas.microsoft.com/office/drawing/2014/main" id="{31AF031A-BAA5-46AB-B73C-EE4DF7FB7C1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9242" y="2804234"/>
              <a:ext cx="203181" cy="247062"/>
            </a:xfrm>
            <a:prstGeom prst="rect">
              <a:avLst/>
            </a:prstGeom>
          </p:spPr>
        </p:pic>
        <p:pic>
          <p:nvPicPr>
            <p:cNvPr id="354" name="Graphic 353" descr="Woman">
              <a:extLst>
                <a:ext uri="{FF2B5EF4-FFF2-40B4-BE49-F238E27FC236}">
                  <a16:creationId xmlns:a16="http://schemas.microsoft.com/office/drawing/2014/main" id="{DAB1F5F1-3B3F-4CD0-AE92-4917D58B0C8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5027" y="2804234"/>
              <a:ext cx="203181" cy="247062"/>
            </a:xfrm>
            <a:prstGeom prst="rect">
              <a:avLst/>
            </a:prstGeom>
          </p:spPr>
        </p:pic>
        <p:pic>
          <p:nvPicPr>
            <p:cNvPr id="355" name="Graphic 354" descr="Man">
              <a:extLst>
                <a:ext uri="{FF2B5EF4-FFF2-40B4-BE49-F238E27FC236}">
                  <a16:creationId xmlns:a16="http://schemas.microsoft.com/office/drawing/2014/main" id="{BE44DC79-8992-4387-A074-723A3B9FE8D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7670" y="2804234"/>
              <a:ext cx="203181" cy="247062"/>
            </a:xfrm>
            <a:prstGeom prst="rect">
              <a:avLst/>
            </a:prstGeom>
          </p:spPr>
        </p:pic>
        <p:pic>
          <p:nvPicPr>
            <p:cNvPr id="356" name="Graphic 355" descr="Woman">
              <a:extLst>
                <a:ext uri="{FF2B5EF4-FFF2-40B4-BE49-F238E27FC236}">
                  <a16:creationId xmlns:a16="http://schemas.microsoft.com/office/drawing/2014/main" id="{6444B0BF-4EED-4D56-8032-8BD69343BF3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43455" y="2804234"/>
              <a:ext cx="203181" cy="247062"/>
            </a:xfrm>
            <a:prstGeom prst="rect">
              <a:avLst/>
            </a:prstGeom>
          </p:spPr>
        </p:pic>
        <p:pic>
          <p:nvPicPr>
            <p:cNvPr id="357" name="Graphic 356" descr="Man">
              <a:extLst>
                <a:ext uri="{FF2B5EF4-FFF2-40B4-BE49-F238E27FC236}">
                  <a16:creationId xmlns:a16="http://schemas.microsoft.com/office/drawing/2014/main" id="{92E1BE31-9EDB-4C20-A6B5-1DF8CC23B87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86099" y="2804234"/>
              <a:ext cx="203181" cy="247062"/>
            </a:xfrm>
            <a:prstGeom prst="rect">
              <a:avLst/>
            </a:prstGeom>
          </p:spPr>
        </p:pic>
        <p:pic>
          <p:nvPicPr>
            <p:cNvPr id="358" name="Graphic 357" descr="Woman">
              <a:extLst>
                <a:ext uri="{FF2B5EF4-FFF2-40B4-BE49-F238E27FC236}">
                  <a16:creationId xmlns:a16="http://schemas.microsoft.com/office/drawing/2014/main" id="{04E9BD74-E220-47CA-8729-79136490829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1884" y="2804234"/>
              <a:ext cx="203181" cy="247062"/>
            </a:xfrm>
            <a:prstGeom prst="rect">
              <a:avLst/>
            </a:prstGeom>
          </p:spPr>
        </p:pic>
        <p:pic>
          <p:nvPicPr>
            <p:cNvPr id="359" name="Graphic 358" descr="Man">
              <a:extLst>
                <a:ext uri="{FF2B5EF4-FFF2-40B4-BE49-F238E27FC236}">
                  <a16:creationId xmlns:a16="http://schemas.microsoft.com/office/drawing/2014/main" id="{B03A9C99-5694-45DC-A942-F4ED59BDA08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14528" y="2804234"/>
              <a:ext cx="203181" cy="247062"/>
            </a:xfrm>
            <a:prstGeom prst="rect">
              <a:avLst/>
            </a:prstGeom>
          </p:spPr>
        </p:pic>
        <p:pic>
          <p:nvPicPr>
            <p:cNvPr id="360" name="Graphic 359" descr="Woman">
              <a:extLst>
                <a:ext uri="{FF2B5EF4-FFF2-40B4-BE49-F238E27FC236}">
                  <a16:creationId xmlns:a16="http://schemas.microsoft.com/office/drawing/2014/main" id="{7311CAB4-546B-4BA7-A7E0-E97719BF8812}"/>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00314" y="2804234"/>
              <a:ext cx="203181" cy="247062"/>
            </a:xfrm>
            <a:prstGeom prst="rect">
              <a:avLst/>
            </a:prstGeom>
          </p:spPr>
        </p:pic>
        <p:pic>
          <p:nvPicPr>
            <p:cNvPr id="362" name="Graphic 361" descr="Woman">
              <a:extLst>
                <a:ext uri="{FF2B5EF4-FFF2-40B4-BE49-F238E27FC236}">
                  <a16:creationId xmlns:a16="http://schemas.microsoft.com/office/drawing/2014/main" id="{8D4B9A9C-FD2F-40E5-B1FA-786D0E49C0B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28744" y="2804234"/>
              <a:ext cx="203181" cy="247062"/>
            </a:xfrm>
            <a:prstGeom prst="rect">
              <a:avLst/>
            </a:prstGeom>
          </p:spPr>
        </p:pic>
        <p:pic>
          <p:nvPicPr>
            <p:cNvPr id="368" name="Graphic 367" descr="Man">
              <a:extLst>
                <a:ext uri="{FF2B5EF4-FFF2-40B4-BE49-F238E27FC236}">
                  <a16:creationId xmlns:a16="http://schemas.microsoft.com/office/drawing/2014/main" id="{1AC8F9D0-38BD-436D-B531-2FA750C224C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15525" y="3051297"/>
              <a:ext cx="203181" cy="247062"/>
            </a:xfrm>
            <a:prstGeom prst="rect">
              <a:avLst/>
            </a:prstGeom>
          </p:spPr>
        </p:pic>
        <p:pic>
          <p:nvPicPr>
            <p:cNvPr id="369" name="Graphic 368" descr="Woman">
              <a:extLst>
                <a:ext uri="{FF2B5EF4-FFF2-40B4-BE49-F238E27FC236}">
                  <a16:creationId xmlns:a16="http://schemas.microsoft.com/office/drawing/2014/main" id="{EFB92B71-ADB9-495B-B52E-94B5ECA65A1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601310" y="3051297"/>
              <a:ext cx="203181" cy="247062"/>
            </a:xfrm>
            <a:prstGeom prst="rect">
              <a:avLst/>
            </a:prstGeom>
          </p:spPr>
        </p:pic>
        <p:pic>
          <p:nvPicPr>
            <p:cNvPr id="370" name="Graphic 369" descr="Man">
              <a:extLst>
                <a:ext uri="{FF2B5EF4-FFF2-40B4-BE49-F238E27FC236}">
                  <a16:creationId xmlns:a16="http://schemas.microsoft.com/office/drawing/2014/main" id="{E7D9F0DE-2619-4F54-BE17-B87756644CC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3953" y="3051297"/>
              <a:ext cx="203181" cy="247062"/>
            </a:xfrm>
            <a:prstGeom prst="rect">
              <a:avLst/>
            </a:prstGeom>
          </p:spPr>
        </p:pic>
        <p:pic>
          <p:nvPicPr>
            <p:cNvPr id="371" name="Graphic 370" descr="Woman">
              <a:extLst>
                <a:ext uri="{FF2B5EF4-FFF2-40B4-BE49-F238E27FC236}">
                  <a16:creationId xmlns:a16="http://schemas.microsoft.com/office/drawing/2014/main" id="{2AC26D3A-0523-4D09-8CFB-D8AE1F1FA63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29738" y="3051297"/>
              <a:ext cx="203181" cy="247062"/>
            </a:xfrm>
            <a:prstGeom prst="rect">
              <a:avLst/>
            </a:prstGeom>
          </p:spPr>
        </p:pic>
        <p:pic>
          <p:nvPicPr>
            <p:cNvPr id="372" name="Graphic 371" descr="Man">
              <a:extLst>
                <a:ext uri="{FF2B5EF4-FFF2-40B4-BE49-F238E27FC236}">
                  <a16:creationId xmlns:a16="http://schemas.microsoft.com/office/drawing/2014/main" id="{5ED041B1-1730-49AC-B2A8-5E21EFFA0E9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172382" y="3051297"/>
              <a:ext cx="203181" cy="247062"/>
            </a:xfrm>
            <a:prstGeom prst="rect">
              <a:avLst/>
            </a:prstGeom>
          </p:spPr>
        </p:pic>
        <p:pic>
          <p:nvPicPr>
            <p:cNvPr id="373" name="Graphic 372" descr="Woman">
              <a:extLst>
                <a:ext uri="{FF2B5EF4-FFF2-40B4-BE49-F238E27FC236}">
                  <a16:creationId xmlns:a16="http://schemas.microsoft.com/office/drawing/2014/main" id="{2065FCE6-E9FD-4D25-AEF5-18D79DA2563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058167" y="3051297"/>
              <a:ext cx="203181" cy="247062"/>
            </a:xfrm>
            <a:prstGeom prst="rect">
              <a:avLst/>
            </a:prstGeom>
          </p:spPr>
        </p:pic>
        <p:pic>
          <p:nvPicPr>
            <p:cNvPr id="374" name="Graphic 373" descr="Man">
              <a:extLst>
                <a:ext uri="{FF2B5EF4-FFF2-40B4-BE49-F238E27FC236}">
                  <a16:creationId xmlns:a16="http://schemas.microsoft.com/office/drawing/2014/main" id="{4BED2C96-FB28-40D5-B7C2-8E9193F4A93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00813" y="3051297"/>
              <a:ext cx="203181" cy="247062"/>
            </a:xfrm>
            <a:prstGeom prst="rect">
              <a:avLst/>
            </a:prstGeom>
          </p:spPr>
        </p:pic>
        <p:pic>
          <p:nvPicPr>
            <p:cNvPr id="375" name="Graphic 374" descr="Woman">
              <a:extLst>
                <a:ext uri="{FF2B5EF4-FFF2-40B4-BE49-F238E27FC236}">
                  <a16:creationId xmlns:a16="http://schemas.microsoft.com/office/drawing/2014/main" id="{5D30931D-F9A5-4523-8D8A-741E69B14E1A}"/>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86598" y="3051297"/>
              <a:ext cx="203181" cy="247062"/>
            </a:xfrm>
            <a:prstGeom prst="rect">
              <a:avLst/>
            </a:prstGeom>
          </p:spPr>
        </p:pic>
        <p:pic>
          <p:nvPicPr>
            <p:cNvPr id="376" name="Graphic 375" descr="Man">
              <a:extLst>
                <a:ext uri="{FF2B5EF4-FFF2-40B4-BE49-F238E27FC236}">
                  <a16:creationId xmlns:a16="http://schemas.microsoft.com/office/drawing/2014/main" id="{433C27AE-D5F2-4149-ACB7-3909AF1F716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9242" y="3051297"/>
              <a:ext cx="203181" cy="247062"/>
            </a:xfrm>
            <a:prstGeom prst="rect">
              <a:avLst/>
            </a:prstGeom>
          </p:spPr>
        </p:pic>
        <p:pic>
          <p:nvPicPr>
            <p:cNvPr id="377" name="Graphic 376" descr="Woman">
              <a:extLst>
                <a:ext uri="{FF2B5EF4-FFF2-40B4-BE49-F238E27FC236}">
                  <a16:creationId xmlns:a16="http://schemas.microsoft.com/office/drawing/2014/main" id="{359121E0-C16A-46B9-910E-46DBEA8D7D8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5027" y="3051297"/>
              <a:ext cx="203181" cy="247062"/>
            </a:xfrm>
            <a:prstGeom prst="rect">
              <a:avLst/>
            </a:prstGeom>
          </p:spPr>
        </p:pic>
        <p:pic>
          <p:nvPicPr>
            <p:cNvPr id="378" name="Graphic 377" descr="Man">
              <a:extLst>
                <a:ext uri="{FF2B5EF4-FFF2-40B4-BE49-F238E27FC236}">
                  <a16:creationId xmlns:a16="http://schemas.microsoft.com/office/drawing/2014/main" id="{0C3548F3-58AA-4A0A-A152-3188259154F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7670" y="3051297"/>
              <a:ext cx="203181" cy="247062"/>
            </a:xfrm>
            <a:prstGeom prst="rect">
              <a:avLst/>
            </a:prstGeom>
          </p:spPr>
        </p:pic>
        <p:pic>
          <p:nvPicPr>
            <p:cNvPr id="379" name="Graphic 378" descr="Woman">
              <a:extLst>
                <a:ext uri="{FF2B5EF4-FFF2-40B4-BE49-F238E27FC236}">
                  <a16:creationId xmlns:a16="http://schemas.microsoft.com/office/drawing/2014/main" id="{38B5FDCC-A25A-418D-8E32-B20A02950E9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43455" y="3051297"/>
              <a:ext cx="203181" cy="247062"/>
            </a:xfrm>
            <a:prstGeom prst="rect">
              <a:avLst/>
            </a:prstGeom>
          </p:spPr>
        </p:pic>
        <p:pic>
          <p:nvPicPr>
            <p:cNvPr id="380" name="Graphic 379" descr="Man">
              <a:extLst>
                <a:ext uri="{FF2B5EF4-FFF2-40B4-BE49-F238E27FC236}">
                  <a16:creationId xmlns:a16="http://schemas.microsoft.com/office/drawing/2014/main" id="{9F4F74FA-2E81-4285-A61E-8397E758591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86099" y="3051297"/>
              <a:ext cx="203181" cy="247062"/>
            </a:xfrm>
            <a:prstGeom prst="rect">
              <a:avLst/>
            </a:prstGeom>
          </p:spPr>
        </p:pic>
        <p:pic>
          <p:nvPicPr>
            <p:cNvPr id="381" name="Graphic 380" descr="Woman">
              <a:extLst>
                <a:ext uri="{FF2B5EF4-FFF2-40B4-BE49-F238E27FC236}">
                  <a16:creationId xmlns:a16="http://schemas.microsoft.com/office/drawing/2014/main" id="{C76E8FFB-4BA5-4A65-887B-A1E73D47D74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1884" y="3051297"/>
              <a:ext cx="203181" cy="247062"/>
            </a:xfrm>
            <a:prstGeom prst="rect">
              <a:avLst/>
            </a:prstGeom>
          </p:spPr>
        </p:pic>
        <p:pic>
          <p:nvPicPr>
            <p:cNvPr id="382" name="Graphic 381" descr="Man">
              <a:extLst>
                <a:ext uri="{FF2B5EF4-FFF2-40B4-BE49-F238E27FC236}">
                  <a16:creationId xmlns:a16="http://schemas.microsoft.com/office/drawing/2014/main" id="{74797DF4-E8C6-4F37-BFDD-E80286AC24F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14528" y="3051297"/>
              <a:ext cx="203181" cy="247062"/>
            </a:xfrm>
            <a:prstGeom prst="rect">
              <a:avLst/>
            </a:prstGeom>
          </p:spPr>
        </p:pic>
        <p:pic>
          <p:nvPicPr>
            <p:cNvPr id="383" name="Graphic 382" descr="Woman">
              <a:extLst>
                <a:ext uri="{FF2B5EF4-FFF2-40B4-BE49-F238E27FC236}">
                  <a16:creationId xmlns:a16="http://schemas.microsoft.com/office/drawing/2014/main" id="{B7C45F92-1C70-41D2-8451-4E406FD7C57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00314" y="3051297"/>
              <a:ext cx="203181" cy="247062"/>
            </a:xfrm>
            <a:prstGeom prst="rect">
              <a:avLst/>
            </a:prstGeom>
          </p:spPr>
        </p:pic>
        <p:pic>
          <p:nvPicPr>
            <p:cNvPr id="385" name="Graphic 384" descr="Woman">
              <a:extLst>
                <a:ext uri="{FF2B5EF4-FFF2-40B4-BE49-F238E27FC236}">
                  <a16:creationId xmlns:a16="http://schemas.microsoft.com/office/drawing/2014/main" id="{CC4A2E9B-1023-40E5-B96A-E20B138E5959}"/>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28744" y="3051297"/>
              <a:ext cx="203181" cy="247062"/>
            </a:xfrm>
            <a:prstGeom prst="rect">
              <a:avLst/>
            </a:prstGeom>
          </p:spPr>
        </p:pic>
        <p:pic>
          <p:nvPicPr>
            <p:cNvPr id="391" name="Graphic 390" descr="Man">
              <a:extLst>
                <a:ext uri="{FF2B5EF4-FFF2-40B4-BE49-F238E27FC236}">
                  <a16:creationId xmlns:a16="http://schemas.microsoft.com/office/drawing/2014/main" id="{1C424DD5-3547-4E02-B540-B9949E9D3CF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15525" y="3298360"/>
              <a:ext cx="203181" cy="247062"/>
            </a:xfrm>
            <a:prstGeom prst="rect">
              <a:avLst/>
            </a:prstGeom>
          </p:spPr>
        </p:pic>
        <p:pic>
          <p:nvPicPr>
            <p:cNvPr id="392" name="Graphic 391" descr="Woman">
              <a:extLst>
                <a:ext uri="{FF2B5EF4-FFF2-40B4-BE49-F238E27FC236}">
                  <a16:creationId xmlns:a16="http://schemas.microsoft.com/office/drawing/2014/main" id="{1BE9F5FF-CC3D-4865-87FD-5F5DC1A12F2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601310" y="3298360"/>
              <a:ext cx="203181" cy="247062"/>
            </a:xfrm>
            <a:prstGeom prst="rect">
              <a:avLst/>
            </a:prstGeom>
          </p:spPr>
        </p:pic>
        <p:pic>
          <p:nvPicPr>
            <p:cNvPr id="393" name="Graphic 392" descr="Man">
              <a:extLst>
                <a:ext uri="{FF2B5EF4-FFF2-40B4-BE49-F238E27FC236}">
                  <a16:creationId xmlns:a16="http://schemas.microsoft.com/office/drawing/2014/main" id="{1CECE983-8898-4FC3-9EF5-65A7CFE4D60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3953" y="3298360"/>
              <a:ext cx="203181" cy="247062"/>
            </a:xfrm>
            <a:prstGeom prst="rect">
              <a:avLst/>
            </a:prstGeom>
          </p:spPr>
        </p:pic>
        <p:pic>
          <p:nvPicPr>
            <p:cNvPr id="394" name="Graphic 393" descr="Woman">
              <a:extLst>
                <a:ext uri="{FF2B5EF4-FFF2-40B4-BE49-F238E27FC236}">
                  <a16:creationId xmlns:a16="http://schemas.microsoft.com/office/drawing/2014/main" id="{6F91891D-155D-4986-8D4C-A2BF3B97A63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29738" y="3298360"/>
              <a:ext cx="203181" cy="247062"/>
            </a:xfrm>
            <a:prstGeom prst="rect">
              <a:avLst/>
            </a:prstGeom>
          </p:spPr>
        </p:pic>
        <p:pic>
          <p:nvPicPr>
            <p:cNvPr id="395" name="Graphic 394" descr="Man">
              <a:extLst>
                <a:ext uri="{FF2B5EF4-FFF2-40B4-BE49-F238E27FC236}">
                  <a16:creationId xmlns:a16="http://schemas.microsoft.com/office/drawing/2014/main" id="{9D471CF8-4A20-4C4D-A209-48FBB8C2BB4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172382" y="3298360"/>
              <a:ext cx="203181" cy="247062"/>
            </a:xfrm>
            <a:prstGeom prst="rect">
              <a:avLst/>
            </a:prstGeom>
          </p:spPr>
        </p:pic>
        <p:pic>
          <p:nvPicPr>
            <p:cNvPr id="396" name="Graphic 395" descr="Woman">
              <a:extLst>
                <a:ext uri="{FF2B5EF4-FFF2-40B4-BE49-F238E27FC236}">
                  <a16:creationId xmlns:a16="http://schemas.microsoft.com/office/drawing/2014/main" id="{281FD769-78F0-452A-9D2C-C902F27468A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058167" y="3298360"/>
              <a:ext cx="203181" cy="247062"/>
            </a:xfrm>
            <a:prstGeom prst="rect">
              <a:avLst/>
            </a:prstGeom>
          </p:spPr>
        </p:pic>
        <p:pic>
          <p:nvPicPr>
            <p:cNvPr id="397" name="Graphic 396" descr="Man">
              <a:extLst>
                <a:ext uri="{FF2B5EF4-FFF2-40B4-BE49-F238E27FC236}">
                  <a16:creationId xmlns:a16="http://schemas.microsoft.com/office/drawing/2014/main" id="{514DDE96-FD41-4A04-83C6-0A1CC86841C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00813" y="3298360"/>
              <a:ext cx="203181" cy="247062"/>
            </a:xfrm>
            <a:prstGeom prst="rect">
              <a:avLst/>
            </a:prstGeom>
          </p:spPr>
        </p:pic>
        <p:pic>
          <p:nvPicPr>
            <p:cNvPr id="398" name="Graphic 397" descr="Woman">
              <a:extLst>
                <a:ext uri="{FF2B5EF4-FFF2-40B4-BE49-F238E27FC236}">
                  <a16:creationId xmlns:a16="http://schemas.microsoft.com/office/drawing/2014/main" id="{61AD7392-4D0B-4319-BAB9-98CA1452EE3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86598" y="3298360"/>
              <a:ext cx="203181" cy="247062"/>
            </a:xfrm>
            <a:prstGeom prst="rect">
              <a:avLst/>
            </a:prstGeom>
          </p:spPr>
        </p:pic>
        <p:pic>
          <p:nvPicPr>
            <p:cNvPr id="399" name="Graphic 398" descr="Man">
              <a:extLst>
                <a:ext uri="{FF2B5EF4-FFF2-40B4-BE49-F238E27FC236}">
                  <a16:creationId xmlns:a16="http://schemas.microsoft.com/office/drawing/2014/main" id="{03CF7B98-A802-4F31-B9C6-81F8601A472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9242" y="3298360"/>
              <a:ext cx="203181" cy="247062"/>
            </a:xfrm>
            <a:prstGeom prst="rect">
              <a:avLst/>
            </a:prstGeom>
          </p:spPr>
        </p:pic>
        <p:pic>
          <p:nvPicPr>
            <p:cNvPr id="400" name="Graphic 399" descr="Woman">
              <a:extLst>
                <a:ext uri="{FF2B5EF4-FFF2-40B4-BE49-F238E27FC236}">
                  <a16:creationId xmlns:a16="http://schemas.microsoft.com/office/drawing/2014/main" id="{1B2F959F-75C8-494F-9676-941FF383C62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5027" y="3298360"/>
              <a:ext cx="203181" cy="247062"/>
            </a:xfrm>
            <a:prstGeom prst="rect">
              <a:avLst/>
            </a:prstGeom>
          </p:spPr>
        </p:pic>
        <p:pic>
          <p:nvPicPr>
            <p:cNvPr id="401" name="Graphic 400" descr="Man">
              <a:extLst>
                <a:ext uri="{FF2B5EF4-FFF2-40B4-BE49-F238E27FC236}">
                  <a16:creationId xmlns:a16="http://schemas.microsoft.com/office/drawing/2014/main" id="{A8AD2F48-2F88-4F42-941D-3B59E671AF2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7670" y="3298360"/>
              <a:ext cx="203181" cy="247062"/>
            </a:xfrm>
            <a:prstGeom prst="rect">
              <a:avLst/>
            </a:prstGeom>
          </p:spPr>
        </p:pic>
        <p:pic>
          <p:nvPicPr>
            <p:cNvPr id="402" name="Graphic 401" descr="Woman">
              <a:extLst>
                <a:ext uri="{FF2B5EF4-FFF2-40B4-BE49-F238E27FC236}">
                  <a16:creationId xmlns:a16="http://schemas.microsoft.com/office/drawing/2014/main" id="{4666D89C-E2FF-4173-BD8C-71CA9D0F813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43455" y="3298360"/>
              <a:ext cx="203181" cy="247062"/>
            </a:xfrm>
            <a:prstGeom prst="rect">
              <a:avLst/>
            </a:prstGeom>
          </p:spPr>
        </p:pic>
        <p:pic>
          <p:nvPicPr>
            <p:cNvPr id="403" name="Graphic 402" descr="Man">
              <a:extLst>
                <a:ext uri="{FF2B5EF4-FFF2-40B4-BE49-F238E27FC236}">
                  <a16:creationId xmlns:a16="http://schemas.microsoft.com/office/drawing/2014/main" id="{A05D57F7-60A7-4D91-AFE4-474C3B07DE3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86099" y="3298360"/>
              <a:ext cx="203181" cy="247062"/>
            </a:xfrm>
            <a:prstGeom prst="rect">
              <a:avLst/>
            </a:prstGeom>
          </p:spPr>
        </p:pic>
        <p:pic>
          <p:nvPicPr>
            <p:cNvPr id="404" name="Graphic 403" descr="Woman">
              <a:extLst>
                <a:ext uri="{FF2B5EF4-FFF2-40B4-BE49-F238E27FC236}">
                  <a16:creationId xmlns:a16="http://schemas.microsoft.com/office/drawing/2014/main" id="{A7B03E73-138C-40DB-8A3B-8B7D1F80195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1884" y="3298360"/>
              <a:ext cx="203181" cy="247062"/>
            </a:xfrm>
            <a:prstGeom prst="rect">
              <a:avLst/>
            </a:prstGeom>
          </p:spPr>
        </p:pic>
        <p:pic>
          <p:nvPicPr>
            <p:cNvPr id="405" name="Graphic 404" descr="Man">
              <a:extLst>
                <a:ext uri="{FF2B5EF4-FFF2-40B4-BE49-F238E27FC236}">
                  <a16:creationId xmlns:a16="http://schemas.microsoft.com/office/drawing/2014/main" id="{20880266-6B4A-44BD-B24A-F27DD97F4BA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14528" y="3298360"/>
              <a:ext cx="203181" cy="247062"/>
            </a:xfrm>
            <a:prstGeom prst="rect">
              <a:avLst/>
            </a:prstGeom>
          </p:spPr>
        </p:pic>
        <p:pic>
          <p:nvPicPr>
            <p:cNvPr id="406" name="Graphic 405" descr="Woman">
              <a:extLst>
                <a:ext uri="{FF2B5EF4-FFF2-40B4-BE49-F238E27FC236}">
                  <a16:creationId xmlns:a16="http://schemas.microsoft.com/office/drawing/2014/main" id="{161B522B-3B9C-442D-822A-C8296A7805F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00314" y="3298360"/>
              <a:ext cx="203181" cy="247062"/>
            </a:xfrm>
            <a:prstGeom prst="rect">
              <a:avLst/>
            </a:prstGeom>
          </p:spPr>
        </p:pic>
        <p:pic>
          <p:nvPicPr>
            <p:cNvPr id="408" name="Graphic 407" descr="Woman">
              <a:extLst>
                <a:ext uri="{FF2B5EF4-FFF2-40B4-BE49-F238E27FC236}">
                  <a16:creationId xmlns:a16="http://schemas.microsoft.com/office/drawing/2014/main" id="{1079F0E6-86C1-4BD1-94DF-3ACF977612E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28744" y="3298360"/>
              <a:ext cx="203181" cy="247062"/>
            </a:xfrm>
            <a:prstGeom prst="rect">
              <a:avLst/>
            </a:prstGeom>
          </p:spPr>
        </p:pic>
        <p:pic>
          <p:nvPicPr>
            <p:cNvPr id="414" name="Graphic 413" descr="Man">
              <a:extLst>
                <a:ext uri="{FF2B5EF4-FFF2-40B4-BE49-F238E27FC236}">
                  <a16:creationId xmlns:a16="http://schemas.microsoft.com/office/drawing/2014/main" id="{9DA8A626-D89C-4282-BCDF-E73C8B610E2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15525" y="3545422"/>
              <a:ext cx="203181" cy="247062"/>
            </a:xfrm>
            <a:prstGeom prst="rect">
              <a:avLst/>
            </a:prstGeom>
          </p:spPr>
        </p:pic>
        <p:pic>
          <p:nvPicPr>
            <p:cNvPr id="415" name="Graphic 414" descr="Woman">
              <a:extLst>
                <a:ext uri="{FF2B5EF4-FFF2-40B4-BE49-F238E27FC236}">
                  <a16:creationId xmlns:a16="http://schemas.microsoft.com/office/drawing/2014/main" id="{98B9404C-F4C4-47FC-83C2-5291CC6764E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601310" y="3545422"/>
              <a:ext cx="203181" cy="247062"/>
            </a:xfrm>
            <a:prstGeom prst="rect">
              <a:avLst/>
            </a:prstGeom>
          </p:spPr>
        </p:pic>
        <p:pic>
          <p:nvPicPr>
            <p:cNvPr id="416" name="Graphic 415" descr="Man">
              <a:extLst>
                <a:ext uri="{FF2B5EF4-FFF2-40B4-BE49-F238E27FC236}">
                  <a16:creationId xmlns:a16="http://schemas.microsoft.com/office/drawing/2014/main" id="{007885B2-D65A-4E6B-B3F9-9B1D945DAFC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3953" y="3545422"/>
              <a:ext cx="203181" cy="247062"/>
            </a:xfrm>
            <a:prstGeom prst="rect">
              <a:avLst/>
            </a:prstGeom>
          </p:spPr>
        </p:pic>
        <p:pic>
          <p:nvPicPr>
            <p:cNvPr id="417" name="Graphic 416" descr="Woman">
              <a:extLst>
                <a:ext uri="{FF2B5EF4-FFF2-40B4-BE49-F238E27FC236}">
                  <a16:creationId xmlns:a16="http://schemas.microsoft.com/office/drawing/2014/main" id="{EAC04E27-F397-4EE6-8823-D79563EE1A9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29738" y="3545422"/>
              <a:ext cx="203181" cy="247062"/>
            </a:xfrm>
            <a:prstGeom prst="rect">
              <a:avLst/>
            </a:prstGeom>
          </p:spPr>
        </p:pic>
        <p:pic>
          <p:nvPicPr>
            <p:cNvPr id="418" name="Graphic 417" descr="Man">
              <a:extLst>
                <a:ext uri="{FF2B5EF4-FFF2-40B4-BE49-F238E27FC236}">
                  <a16:creationId xmlns:a16="http://schemas.microsoft.com/office/drawing/2014/main" id="{9B176453-46F8-436E-A3CF-E67CA874E8F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172382" y="3545422"/>
              <a:ext cx="203181" cy="247062"/>
            </a:xfrm>
            <a:prstGeom prst="rect">
              <a:avLst/>
            </a:prstGeom>
          </p:spPr>
        </p:pic>
        <p:pic>
          <p:nvPicPr>
            <p:cNvPr id="419" name="Graphic 418" descr="Woman">
              <a:extLst>
                <a:ext uri="{FF2B5EF4-FFF2-40B4-BE49-F238E27FC236}">
                  <a16:creationId xmlns:a16="http://schemas.microsoft.com/office/drawing/2014/main" id="{7E34FAF3-F35F-4959-A64E-8DEABEEABDC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058167" y="3545422"/>
              <a:ext cx="203181" cy="247062"/>
            </a:xfrm>
            <a:prstGeom prst="rect">
              <a:avLst/>
            </a:prstGeom>
          </p:spPr>
        </p:pic>
        <p:pic>
          <p:nvPicPr>
            <p:cNvPr id="420" name="Graphic 419" descr="Man">
              <a:extLst>
                <a:ext uri="{FF2B5EF4-FFF2-40B4-BE49-F238E27FC236}">
                  <a16:creationId xmlns:a16="http://schemas.microsoft.com/office/drawing/2014/main" id="{3E189491-9FA1-41DA-8E16-C55BEA70874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00813" y="3545422"/>
              <a:ext cx="203181" cy="247062"/>
            </a:xfrm>
            <a:prstGeom prst="rect">
              <a:avLst/>
            </a:prstGeom>
          </p:spPr>
        </p:pic>
        <p:pic>
          <p:nvPicPr>
            <p:cNvPr id="421" name="Graphic 420" descr="Woman">
              <a:extLst>
                <a:ext uri="{FF2B5EF4-FFF2-40B4-BE49-F238E27FC236}">
                  <a16:creationId xmlns:a16="http://schemas.microsoft.com/office/drawing/2014/main" id="{A4B5FD92-AC97-43BB-886A-5C17E7218F1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86598" y="3545422"/>
              <a:ext cx="203181" cy="247062"/>
            </a:xfrm>
            <a:prstGeom prst="rect">
              <a:avLst/>
            </a:prstGeom>
          </p:spPr>
        </p:pic>
        <p:pic>
          <p:nvPicPr>
            <p:cNvPr id="422" name="Graphic 421" descr="Man">
              <a:extLst>
                <a:ext uri="{FF2B5EF4-FFF2-40B4-BE49-F238E27FC236}">
                  <a16:creationId xmlns:a16="http://schemas.microsoft.com/office/drawing/2014/main" id="{140161CD-F756-4238-ADE1-F09E4DF1AE0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9242" y="3545422"/>
              <a:ext cx="203181" cy="247062"/>
            </a:xfrm>
            <a:prstGeom prst="rect">
              <a:avLst/>
            </a:prstGeom>
          </p:spPr>
        </p:pic>
        <p:pic>
          <p:nvPicPr>
            <p:cNvPr id="423" name="Graphic 422" descr="Woman">
              <a:extLst>
                <a:ext uri="{FF2B5EF4-FFF2-40B4-BE49-F238E27FC236}">
                  <a16:creationId xmlns:a16="http://schemas.microsoft.com/office/drawing/2014/main" id="{C6B2A944-8E0F-4676-9E2F-52CEB482D95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5027" y="3545422"/>
              <a:ext cx="203181" cy="247062"/>
            </a:xfrm>
            <a:prstGeom prst="rect">
              <a:avLst/>
            </a:prstGeom>
          </p:spPr>
        </p:pic>
        <p:pic>
          <p:nvPicPr>
            <p:cNvPr id="424" name="Graphic 423" descr="Man">
              <a:extLst>
                <a:ext uri="{FF2B5EF4-FFF2-40B4-BE49-F238E27FC236}">
                  <a16:creationId xmlns:a16="http://schemas.microsoft.com/office/drawing/2014/main" id="{FCD672D1-F04F-49FA-8CE5-F7994B4DCD9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7670" y="3545422"/>
              <a:ext cx="203181" cy="247062"/>
            </a:xfrm>
            <a:prstGeom prst="rect">
              <a:avLst/>
            </a:prstGeom>
          </p:spPr>
        </p:pic>
        <p:pic>
          <p:nvPicPr>
            <p:cNvPr id="425" name="Graphic 424" descr="Woman">
              <a:extLst>
                <a:ext uri="{FF2B5EF4-FFF2-40B4-BE49-F238E27FC236}">
                  <a16:creationId xmlns:a16="http://schemas.microsoft.com/office/drawing/2014/main" id="{2B823E2B-5450-4B15-8FE3-D5B5854179B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43455" y="3545422"/>
              <a:ext cx="203181" cy="247062"/>
            </a:xfrm>
            <a:prstGeom prst="rect">
              <a:avLst/>
            </a:prstGeom>
          </p:spPr>
        </p:pic>
        <p:pic>
          <p:nvPicPr>
            <p:cNvPr id="426" name="Graphic 425" descr="Man">
              <a:extLst>
                <a:ext uri="{FF2B5EF4-FFF2-40B4-BE49-F238E27FC236}">
                  <a16:creationId xmlns:a16="http://schemas.microsoft.com/office/drawing/2014/main" id="{F9CD2F0D-F1F3-4F27-A417-E1E68E99DC6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86099" y="3545422"/>
              <a:ext cx="203181" cy="247062"/>
            </a:xfrm>
            <a:prstGeom prst="rect">
              <a:avLst/>
            </a:prstGeom>
          </p:spPr>
        </p:pic>
        <p:pic>
          <p:nvPicPr>
            <p:cNvPr id="427" name="Graphic 426" descr="Woman">
              <a:extLst>
                <a:ext uri="{FF2B5EF4-FFF2-40B4-BE49-F238E27FC236}">
                  <a16:creationId xmlns:a16="http://schemas.microsoft.com/office/drawing/2014/main" id="{196A02DF-9960-4088-A85F-10EB6017598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1884" y="3545422"/>
              <a:ext cx="203181" cy="247062"/>
            </a:xfrm>
            <a:prstGeom prst="rect">
              <a:avLst/>
            </a:prstGeom>
          </p:spPr>
        </p:pic>
        <p:pic>
          <p:nvPicPr>
            <p:cNvPr id="428" name="Graphic 427" descr="Man">
              <a:extLst>
                <a:ext uri="{FF2B5EF4-FFF2-40B4-BE49-F238E27FC236}">
                  <a16:creationId xmlns:a16="http://schemas.microsoft.com/office/drawing/2014/main" id="{B7C97180-688B-408F-AF05-8D1CBC7AB02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14528" y="3545422"/>
              <a:ext cx="203181" cy="247062"/>
            </a:xfrm>
            <a:prstGeom prst="rect">
              <a:avLst/>
            </a:prstGeom>
          </p:spPr>
        </p:pic>
        <p:pic>
          <p:nvPicPr>
            <p:cNvPr id="429" name="Graphic 428" descr="Woman">
              <a:extLst>
                <a:ext uri="{FF2B5EF4-FFF2-40B4-BE49-F238E27FC236}">
                  <a16:creationId xmlns:a16="http://schemas.microsoft.com/office/drawing/2014/main" id="{7125600B-4252-4602-8171-B525051F34B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00314" y="3545422"/>
              <a:ext cx="203181" cy="247062"/>
            </a:xfrm>
            <a:prstGeom prst="rect">
              <a:avLst/>
            </a:prstGeom>
          </p:spPr>
        </p:pic>
        <p:pic>
          <p:nvPicPr>
            <p:cNvPr id="431" name="Graphic 430" descr="Woman">
              <a:extLst>
                <a:ext uri="{FF2B5EF4-FFF2-40B4-BE49-F238E27FC236}">
                  <a16:creationId xmlns:a16="http://schemas.microsoft.com/office/drawing/2014/main" id="{C6BFA788-9353-4D78-948A-9EE754A70E7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28744" y="3545422"/>
              <a:ext cx="203181" cy="247062"/>
            </a:xfrm>
            <a:prstGeom prst="rect">
              <a:avLst/>
            </a:prstGeom>
          </p:spPr>
        </p:pic>
        <p:pic>
          <p:nvPicPr>
            <p:cNvPr id="437" name="Graphic 436" descr="Man">
              <a:extLst>
                <a:ext uri="{FF2B5EF4-FFF2-40B4-BE49-F238E27FC236}">
                  <a16:creationId xmlns:a16="http://schemas.microsoft.com/office/drawing/2014/main" id="{647847F0-2678-4A4E-A7C8-3AD9EEE617A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15525" y="3792485"/>
              <a:ext cx="203181" cy="247062"/>
            </a:xfrm>
            <a:prstGeom prst="rect">
              <a:avLst/>
            </a:prstGeom>
          </p:spPr>
        </p:pic>
        <p:pic>
          <p:nvPicPr>
            <p:cNvPr id="438" name="Graphic 437" descr="Woman">
              <a:extLst>
                <a:ext uri="{FF2B5EF4-FFF2-40B4-BE49-F238E27FC236}">
                  <a16:creationId xmlns:a16="http://schemas.microsoft.com/office/drawing/2014/main" id="{ED4E6F94-CC5C-406A-90A6-D5370C1E735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601310" y="3792485"/>
              <a:ext cx="203181" cy="247062"/>
            </a:xfrm>
            <a:prstGeom prst="rect">
              <a:avLst/>
            </a:prstGeom>
          </p:spPr>
        </p:pic>
        <p:pic>
          <p:nvPicPr>
            <p:cNvPr id="439" name="Graphic 438" descr="Man">
              <a:extLst>
                <a:ext uri="{FF2B5EF4-FFF2-40B4-BE49-F238E27FC236}">
                  <a16:creationId xmlns:a16="http://schemas.microsoft.com/office/drawing/2014/main" id="{0CB090C6-511B-485A-AC6F-03917ED8119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3953" y="3792485"/>
              <a:ext cx="203181" cy="247062"/>
            </a:xfrm>
            <a:prstGeom prst="rect">
              <a:avLst/>
            </a:prstGeom>
          </p:spPr>
        </p:pic>
        <p:pic>
          <p:nvPicPr>
            <p:cNvPr id="440" name="Graphic 439" descr="Woman">
              <a:extLst>
                <a:ext uri="{FF2B5EF4-FFF2-40B4-BE49-F238E27FC236}">
                  <a16:creationId xmlns:a16="http://schemas.microsoft.com/office/drawing/2014/main" id="{8D54F061-C2B9-4FD5-B3E6-5A3F70E0B28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29738" y="3792485"/>
              <a:ext cx="203181" cy="247062"/>
            </a:xfrm>
            <a:prstGeom prst="rect">
              <a:avLst/>
            </a:prstGeom>
          </p:spPr>
        </p:pic>
        <p:pic>
          <p:nvPicPr>
            <p:cNvPr id="441" name="Graphic 440" descr="Man">
              <a:extLst>
                <a:ext uri="{FF2B5EF4-FFF2-40B4-BE49-F238E27FC236}">
                  <a16:creationId xmlns:a16="http://schemas.microsoft.com/office/drawing/2014/main" id="{E427E783-F3D6-4A86-96EF-9CDE41A1662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172382" y="3792485"/>
              <a:ext cx="203181" cy="247062"/>
            </a:xfrm>
            <a:prstGeom prst="rect">
              <a:avLst/>
            </a:prstGeom>
          </p:spPr>
        </p:pic>
        <p:pic>
          <p:nvPicPr>
            <p:cNvPr id="442" name="Graphic 441" descr="Woman">
              <a:extLst>
                <a:ext uri="{FF2B5EF4-FFF2-40B4-BE49-F238E27FC236}">
                  <a16:creationId xmlns:a16="http://schemas.microsoft.com/office/drawing/2014/main" id="{F933109E-763C-420D-A1FC-84B3BA2E660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058167" y="3792485"/>
              <a:ext cx="203181" cy="247062"/>
            </a:xfrm>
            <a:prstGeom prst="rect">
              <a:avLst/>
            </a:prstGeom>
          </p:spPr>
        </p:pic>
        <p:pic>
          <p:nvPicPr>
            <p:cNvPr id="443" name="Graphic 442" descr="Man">
              <a:extLst>
                <a:ext uri="{FF2B5EF4-FFF2-40B4-BE49-F238E27FC236}">
                  <a16:creationId xmlns:a16="http://schemas.microsoft.com/office/drawing/2014/main" id="{33AC7DBE-D8DA-4118-8952-B31C2F38705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00813" y="3792485"/>
              <a:ext cx="203181" cy="247062"/>
            </a:xfrm>
            <a:prstGeom prst="rect">
              <a:avLst/>
            </a:prstGeom>
          </p:spPr>
        </p:pic>
        <p:pic>
          <p:nvPicPr>
            <p:cNvPr id="444" name="Graphic 443" descr="Woman">
              <a:extLst>
                <a:ext uri="{FF2B5EF4-FFF2-40B4-BE49-F238E27FC236}">
                  <a16:creationId xmlns:a16="http://schemas.microsoft.com/office/drawing/2014/main" id="{4A8E2B30-84AB-4397-A0BA-7E5EFD906962}"/>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86598" y="3792485"/>
              <a:ext cx="203181" cy="247062"/>
            </a:xfrm>
            <a:prstGeom prst="rect">
              <a:avLst/>
            </a:prstGeom>
          </p:spPr>
        </p:pic>
        <p:pic>
          <p:nvPicPr>
            <p:cNvPr id="445" name="Graphic 444" descr="Man">
              <a:extLst>
                <a:ext uri="{FF2B5EF4-FFF2-40B4-BE49-F238E27FC236}">
                  <a16:creationId xmlns:a16="http://schemas.microsoft.com/office/drawing/2014/main" id="{E75B4C9B-A357-4D0C-A7BC-5BFD0342425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9242" y="3792485"/>
              <a:ext cx="203181" cy="247062"/>
            </a:xfrm>
            <a:prstGeom prst="rect">
              <a:avLst/>
            </a:prstGeom>
          </p:spPr>
        </p:pic>
        <p:pic>
          <p:nvPicPr>
            <p:cNvPr id="446" name="Graphic 445" descr="Woman">
              <a:extLst>
                <a:ext uri="{FF2B5EF4-FFF2-40B4-BE49-F238E27FC236}">
                  <a16:creationId xmlns:a16="http://schemas.microsoft.com/office/drawing/2014/main" id="{C3698308-B194-42DE-AD47-F8D0E360F17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5027" y="3792485"/>
              <a:ext cx="203181" cy="247062"/>
            </a:xfrm>
            <a:prstGeom prst="rect">
              <a:avLst/>
            </a:prstGeom>
          </p:spPr>
        </p:pic>
        <p:pic>
          <p:nvPicPr>
            <p:cNvPr id="447" name="Graphic 446" descr="Man">
              <a:extLst>
                <a:ext uri="{FF2B5EF4-FFF2-40B4-BE49-F238E27FC236}">
                  <a16:creationId xmlns:a16="http://schemas.microsoft.com/office/drawing/2014/main" id="{75FD48DD-21A3-402F-ABF0-D3C40921A9A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7670" y="3792485"/>
              <a:ext cx="203181" cy="247062"/>
            </a:xfrm>
            <a:prstGeom prst="rect">
              <a:avLst/>
            </a:prstGeom>
          </p:spPr>
        </p:pic>
        <p:pic>
          <p:nvPicPr>
            <p:cNvPr id="448" name="Graphic 447" descr="Woman">
              <a:extLst>
                <a:ext uri="{FF2B5EF4-FFF2-40B4-BE49-F238E27FC236}">
                  <a16:creationId xmlns:a16="http://schemas.microsoft.com/office/drawing/2014/main" id="{21DADCA1-CBDE-4B66-B933-173643BB9EF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43455" y="3792485"/>
              <a:ext cx="203181" cy="247062"/>
            </a:xfrm>
            <a:prstGeom prst="rect">
              <a:avLst/>
            </a:prstGeom>
          </p:spPr>
        </p:pic>
        <p:pic>
          <p:nvPicPr>
            <p:cNvPr id="449" name="Graphic 448" descr="Man">
              <a:extLst>
                <a:ext uri="{FF2B5EF4-FFF2-40B4-BE49-F238E27FC236}">
                  <a16:creationId xmlns:a16="http://schemas.microsoft.com/office/drawing/2014/main" id="{780EA6D2-CE49-4794-802B-B2B8402EAF4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86099" y="3792485"/>
              <a:ext cx="203181" cy="247062"/>
            </a:xfrm>
            <a:prstGeom prst="rect">
              <a:avLst/>
            </a:prstGeom>
          </p:spPr>
        </p:pic>
        <p:pic>
          <p:nvPicPr>
            <p:cNvPr id="450" name="Graphic 449" descr="Woman">
              <a:extLst>
                <a:ext uri="{FF2B5EF4-FFF2-40B4-BE49-F238E27FC236}">
                  <a16:creationId xmlns:a16="http://schemas.microsoft.com/office/drawing/2014/main" id="{34AF860D-6F00-4E4A-B2B1-8602D914857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1884" y="3792485"/>
              <a:ext cx="203181" cy="247062"/>
            </a:xfrm>
            <a:prstGeom prst="rect">
              <a:avLst/>
            </a:prstGeom>
          </p:spPr>
        </p:pic>
        <p:pic>
          <p:nvPicPr>
            <p:cNvPr id="451" name="Graphic 450" descr="Man">
              <a:extLst>
                <a:ext uri="{FF2B5EF4-FFF2-40B4-BE49-F238E27FC236}">
                  <a16:creationId xmlns:a16="http://schemas.microsoft.com/office/drawing/2014/main" id="{B038588C-784A-4062-B3FF-2638921C9F2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14528" y="3792485"/>
              <a:ext cx="203181" cy="247062"/>
            </a:xfrm>
            <a:prstGeom prst="rect">
              <a:avLst/>
            </a:prstGeom>
          </p:spPr>
        </p:pic>
        <p:pic>
          <p:nvPicPr>
            <p:cNvPr id="452" name="Graphic 451" descr="Woman">
              <a:extLst>
                <a:ext uri="{FF2B5EF4-FFF2-40B4-BE49-F238E27FC236}">
                  <a16:creationId xmlns:a16="http://schemas.microsoft.com/office/drawing/2014/main" id="{FCFB646A-23F5-47C1-A9CB-C39E58D2D679}"/>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00314" y="3792485"/>
              <a:ext cx="203181" cy="247062"/>
            </a:xfrm>
            <a:prstGeom prst="rect">
              <a:avLst/>
            </a:prstGeom>
          </p:spPr>
        </p:pic>
        <p:pic>
          <p:nvPicPr>
            <p:cNvPr id="454" name="Graphic 453" descr="Woman">
              <a:extLst>
                <a:ext uri="{FF2B5EF4-FFF2-40B4-BE49-F238E27FC236}">
                  <a16:creationId xmlns:a16="http://schemas.microsoft.com/office/drawing/2014/main" id="{A7BB427C-6412-4EBE-BF44-6D6536D2D563}"/>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28744" y="3792485"/>
              <a:ext cx="203181" cy="247062"/>
            </a:xfrm>
            <a:prstGeom prst="rect">
              <a:avLst/>
            </a:prstGeom>
          </p:spPr>
        </p:pic>
        <p:grpSp>
          <p:nvGrpSpPr>
            <p:cNvPr id="529" name="Group 528">
              <a:extLst>
                <a:ext uri="{FF2B5EF4-FFF2-40B4-BE49-F238E27FC236}">
                  <a16:creationId xmlns:a16="http://schemas.microsoft.com/office/drawing/2014/main" id="{7F889158-B32C-4658-BD28-29000D3A1BF7}"/>
                </a:ext>
              </a:extLst>
            </p:cNvPr>
            <p:cNvGrpSpPr/>
            <p:nvPr/>
          </p:nvGrpSpPr>
          <p:grpSpPr>
            <a:xfrm>
              <a:off x="4678610" y="3298360"/>
              <a:ext cx="2030613" cy="741188"/>
              <a:chOff x="5731546" y="2074792"/>
              <a:chExt cx="2406486" cy="722370"/>
            </a:xfrm>
          </p:grpSpPr>
          <p:pic>
            <p:nvPicPr>
              <p:cNvPr id="460" name="Graphic 459" descr="Man">
                <a:extLst>
                  <a:ext uri="{FF2B5EF4-FFF2-40B4-BE49-F238E27FC236}">
                    <a16:creationId xmlns:a16="http://schemas.microsoft.com/office/drawing/2014/main" id="{0DA7F4C6-CF45-4488-AC12-A49F98CA1C44}"/>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66902" y="2074792"/>
                <a:ext cx="240790" cy="240790"/>
              </a:xfrm>
              <a:prstGeom prst="rect">
                <a:avLst/>
              </a:prstGeom>
            </p:spPr>
          </p:pic>
          <p:pic>
            <p:nvPicPr>
              <p:cNvPr id="461" name="Graphic 460" descr="Woman">
                <a:extLst>
                  <a:ext uri="{FF2B5EF4-FFF2-40B4-BE49-F238E27FC236}">
                    <a16:creationId xmlns:a16="http://schemas.microsoft.com/office/drawing/2014/main" id="{22A6546B-24E3-4EC5-B9E6-5F78EA44255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731546" y="2074792"/>
                <a:ext cx="240790" cy="240790"/>
              </a:xfrm>
              <a:prstGeom prst="rect">
                <a:avLst/>
              </a:prstGeom>
            </p:spPr>
          </p:pic>
          <p:pic>
            <p:nvPicPr>
              <p:cNvPr id="462" name="Graphic 461" descr="Man">
                <a:extLst>
                  <a:ext uri="{FF2B5EF4-FFF2-40B4-BE49-F238E27FC236}">
                    <a16:creationId xmlns:a16="http://schemas.microsoft.com/office/drawing/2014/main" id="{499FDE93-437F-4124-992A-A6337EE68B98}"/>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137614" y="2074792"/>
                <a:ext cx="240790" cy="240790"/>
              </a:xfrm>
              <a:prstGeom prst="rect">
                <a:avLst/>
              </a:prstGeom>
            </p:spPr>
          </p:pic>
          <p:pic>
            <p:nvPicPr>
              <p:cNvPr id="463" name="Graphic 462" descr="Woman">
                <a:extLst>
                  <a:ext uri="{FF2B5EF4-FFF2-40B4-BE49-F238E27FC236}">
                    <a16:creationId xmlns:a16="http://schemas.microsoft.com/office/drawing/2014/main" id="{1BDCDA01-3181-4917-AF58-366A88AEA2C7}"/>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002258" y="2074792"/>
                <a:ext cx="240790" cy="240790"/>
              </a:xfrm>
              <a:prstGeom prst="rect">
                <a:avLst/>
              </a:prstGeom>
            </p:spPr>
          </p:pic>
          <p:pic>
            <p:nvPicPr>
              <p:cNvPr id="464" name="Graphic 463" descr="Man">
                <a:extLst>
                  <a:ext uri="{FF2B5EF4-FFF2-40B4-BE49-F238E27FC236}">
                    <a16:creationId xmlns:a16="http://schemas.microsoft.com/office/drawing/2014/main" id="{D482B339-A80A-4A3E-8D39-52E6AE0BF7B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08326" y="2074792"/>
                <a:ext cx="240790" cy="240790"/>
              </a:xfrm>
              <a:prstGeom prst="rect">
                <a:avLst/>
              </a:prstGeom>
            </p:spPr>
          </p:pic>
          <p:pic>
            <p:nvPicPr>
              <p:cNvPr id="465" name="Graphic 464" descr="Woman">
                <a:extLst>
                  <a:ext uri="{FF2B5EF4-FFF2-40B4-BE49-F238E27FC236}">
                    <a16:creationId xmlns:a16="http://schemas.microsoft.com/office/drawing/2014/main" id="{7697B9CE-2FAF-4B3E-BACD-62E32B618131}"/>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272970" y="2074792"/>
                <a:ext cx="240790" cy="240790"/>
              </a:xfrm>
              <a:prstGeom prst="rect">
                <a:avLst/>
              </a:prstGeom>
            </p:spPr>
          </p:pic>
          <p:pic>
            <p:nvPicPr>
              <p:cNvPr id="466" name="Graphic 465" descr="Man">
                <a:extLst>
                  <a:ext uri="{FF2B5EF4-FFF2-40B4-BE49-F238E27FC236}">
                    <a16:creationId xmlns:a16="http://schemas.microsoft.com/office/drawing/2014/main" id="{F00EDF48-B15F-4890-82C9-3DBCD52F0B4C}"/>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679038" y="2074792"/>
                <a:ext cx="240790" cy="240790"/>
              </a:xfrm>
              <a:prstGeom prst="rect">
                <a:avLst/>
              </a:prstGeom>
            </p:spPr>
          </p:pic>
          <p:pic>
            <p:nvPicPr>
              <p:cNvPr id="467" name="Graphic 466" descr="Woman">
                <a:extLst>
                  <a:ext uri="{FF2B5EF4-FFF2-40B4-BE49-F238E27FC236}">
                    <a16:creationId xmlns:a16="http://schemas.microsoft.com/office/drawing/2014/main" id="{494B239F-92AE-4B73-B33A-479C4FB9033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543682" y="2074792"/>
                <a:ext cx="240790" cy="240790"/>
              </a:xfrm>
              <a:prstGeom prst="rect">
                <a:avLst/>
              </a:prstGeom>
            </p:spPr>
          </p:pic>
          <p:pic>
            <p:nvPicPr>
              <p:cNvPr id="468" name="Graphic 467" descr="Man">
                <a:extLst>
                  <a:ext uri="{FF2B5EF4-FFF2-40B4-BE49-F238E27FC236}">
                    <a16:creationId xmlns:a16="http://schemas.microsoft.com/office/drawing/2014/main" id="{0B3D2C17-9463-48B0-9445-D41A925F351E}"/>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949750" y="2074792"/>
                <a:ext cx="240790" cy="240790"/>
              </a:xfrm>
              <a:prstGeom prst="rect">
                <a:avLst/>
              </a:prstGeom>
            </p:spPr>
          </p:pic>
          <p:pic>
            <p:nvPicPr>
              <p:cNvPr id="469" name="Graphic 468" descr="Woman">
                <a:extLst>
                  <a:ext uri="{FF2B5EF4-FFF2-40B4-BE49-F238E27FC236}">
                    <a16:creationId xmlns:a16="http://schemas.microsoft.com/office/drawing/2014/main" id="{A2B736EF-28EF-48E3-921C-34D8E78ED047}"/>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814394" y="2074792"/>
                <a:ext cx="240790" cy="240790"/>
              </a:xfrm>
              <a:prstGeom prst="rect">
                <a:avLst/>
              </a:prstGeom>
            </p:spPr>
          </p:pic>
          <p:pic>
            <p:nvPicPr>
              <p:cNvPr id="470" name="Graphic 469" descr="Man">
                <a:extLst>
                  <a:ext uri="{FF2B5EF4-FFF2-40B4-BE49-F238E27FC236}">
                    <a16:creationId xmlns:a16="http://schemas.microsoft.com/office/drawing/2014/main" id="{3EA56772-043E-4F99-9B0D-985A29E6D730}"/>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220462" y="2074792"/>
                <a:ext cx="240790" cy="240790"/>
              </a:xfrm>
              <a:prstGeom prst="rect">
                <a:avLst/>
              </a:prstGeom>
            </p:spPr>
          </p:pic>
          <p:pic>
            <p:nvPicPr>
              <p:cNvPr id="471" name="Graphic 470" descr="Woman">
                <a:extLst>
                  <a:ext uri="{FF2B5EF4-FFF2-40B4-BE49-F238E27FC236}">
                    <a16:creationId xmlns:a16="http://schemas.microsoft.com/office/drawing/2014/main" id="{F1E22BF1-140F-46FF-B913-ACF9A58223E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085106" y="2074792"/>
                <a:ext cx="240790" cy="240790"/>
              </a:xfrm>
              <a:prstGeom prst="rect">
                <a:avLst/>
              </a:prstGeom>
            </p:spPr>
          </p:pic>
          <p:pic>
            <p:nvPicPr>
              <p:cNvPr id="472" name="Graphic 471" descr="Man">
                <a:extLst>
                  <a:ext uri="{FF2B5EF4-FFF2-40B4-BE49-F238E27FC236}">
                    <a16:creationId xmlns:a16="http://schemas.microsoft.com/office/drawing/2014/main" id="{AEBAEB78-FEC1-431C-A4F8-57986B4BF2D8}"/>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491174" y="2074792"/>
                <a:ext cx="240790" cy="240790"/>
              </a:xfrm>
              <a:prstGeom prst="rect">
                <a:avLst/>
              </a:prstGeom>
            </p:spPr>
          </p:pic>
          <p:pic>
            <p:nvPicPr>
              <p:cNvPr id="473" name="Graphic 472" descr="Woman">
                <a:extLst>
                  <a:ext uri="{FF2B5EF4-FFF2-40B4-BE49-F238E27FC236}">
                    <a16:creationId xmlns:a16="http://schemas.microsoft.com/office/drawing/2014/main" id="{D84F2B66-1A79-4B94-9EEA-485E95A6E47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55818" y="2074792"/>
                <a:ext cx="240790" cy="240790"/>
              </a:xfrm>
              <a:prstGeom prst="rect">
                <a:avLst/>
              </a:prstGeom>
            </p:spPr>
          </p:pic>
          <p:pic>
            <p:nvPicPr>
              <p:cNvPr id="474" name="Graphic 473" descr="Man">
                <a:extLst>
                  <a:ext uri="{FF2B5EF4-FFF2-40B4-BE49-F238E27FC236}">
                    <a16:creationId xmlns:a16="http://schemas.microsoft.com/office/drawing/2014/main" id="{291B191B-72C0-4430-8223-FF3E227E1888}"/>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1886" y="2074792"/>
                <a:ext cx="240790" cy="240790"/>
              </a:xfrm>
              <a:prstGeom prst="rect">
                <a:avLst/>
              </a:prstGeom>
            </p:spPr>
          </p:pic>
          <p:pic>
            <p:nvPicPr>
              <p:cNvPr id="475" name="Graphic 474" descr="Woman">
                <a:extLst>
                  <a:ext uri="{FF2B5EF4-FFF2-40B4-BE49-F238E27FC236}">
                    <a16:creationId xmlns:a16="http://schemas.microsoft.com/office/drawing/2014/main" id="{863ABC64-0830-4B8E-9C02-2026578E5C3A}"/>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626530" y="2074792"/>
                <a:ext cx="240790" cy="240790"/>
              </a:xfrm>
              <a:prstGeom prst="rect">
                <a:avLst/>
              </a:prstGeom>
            </p:spPr>
          </p:pic>
          <p:pic>
            <p:nvPicPr>
              <p:cNvPr id="477" name="Graphic 476" descr="Woman">
                <a:extLst>
                  <a:ext uri="{FF2B5EF4-FFF2-40B4-BE49-F238E27FC236}">
                    <a16:creationId xmlns:a16="http://schemas.microsoft.com/office/drawing/2014/main" id="{6821FA31-7AEC-426A-BDF0-A549CCFDFCB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897242" y="2074792"/>
                <a:ext cx="240790" cy="240790"/>
              </a:xfrm>
              <a:prstGeom prst="rect">
                <a:avLst/>
              </a:prstGeom>
            </p:spPr>
          </p:pic>
          <p:pic>
            <p:nvPicPr>
              <p:cNvPr id="483" name="Graphic 482" descr="Man">
                <a:extLst>
                  <a:ext uri="{FF2B5EF4-FFF2-40B4-BE49-F238E27FC236}">
                    <a16:creationId xmlns:a16="http://schemas.microsoft.com/office/drawing/2014/main" id="{20B7D384-FCDB-4403-AFE3-156DFCBE3BD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66902" y="2315582"/>
                <a:ext cx="240790" cy="240790"/>
              </a:xfrm>
              <a:prstGeom prst="rect">
                <a:avLst/>
              </a:prstGeom>
            </p:spPr>
          </p:pic>
          <p:pic>
            <p:nvPicPr>
              <p:cNvPr id="484" name="Graphic 483" descr="Woman">
                <a:extLst>
                  <a:ext uri="{FF2B5EF4-FFF2-40B4-BE49-F238E27FC236}">
                    <a16:creationId xmlns:a16="http://schemas.microsoft.com/office/drawing/2014/main" id="{860EDBA8-A7CE-47F1-8E9A-81270FD80CEE}"/>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731546" y="2315582"/>
                <a:ext cx="240790" cy="240790"/>
              </a:xfrm>
              <a:prstGeom prst="rect">
                <a:avLst/>
              </a:prstGeom>
            </p:spPr>
          </p:pic>
          <p:pic>
            <p:nvPicPr>
              <p:cNvPr id="485" name="Graphic 484" descr="Man">
                <a:extLst>
                  <a:ext uri="{FF2B5EF4-FFF2-40B4-BE49-F238E27FC236}">
                    <a16:creationId xmlns:a16="http://schemas.microsoft.com/office/drawing/2014/main" id="{9B9DBADE-B75B-47AF-A950-68C5AF08018B}"/>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137614" y="2315582"/>
                <a:ext cx="240790" cy="240790"/>
              </a:xfrm>
              <a:prstGeom prst="rect">
                <a:avLst/>
              </a:prstGeom>
            </p:spPr>
          </p:pic>
          <p:pic>
            <p:nvPicPr>
              <p:cNvPr id="486" name="Graphic 485" descr="Woman">
                <a:extLst>
                  <a:ext uri="{FF2B5EF4-FFF2-40B4-BE49-F238E27FC236}">
                    <a16:creationId xmlns:a16="http://schemas.microsoft.com/office/drawing/2014/main" id="{020E477A-6667-4EEE-8B00-A74F025510FF}"/>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002258" y="2315582"/>
                <a:ext cx="240790" cy="240790"/>
              </a:xfrm>
              <a:prstGeom prst="rect">
                <a:avLst/>
              </a:prstGeom>
            </p:spPr>
          </p:pic>
          <p:pic>
            <p:nvPicPr>
              <p:cNvPr id="487" name="Graphic 486" descr="Man">
                <a:extLst>
                  <a:ext uri="{FF2B5EF4-FFF2-40B4-BE49-F238E27FC236}">
                    <a16:creationId xmlns:a16="http://schemas.microsoft.com/office/drawing/2014/main" id="{A766736D-83C6-4FA6-96FA-7BD56E8B16AB}"/>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08326" y="2315582"/>
                <a:ext cx="240790" cy="240790"/>
              </a:xfrm>
              <a:prstGeom prst="rect">
                <a:avLst/>
              </a:prstGeom>
            </p:spPr>
          </p:pic>
          <p:pic>
            <p:nvPicPr>
              <p:cNvPr id="488" name="Graphic 487" descr="Woman">
                <a:extLst>
                  <a:ext uri="{FF2B5EF4-FFF2-40B4-BE49-F238E27FC236}">
                    <a16:creationId xmlns:a16="http://schemas.microsoft.com/office/drawing/2014/main" id="{AF53FFE0-0C27-490F-BECE-B3AEAB8350E2}"/>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272970" y="2315582"/>
                <a:ext cx="240790" cy="240790"/>
              </a:xfrm>
              <a:prstGeom prst="rect">
                <a:avLst/>
              </a:prstGeom>
            </p:spPr>
          </p:pic>
          <p:pic>
            <p:nvPicPr>
              <p:cNvPr id="489" name="Graphic 488" descr="Man">
                <a:extLst>
                  <a:ext uri="{FF2B5EF4-FFF2-40B4-BE49-F238E27FC236}">
                    <a16:creationId xmlns:a16="http://schemas.microsoft.com/office/drawing/2014/main" id="{0C0B79EA-7739-48F8-843E-527069C4DF7C}"/>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679038" y="2315582"/>
                <a:ext cx="240790" cy="240790"/>
              </a:xfrm>
              <a:prstGeom prst="rect">
                <a:avLst/>
              </a:prstGeom>
            </p:spPr>
          </p:pic>
          <p:pic>
            <p:nvPicPr>
              <p:cNvPr id="490" name="Graphic 489" descr="Woman">
                <a:extLst>
                  <a:ext uri="{FF2B5EF4-FFF2-40B4-BE49-F238E27FC236}">
                    <a16:creationId xmlns:a16="http://schemas.microsoft.com/office/drawing/2014/main" id="{A630C430-F33B-4DF0-9A89-28FBC030BB6E}"/>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543682" y="2315582"/>
                <a:ext cx="240790" cy="240790"/>
              </a:xfrm>
              <a:prstGeom prst="rect">
                <a:avLst/>
              </a:prstGeom>
            </p:spPr>
          </p:pic>
          <p:pic>
            <p:nvPicPr>
              <p:cNvPr id="491" name="Graphic 490" descr="Man">
                <a:extLst>
                  <a:ext uri="{FF2B5EF4-FFF2-40B4-BE49-F238E27FC236}">
                    <a16:creationId xmlns:a16="http://schemas.microsoft.com/office/drawing/2014/main" id="{F9554032-CEF0-433D-80E7-FACEB4101910}"/>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949750" y="2315582"/>
                <a:ext cx="240790" cy="240790"/>
              </a:xfrm>
              <a:prstGeom prst="rect">
                <a:avLst/>
              </a:prstGeom>
            </p:spPr>
          </p:pic>
          <p:pic>
            <p:nvPicPr>
              <p:cNvPr id="492" name="Graphic 491" descr="Woman">
                <a:extLst>
                  <a:ext uri="{FF2B5EF4-FFF2-40B4-BE49-F238E27FC236}">
                    <a16:creationId xmlns:a16="http://schemas.microsoft.com/office/drawing/2014/main" id="{77B4A675-CD41-456E-955B-CC951C185F87}"/>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814394" y="2315582"/>
                <a:ext cx="240790" cy="240790"/>
              </a:xfrm>
              <a:prstGeom prst="rect">
                <a:avLst/>
              </a:prstGeom>
            </p:spPr>
          </p:pic>
          <p:pic>
            <p:nvPicPr>
              <p:cNvPr id="493" name="Graphic 492" descr="Man">
                <a:extLst>
                  <a:ext uri="{FF2B5EF4-FFF2-40B4-BE49-F238E27FC236}">
                    <a16:creationId xmlns:a16="http://schemas.microsoft.com/office/drawing/2014/main" id="{CDDF1696-1668-49AD-9C15-D598FB09E40D}"/>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220462" y="2315582"/>
                <a:ext cx="240790" cy="240790"/>
              </a:xfrm>
              <a:prstGeom prst="rect">
                <a:avLst/>
              </a:prstGeom>
            </p:spPr>
          </p:pic>
          <p:pic>
            <p:nvPicPr>
              <p:cNvPr id="494" name="Graphic 493" descr="Woman">
                <a:extLst>
                  <a:ext uri="{FF2B5EF4-FFF2-40B4-BE49-F238E27FC236}">
                    <a16:creationId xmlns:a16="http://schemas.microsoft.com/office/drawing/2014/main" id="{3E14D853-D565-466D-ACAC-CA18AC3F77C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085106" y="2315582"/>
                <a:ext cx="240790" cy="240790"/>
              </a:xfrm>
              <a:prstGeom prst="rect">
                <a:avLst/>
              </a:prstGeom>
            </p:spPr>
          </p:pic>
          <p:pic>
            <p:nvPicPr>
              <p:cNvPr id="495" name="Graphic 494" descr="Man">
                <a:extLst>
                  <a:ext uri="{FF2B5EF4-FFF2-40B4-BE49-F238E27FC236}">
                    <a16:creationId xmlns:a16="http://schemas.microsoft.com/office/drawing/2014/main" id="{8EC5F050-0107-47A2-B20B-2C902BA6F07C}"/>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491174" y="2315582"/>
                <a:ext cx="240790" cy="240790"/>
              </a:xfrm>
              <a:prstGeom prst="rect">
                <a:avLst/>
              </a:prstGeom>
            </p:spPr>
          </p:pic>
          <p:pic>
            <p:nvPicPr>
              <p:cNvPr id="496" name="Graphic 495" descr="Woman">
                <a:extLst>
                  <a:ext uri="{FF2B5EF4-FFF2-40B4-BE49-F238E27FC236}">
                    <a16:creationId xmlns:a16="http://schemas.microsoft.com/office/drawing/2014/main" id="{BD7CFE0C-D209-4B4C-BBB9-4662B2904DEF}"/>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55818" y="2315582"/>
                <a:ext cx="240790" cy="240790"/>
              </a:xfrm>
              <a:prstGeom prst="rect">
                <a:avLst/>
              </a:prstGeom>
            </p:spPr>
          </p:pic>
          <p:pic>
            <p:nvPicPr>
              <p:cNvPr id="497" name="Graphic 496" descr="Man">
                <a:extLst>
                  <a:ext uri="{FF2B5EF4-FFF2-40B4-BE49-F238E27FC236}">
                    <a16:creationId xmlns:a16="http://schemas.microsoft.com/office/drawing/2014/main" id="{79751F5D-DE97-4DE3-A5DA-86EE8E6E23CE}"/>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1886" y="2315582"/>
                <a:ext cx="240790" cy="240790"/>
              </a:xfrm>
              <a:prstGeom prst="rect">
                <a:avLst/>
              </a:prstGeom>
            </p:spPr>
          </p:pic>
          <p:pic>
            <p:nvPicPr>
              <p:cNvPr id="498" name="Graphic 497" descr="Woman">
                <a:extLst>
                  <a:ext uri="{FF2B5EF4-FFF2-40B4-BE49-F238E27FC236}">
                    <a16:creationId xmlns:a16="http://schemas.microsoft.com/office/drawing/2014/main" id="{E300F7D4-2614-43DD-B0C9-D18CB96792AD}"/>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626530" y="2315582"/>
                <a:ext cx="240790" cy="240790"/>
              </a:xfrm>
              <a:prstGeom prst="rect">
                <a:avLst/>
              </a:prstGeom>
            </p:spPr>
          </p:pic>
          <p:pic>
            <p:nvPicPr>
              <p:cNvPr id="500" name="Graphic 499" descr="Woman">
                <a:extLst>
                  <a:ext uri="{FF2B5EF4-FFF2-40B4-BE49-F238E27FC236}">
                    <a16:creationId xmlns:a16="http://schemas.microsoft.com/office/drawing/2014/main" id="{17F5145E-B4BE-4817-B616-099EEAACC6B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897242" y="2315582"/>
                <a:ext cx="240790" cy="240790"/>
              </a:xfrm>
              <a:prstGeom prst="rect">
                <a:avLst/>
              </a:prstGeom>
            </p:spPr>
          </p:pic>
          <p:pic>
            <p:nvPicPr>
              <p:cNvPr id="506" name="Graphic 505" descr="Man">
                <a:extLst>
                  <a:ext uri="{FF2B5EF4-FFF2-40B4-BE49-F238E27FC236}">
                    <a16:creationId xmlns:a16="http://schemas.microsoft.com/office/drawing/2014/main" id="{6324F7F8-5208-4336-B653-B7C08D6FD19A}"/>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66902" y="2556372"/>
                <a:ext cx="240790" cy="240790"/>
              </a:xfrm>
              <a:prstGeom prst="rect">
                <a:avLst/>
              </a:prstGeom>
            </p:spPr>
          </p:pic>
          <p:pic>
            <p:nvPicPr>
              <p:cNvPr id="507" name="Graphic 506" descr="Woman">
                <a:extLst>
                  <a:ext uri="{FF2B5EF4-FFF2-40B4-BE49-F238E27FC236}">
                    <a16:creationId xmlns:a16="http://schemas.microsoft.com/office/drawing/2014/main" id="{EBC17E25-E424-4A7C-A0BE-3856A94B3E1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731546" y="2556372"/>
                <a:ext cx="240790" cy="240790"/>
              </a:xfrm>
              <a:prstGeom prst="rect">
                <a:avLst/>
              </a:prstGeom>
            </p:spPr>
          </p:pic>
          <p:pic>
            <p:nvPicPr>
              <p:cNvPr id="508" name="Graphic 507" descr="Man">
                <a:extLst>
                  <a:ext uri="{FF2B5EF4-FFF2-40B4-BE49-F238E27FC236}">
                    <a16:creationId xmlns:a16="http://schemas.microsoft.com/office/drawing/2014/main" id="{BCF92B5C-5759-4B27-A8C3-72AC000F228D}"/>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137614" y="2556372"/>
                <a:ext cx="240790" cy="240790"/>
              </a:xfrm>
              <a:prstGeom prst="rect">
                <a:avLst/>
              </a:prstGeom>
            </p:spPr>
          </p:pic>
          <p:pic>
            <p:nvPicPr>
              <p:cNvPr id="509" name="Graphic 508" descr="Woman">
                <a:extLst>
                  <a:ext uri="{FF2B5EF4-FFF2-40B4-BE49-F238E27FC236}">
                    <a16:creationId xmlns:a16="http://schemas.microsoft.com/office/drawing/2014/main" id="{7D7B3556-032E-4CCC-88BE-3FE2DB1FDF5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002258" y="2556372"/>
                <a:ext cx="240790" cy="240790"/>
              </a:xfrm>
              <a:prstGeom prst="rect">
                <a:avLst/>
              </a:prstGeom>
            </p:spPr>
          </p:pic>
          <p:pic>
            <p:nvPicPr>
              <p:cNvPr id="510" name="Graphic 509" descr="Man">
                <a:extLst>
                  <a:ext uri="{FF2B5EF4-FFF2-40B4-BE49-F238E27FC236}">
                    <a16:creationId xmlns:a16="http://schemas.microsoft.com/office/drawing/2014/main" id="{EEADBF1A-51EA-43BF-A653-3FDD3B6C582D}"/>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08326" y="2556372"/>
                <a:ext cx="240790" cy="240790"/>
              </a:xfrm>
              <a:prstGeom prst="rect">
                <a:avLst/>
              </a:prstGeom>
            </p:spPr>
          </p:pic>
          <p:pic>
            <p:nvPicPr>
              <p:cNvPr id="511" name="Graphic 510" descr="Woman">
                <a:extLst>
                  <a:ext uri="{FF2B5EF4-FFF2-40B4-BE49-F238E27FC236}">
                    <a16:creationId xmlns:a16="http://schemas.microsoft.com/office/drawing/2014/main" id="{8DB6333D-11DC-409C-95FC-E2CD6906A8F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272970" y="2556372"/>
                <a:ext cx="240790" cy="240790"/>
              </a:xfrm>
              <a:prstGeom prst="rect">
                <a:avLst/>
              </a:prstGeom>
            </p:spPr>
          </p:pic>
          <p:pic>
            <p:nvPicPr>
              <p:cNvPr id="512" name="Graphic 511" descr="Man">
                <a:extLst>
                  <a:ext uri="{FF2B5EF4-FFF2-40B4-BE49-F238E27FC236}">
                    <a16:creationId xmlns:a16="http://schemas.microsoft.com/office/drawing/2014/main" id="{3E04FFFF-2EC6-472B-892C-0BCE7E7070F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679038" y="2556372"/>
                <a:ext cx="240790" cy="240790"/>
              </a:xfrm>
              <a:prstGeom prst="rect">
                <a:avLst/>
              </a:prstGeom>
            </p:spPr>
          </p:pic>
          <p:pic>
            <p:nvPicPr>
              <p:cNvPr id="513" name="Graphic 512" descr="Woman">
                <a:extLst>
                  <a:ext uri="{FF2B5EF4-FFF2-40B4-BE49-F238E27FC236}">
                    <a16:creationId xmlns:a16="http://schemas.microsoft.com/office/drawing/2014/main" id="{EBDAA068-E480-46AE-B05D-1F6586DAF0BD}"/>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543682" y="2556372"/>
                <a:ext cx="240790" cy="240790"/>
              </a:xfrm>
              <a:prstGeom prst="rect">
                <a:avLst/>
              </a:prstGeom>
            </p:spPr>
          </p:pic>
          <p:pic>
            <p:nvPicPr>
              <p:cNvPr id="514" name="Graphic 513" descr="Man">
                <a:extLst>
                  <a:ext uri="{FF2B5EF4-FFF2-40B4-BE49-F238E27FC236}">
                    <a16:creationId xmlns:a16="http://schemas.microsoft.com/office/drawing/2014/main" id="{62CA2A1B-3549-4427-8F7F-59C4C9F44E9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949750" y="2556372"/>
                <a:ext cx="240790" cy="240790"/>
              </a:xfrm>
              <a:prstGeom prst="rect">
                <a:avLst/>
              </a:prstGeom>
            </p:spPr>
          </p:pic>
          <p:pic>
            <p:nvPicPr>
              <p:cNvPr id="515" name="Graphic 514" descr="Woman">
                <a:extLst>
                  <a:ext uri="{FF2B5EF4-FFF2-40B4-BE49-F238E27FC236}">
                    <a16:creationId xmlns:a16="http://schemas.microsoft.com/office/drawing/2014/main" id="{D24B4130-D494-41AE-9B9A-0B69E2E4E74F}"/>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814394" y="2556372"/>
                <a:ext cx="240790" cy="240790"/>
              </a:xfrm>
              <a:prstGeom prst="rect">
                <a:avLst/>
              </a:prstGeom>
            </p:spPr>
          </p:pic>
          <p:pic>
            <p:nvPicPr>
              <p:cNvPr id="516" name="Graphic 515" descr="Man">
                <a:extLst>
                  <a:ext uri="{FF2B5EF4-FFF2-40B4-BE49-F238E27FC236}">
                    <a16:creationId xmlns:a16="http://schemas.microsoft.com/office/drawing/2014/main" id="{31448271-6B15-412A-97AE-81F9708026CA}"/>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220462" y="2556372"/>
                <a:ext cx="240790" cy="240790"/>
              </a:xfrm>
              <a:prstGeom prst="rect">
                <a:avLst/>
              </a:prstGeom>
            </p:spPr>
          </p:pic>
          <p:pic>
            <p:nvPicPr>
              <p:cNvPr id="517" name="Graphic 516" descr="Woman">
                <a:extLst>
                  <a:ext uri="{FF2B5EF4-FFF2-40B4-BE49-F238E27FC236}">
                    <a16:creationId xmlns:a16="http://schemas.microsoft.com/office/drawing/2014/main" id="{5999BFDC-741C-4AB3-BE7B-58B5803DC2ED}"/>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085106" y="2556372"/>
                <a:ext cx="240790" cy="240790"/>
              </a:xfrm>
              <a:prstGeom prst="rect">
                <a:avLst/>
              </a:prstGeom>
            </p:spPr>
          </p:pic>
          <p:pic>
            <p:nvPicPr>
              <p:cNvPr id="518" name="Graphic 517" descr="Man">
                <a:extLst>
                  <a:ext uri="{FF2B5EF4-FFF2-40B4-BE49-F238E27FC236}">
                    <a16:creationId xmlns:a16="http://schemas.microsoft.com/office/drawing/2014/main" id="{3C3A154B-7DD2-41A8-8AA9-F15D775C3ECC}"/>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491174" y="2556372"/>
                <a:ext cx="240790" cy="240790"/>
              </a:xfrm>
              <a:prstGeom prst="rect">
                <a:avLst/>
              </a:prstGeom>
            </p:spPr>
          </p:pic>
          <p:pic>
            <p:nvPicPr>
              <p:cNvPr id="519" name="Graphic 518" descr="Woman">
                <a:extLst>
                  <a:ext uri="{FF2B5EF4-FFF2-40B4-BE49-F238E27FC236}">
                    <a16:creationId xmlns:a16="http://schemas.microsoft.com/office/drawing/2014/main" id="{2B5D1F36-CB07-4456-8FB3-14352E6D3C07}"/>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55818" y="2556372"/>
                <a:ext cx="240790" cy="240790"/>
              </a:xfrm>
              <a:prstGeom prst="rect">
                <a:avLst/>
              </a:prstGeom>
            </p:spPr>
          </p:pic>
          <p:pic>
            <p:nvPicPr>
              <p:cNvPr id="520" name="Graphic 519" descr="Man">
                <a:extLst>
                  <a:ext uri="{FF2B5EF4-FFF2-40B4-BE49-F238E27FC236}">
                    <a16:creationId xmlns:a16="http://schemas.microsoft.com/office/drawing/2014/main" id="{1C6F1F2D-6CCD-4629-BEA0-006CF2A954ED}"/>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1886" y="2556372"/>
                <a:ext cx="240790" cy="240790"/>
              </a:xfrm>
              <a:prstGeom prst="rect">
                <a:avLst/>
              </a:prstGeom>
            </p:spPr>
          </p:pic>
          <p:pic>
            <p:nvPicPr>
              <p:cNvPr id="521" name="Graphic 520" descr="Woman">
                <a:extLst>
                  <a:ext uri="{FF2B5EF4-FFF2-40B4-BE49-F238E27FC236}">
                    <a16:creationId xmlns:a16="http://schemas.microsoft.com/office/drawing/2014/main" id="{7A7D100D-133D-4D7E-B395-60FD808977B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626530" y="2556372"/>
                <a:ext cx="240790" cy="240790"/>
              </a:xfrm>
              <a:prstGeom prst="rect">
                <a:avLst/>
              </a:prstGeom>
            </p:spPr>
          </p:pic>
          <p:pic>
            <p:nvPicPr>
              <p:cNvPr id="523" name="Graphic 522" descr="Woman">
                <a:extLst>
                  <a:ext uri="{FF2B5EF4-FFF2-40B4-BE49-F238E27FC236}">
                    <a16:creationId xmlns:a16="http://schemas.microsoft.com/office/drawing/2014/main" id="{5554259B-A6CE-4B6F-82B5-C211A7E83191}"/>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897242" y="2556372"/>
                <a:ext cx="240790" cy="240790"/>
              </a:xfrm>
              <a:prstGeom prst="rect">
                <a:avLst/>
              </a:prstGeom>
            </p:spPr>
          </p:pic>
        </p:grpSp>
        <p:pic>
          <p:nvPicPr>
            <p:cNvPr id="361" name="Graphic 360" descr="Man">
              <a:extLst>
                <a:ext uri="{FF2B5EF4-FFF2-40B4-BE49-F238E27FC236}">
                  <a16:creationId xmlns:a16="http://schemas.microsoft.com/office/drawing/2014/main" id="{E45093AB-6B9B-406E-943D-FA5E667CB22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4011" y="1020866"/>
              <a:ext cx="203181" cy="247062"/>
            </a:xfrm>
            <a:prstGeom prst="rect">
              <a:avLst/>
            </a:prstGeom>
          </p:spPr>
        </p:pic>
        <p:pic>
          <p:nvPicPr>
            <p:cNvPr id="364" name="Graphic 363" descr="Woman">
              <a:extLst>
                <a:ext uri="{FF2B5EF4-FFF2-40B4-BE49-F238E27FC236}">
                  <a16:creationId xmlns:a16="http://schemas.microsoft.com/office/drawing/2014/main" id="{C195C334-D3FF-4E36-AF90-22762BB5D7A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796" y="1020866"/>
              <a:ext cx="203181" cy="247062"/>
            </a:xfrm>
            <a:prstGeom prst="rect">
              <a:avLst/>
            </a:prstGeom>
          </p:spPr>
        </p:pic>
        <p:pic>
          <p:nvPicPr>
            <p:cNvPr id="365" name="Graphic 364" descr="Man">
              <a:extLst>
                <a:ext uri="{FF2B5EF4-FFF2-40B4-BE49-F238E27FC236}">
                  <a16:creationId xmlns:a16="http://schemas.microsoft.com/office/drawing/2014/main" id="{8D3704D1-F55E-41AA-BE3F-819EE276260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439" y="1020866"/>
              <a:ext cx="203181" cy="247062"/>
            </a:xfrm>
            <a:prstGeom prst="rect">
              <a:avLst/>
            </a:prstGeom>
          </p:spPr>
        </p:pic>
        <p:pic>
          <p:nvPicPr>
            <p:cNvPr id="366" name="Graphic 365" descr="Woman">
              <a:extLst>
                <a:ext uri="{FF2B5EF4-FFF2-40B4-BE49-F238E27FC236}">
                  <a16:creationId xmlns:a16="http://schemas.microsoft.com/office/drawing/2014/main" id="{C1C64FC2-CCD6-431B-9820-3DB42E4C244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8224" y="1020866"/>
              <a:ext cx="203181" cy="247062"/>
            </a:xfrm>
            <a:prstGeom prst="rect">
              <a:avLst/>
            </a:prstGeom>
          </p:spPr>
        </p:pic>
        <p:pic>
          <p:nvPicPr>
            <p:cNvPr id="367" name="Graphic 366" descr="Man">
              <a:extLst>
                <a:ext uri="{FF2B5EF4-FFF2-40B4-BE49-F238E27FC236}">
                  <a16:creationId xmlns:a16="http://schemas.microsoft.com/office/drawing/2014/main" id="{30E0DE7E-BAC0-4D71-A026-C129DEE9496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0869" y="1020866"/>
              <a:ext cx="203181" cy="247062"/>
            </a:xfrm>
            <a:prstGeom prst="rect">
              <a:avLst/>
            </a:prstGeom>
          </p:spPr>
        </p:pic>
        <p:pic>
          <p:nvPicPr>
            <p:cNvPr id="384" name="Graphic 383" descr="Woman">
              <a:extLst>
                <a:ext uri="{FF2B5EF4-FFF2-40B4-BE49-F238E27FC236}">
                  <a16:creationId xmlns:a16="http://schemas.microsoft.com/office/drawing/2014/main" id="{DBE35B18-7EB2-41C3-8643-F13412B6208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6653" y="1020866"/>
              <a:ext cx="203181" cy="247062"/>
            </a:xfrm>
            <a:prstGeom prst="rect">
              <a:avLst/>
            </a:prstGeom>
          </p:spPr>
        </p:pic>
        <p:pic>
          <p:nvPicPr>
            <p:cNvPr id="386" name="Graphic 385" descr="Man">
              <a:extLst>
                <a:ext uri="{FF2B5EF4-FFF2-40B4-BE49-F238E27FC236}">
                  <a16:creationId xmlns:a16="http://schemas.microsoft.com/office/drawing/2014/main" id="{401B54F4-5CE5-4C33-8EA1-F05ADC95A99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09298" y="1020866"/>
              <a:ext cx="203181" cy="247062"/>
            </a:xfrm>
            <a:prstGeom prst="rect">
              <a:avLst/>
            </a:prstGeom>
          </p:spPr>
        </p:pic>
        <p:pic>
          <p:nvPicPr>
            <p:cNvPr id="387" name="Graphic 386" descr="Woman">
              <a:extLst>
                <a:ext uri="{FF2B5EF4-FFF2-40B4-BE49-F238E27FC236}">
                  <a16:creationId xmlns:a16="http://schemas.microsoft.com/office/drawing/2014/main" id="{59A5E650-8F5C-4460-891B-B90E317D5FA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5084" y="1020866"/>
              <a:ext cx="203181" cy="247062"/>
            </a:xfrm>
            <a:prstGeom prst="rect">
              <a:avLst/>
            </a:prstGeom>
          </p:spPr>
        </p:pic>
        <p:pic>
          <p:nvPicPr>
            <p:cNvPr id="388" name="Graphic 387" descr="Man">
              <a:extLst>
                <a:ext uri="{FF2B5EF4-FFF2-40B4-BE49-F238E27FC236}">
                  <a16:creationId xmlns:a16="http://schemas.microsoft.com/office/drawing/2014/main" id="{38665900-91AD-45DE-AF0A-E735D987349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37727" y="1020866"/>
              <a:ext cx="203181" cy="247062"/>
            </a:xfrm>
            <a:prstGeom prst="rect">
              <a:avLst/>
            </a:prstGeom>
          </p:spPr>
        </p:pic>
        <p:pic>
          <p:nvPicPr>
            <p:cNvPr id="389" name="Graphic 388" descr="Woman">
              <a:extLst>
                <a:ext uri="{FF2B5EF4-FFF2-40B4-BE49-F238E27FC236}">
                  <a16:creationId xmlns:a16="http://schemas.microsoft.com/office/drawing/2014/main" id="{35A0D4CA-9EF7-4716-864E-D6D17F3305D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23513" y="1020866"/>
              <a:ext cx="203181" cy="247062"/>
            </a:xfrm>
            <a:prstGeom prst="rect">
              <a:avLst/>
            </a:prstGeom>
          </p:spPr>
        </p:pic>
        <p:pic>
          <p:nvPicPr>
            <p:cNvPr id="390" name="Graphic 389" descr="Man">
              <a:extLst>
                <a:ext uri="{FF2B5EF4-FFF2-40B4-BE49-F238E27FC236}">
                  <a16:creationId xmlns:a16="http://schemas.microsoft.com/office/drawing/2014/main" id="{DBAADE88-9640-4A48-8068-6353F23EE3C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6155" y="1020866"/>
              <a:ext cx="203181" cy="247062"/>
            </a:xfrm>
            <a:prstGeom prst="rect">
              <a:avLst/>
            </a:prstGeom>
          </p:spPr>
        </p:pic>
        <p:pic>
          <p:nvPicPr>
            <p:cNvPr id="407" name="Graphic 406" descr="Woman">
              <a:extLst>
                <a:ext uri="{FF2B5EF4-FFF2-40B4-BE49-F238E27FC236}">
                  <a16:creationId xmlns:a16="http://schemas.microsoft.com/office/drawing/2014/main" id="{7D4E3D37-3668-4287-8831-F064FEB6ABC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51942" y="1020866"/>
              <a:ext cx="203181" cy="247062"/>
            </a:xfrm>
            <a:prstGeom prst="rect">
              <a:avLst/>
            </a:prstGeom>
          </p:spPr>
        </p:pic>
        <p:pic>
          <p:nvPicPr>
            <p:cNvPr id="409" name="Graphic 408" descr="Man">
              <a:extLst>
                <a:ext uri="{FF2B5EF4-FFF2-40B4-BE49-F238E27FC236}">
                  <a16:creationId xmlns:a16="http://schemas.microsoft.com/office/drawing/2014/main" id="{07D45978-C95E-4E2E-A560-8151E848BCE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94585" y="1020866"/>
              <a:ext cx="203181" cy="247062"/>
            </a:xfrm>
            <a:prstGeom prst="rect">
              <a:avLst/>
            </a:prstGeom>
          </p:spPr>
        </p:pic>
        <p:pic>
          <p:nvPicPr>
            <p:cNvPr id="410" name="Graphic 409" descr="Woman">
              <a:extLst>
                <a:ext uri="{FF2B5EF4-FFF2-40B4-BE49-F238E27FC236}">
                  <a16:creationId xmlns:a16="http://schemas.microsoft.com/office/drawing/2014/main" id="{5B6EACE0-B70A-44A9-A2A3-7984300C049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80370" y="1020866"/>
              <a:ext cx="203181" cy="247062"/>
            </a:xfrm>
            <a:prstGeom prst="rect">
              <a:avLst/>
            </a:prstGeom>
          </p:spPr>
        </p:pic>
        <p:pic>
          <p:nvPicPr>
            <p:cNvPr id="411" name="Graphic 410" descr="Man">
              <a:extLst>
                <a:ext uri="{FF2B5EF4-FFF2-40B4-BE49-F238E27FC236}">
                  <a16:creationId xmlns:a16="http://schemas.microsoft.com/office/drawing/2014/main" id="{BF3FDADD-C24F-46A3-A450-D7B74BE0E3A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23015" y="1020866"/>
              <a:ext cx="203181" cy="247062"/>
            </a:xfrm>
            <a:prstGeom prst="rect">
              <a:avLst/>
            </a:prstGeom>
          </p:spPr>
        </p:pic>
        <p:pic>
          <p:nvPicPr>
            <p:cNvPr id="412" name="Graphic 411" descr="Woman">
              <a:extLst>
                <a:ext uri="{FF2B5EF4-FFF2-40B4-BE49-F238E27FC236}">
                  <a16:creationId xmlns:a16="http://schemas.microsoft.com/office/drawing/2014/main" id="{BDC0BDC9-F219-4BC4-BA51-7794616C481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08799" y="1020866"/>
              <a:ext cx="203181" cy="247062"/>
            </a:xfrm>
            <a:prstGeom prst="rect">
              <a:avLst/>
            </a:prstGeom>
          </p:spPr>
        </p:pic>
        <p:pic>
          <p:nvPicPr>
            <p:cNvPr id="413" name="Graphic 412" descr="Man">
              <a:extLst>
                <a:ext uri="{FF2B5EF4-FFF2-40B4-BE49-F238E27FC236}">
                  <a16:creationId xmlns:a16="http://schemas.microsoft.com/office/drawing/2014/main" id="{2F9A18DA-8C7A-4F80-B045-CDBFE2F0F0E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351444" y="1020866"/>
              <a:ext cx="203181" cy="247062"/>
            </a:xfrm>
            <a:prstGeom prst="rect">
              <a:avLst/>
            </a:prstGeom>
          </p:spPr>
        </p:pic>
        <p:pic>
          <p:nvPicPr>
            <p:cNvPr id="430" name="Graphic 429" descr="Woman">
              <a:extLst>
                <a:ext uri="{FF2B5EF4-FFF2-40B4-BE49-F238E27FC236}">
                  <a16:creationId xmlns:a16="http://schemas.microsoft.com/office/drawing/2014/main" id="{3449331C-81BD-4FAE-8978-4C40A9F508F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37229" y="1020866"/>
              <a:ext cx="203181" cy="247062"/>
            </a:xfrm>
            <a:prstGeom prst="rect">
              <a:avLst/>
            </a:prstGeom>
          </p:spPr>
        </p:pic>
        <p:sp>
          <p:nvSpPr>
            <p:cNvPr id="4" name="Rectangle 3">
              <a:extLst>
                <a:ext uri="{FF2B5EF4-FFF2-40B4-BE49-F238E27FC236}">
                  <a16:creationId xmlns:a16="http://schemas.microsoft.com/office/drawing/2014/main" id="{E1C6804A-CB2E-47A3-8C74-ACFB0CED369D}"/>
                </a:ext>
              </a:extLst>
            </p:cNvPr>
            <p:cNvSpPr/>
            <p:nvPr/>
          </p:nvSpPr>
          <p:spPr>
            <a:xfrm>
              <a:off x="455269" y="1006639"/>
              <a:ext cx="2099355" cy="3095775"/>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30" name="Rectangle 529">
              <a:extLst>
                <a:ext uri="{FF2B5EF4-FFF2-40B4-BE49-F238E27FC236}">
                  <a16:creationId xmlns:a16="http://schemas.microsoft.com/office/drawing/2014/main" id="{8F340E7D-D643-420F-A2EA-993E7DDD241A}"/>
                </a:ext>
              </a:extLst>
            </p:cNvPr>
            <p:cNvSpPr/>
            <p:nvPr/>
          </p:nvSpPr>
          <p:spPr>
            <a:xfrm>
              <a:off x="600391" y="1144397"/>
              <a:ext cx="1755371" cy="1283086"/>
            </a:xfrm>
            <a:prstGeom prst="rect">
              <a:avLst/>
            </a:prstGeom>
            <a:solidFill>
              <a:srgbClr val="FFFFFF"/>
            </a:solidFill>
            <a:ln w="19050">
              <a:solidFill>
                <a:srgbClr val="001965"/>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eople</a:t>
              </a: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living </a:t>
              </a:r>
              <a:b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ith obesity </a:t>
              </a:r>
              <a:b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0%)</a:t>
              </a:r>
            </a:p>
          </p:txBody>
        </p:sp>
        <p:pic>
          <p:nvPicPr>
            <p:cNvPr id="436" name="Graphic 435" descr="Man">
              <a:extLst>
                <a:ext uri="{FF2B5EF4-FFF2-40B4-BE49-F238E27FC236}">
                  <a16:creationId xmlns:a16="http://schemas.microsoft.com/office/drawing/2014/main" id="{0713919C-D206-49CC-BE25-278FB8F9BE4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15524" y="2551454"/>
              <a:ext cx="203181" cy="247062"/>
            </a:xfrm>
            <a:prstGeom prst="rect">
              <a:avLst/>
            </a:prstGeom>
          </p:spPr>
        </p:pic>
        <p:pic>
          <p:nvPicPr>
            <p:cNvPr id="453" name="Graphic 452" descr="Woman">
              <a:extLst>
                <a:ext uri="{FF2B5EF4-FFF2-40B4-BE49-F238E27FC236}">
                  <a16:creationId xmlns:a16="http://schemas.microsoft.com/office/drawing/2014/main" id="{A7AEBDFB-7D82-4EA5-91E0-E53EF282FCA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601309" y="2551454"/>
              <a:ext cx="203181" cy="247062"/>
            </a:xfrm>
            <a:prstGeom prst="rect">
              <a:avLst/>
            </a:prstGeom>
          </p:spPr>
        </p:pic>
        <p:pic>
          <p:nvPicPr>
            <p:cNvPr id="455" name="Graphic 454" descr="Man">
              <a:extLst>
                <a:ext uri="{FF2B5EF4-FFF2-40B4-BE49-F238E27FC236}">
                  <a16:creationId xmlns:a16="http://schemas.microsoft.com/office/drawing/2014/main" id="{B8EAF34D-2033-446A-8D5B-E2C68311B88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43953" y="2551454"/>
              <a:ext cx="203181" cy="247062"/>
            </a:xfrm>
            <a:prstGeom prst="rect">
              <a:avLst/>
            </a:prstGeom>
          </p:spPr>
        </p:pic>
        <p:pic>
          <p:nvPicPr>
            <p:cNvPr id="456" name="Graphic 455" descr="Woman">
              <a:extLst>
                <a:ext uri="{FF2B5EF4-FFF2-40B4-BE49-F238E27FC236}">
                  <a16:creationId xmlns:a16="http://schemas.microsoft.com/office/drawing/2014/main" id="{3C6CB0AE-A3F8-48C3-B97D-CEB285F3138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29738" y="2551454"/>
              <a:ext cx="203181" cy="247062"/>
            </a:xfrm>
            <a:prstGeom prst="rect">
              <a:avLst/>
            </a:prstGeom>
          </p:spPr>
        </p:pic>
        <p:pic>
          <p:nvPicPr>
            <p:cNvPr id="457" name="Graphic 456" descr="Man">
              <a:extLst>
                <a:ext uri="{FF2B5EF4-FFF2-40B4-BE49-F238E27FC236}">
                  <a16:creationId xmlns:a16="http://schemas.microsoft.com/office/drawing/2014/main" id="{3E819EFC-E634-40F8-94C0-0ED172DFF30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172381" y="2551454"/>
              <a:ext cx="203181" cy="247062"/>
            </a:xfrm>
            <a:prstGeom prst="rect">
              <a:avLst/>
            </a:prstGeom>
          </p:spPr>
        </p:pic>
        <p:pic>
          <p:nvPicPr>
            <p:cNvPr id="458" name="Graphic 457" descr="Woman">
              <a:extLst>
                <a:ext uri="{FF2B5EF4-FFF2-40B4-BE49-F238E27FC236}">
                  <a16:creationId xmlns:a16="http://schemas.microsoft.com/office/drawing/2014/main" id="{709BBD5A-52C9-4F84-B5FF-C2754DBF441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058166" y="2551454"/>
              <a:ext cx="203181" cy="247062"/>
            </a:xfrm>
            <a:prstGeom prst="rect">
              <a:avLst/>
            </a:prstGeom>
          </p:spPr>
        </p:pic>
        <p:pic>
          <p:nvPicPr>
            <p:cNvPr id="459" name="Graphic 458" descr="Man">
              <a:extLst>
                <a:ext uri="{FF2B5EF4-FFF2-40B4-BE49-F238E27FC236}">
                  <a16:creationId xmlns:a16="http://schemas.microsoft.com/office/drawing/2014/main" id="{593D636B-2F8A-4942-BA80-12BCC94C7E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00812" y="2551454"/>
              <a:ext cx="203181" cy="247062"/>
            </a:xfrm>
            <a:prstGeom prst="rect">
              <a:avLst/>
            </a:prstGeom>
          </p:spPr>
        </p:pic>
        <p:pic>
          <p:nvPicPr>
            <p:cNvPr id="476" name="Graphic 475" descr="Woman">
              <a:extLst>
                <a:ext uri="{FF2B5EF4-FFF2-40B4-BE49-F238E27FC236}">
                  <a16:creationId xmlns:a16="http://schemas.microsoft.com/office/drawing/2014/main" id="{0C0A166B-2C42-4C16-970F-1D43BCC572D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86597" y="2551454"/>
              <a:ext cx="203181" cy="247062"/>
            </a:xfrm>
            <a:prstGeom prst="rect">
              <a:avLst/>
            </a:prstGeom>
          </p:spPr>
        </p:pic>
        <p:pic>
          <p:nvPicPr>
            <p:cNvPr id="478" name="Graphic 477" descr="Man">
              <a:extLst>
                <a:ext uri="{FF2B5EF4-FFF2-40B4-BE49-F238E27FC236}">
                  <a16:creationId xmlns:a16="http://schemas.microsoft.com/office/drawing/2014/main" id="{0710E53D-A528-4D36-9377-462855009DD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9241" y="2551454"/>
              <a:ext cx="203181" cy="247062"/>
            </a:xfrm>
            <a:prstGeom prst="rect">
              <a:avLst/>
            </a:prstGeom>
          </p:spPr>
        </p:pic>
        <p:pic>
          <p:nvPicPr>
            <p:cNvPr id="479" name="Graphic 478" descr="Woman">
              <a:extLst>
                <a:ext uri="{FF2B5EF4-FFF2-40B4-BE49-F238E27FC236}">
                  <a16:creationId xmlns:a16="http://schemas.microsoft.com/office/drawing/2014/main" id="{1BAABA25-0A88-4585-A41B-084AF6A43DC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5026" y="2551454"/>
              <a:ext cx="203181" cy="247062"/>
            </a:xfrm>
            <a:prstGeom prst="rect">
              <a:avLst/>
            </a:prstGeom>
          </p:spPr>
        </p:pic>
        <p:pic>
          <p:nvPicPr>
            <p:cNvPr id="480" name="Graphic 479" descr="Man">
              <a:extLst>
                <a:ext uri="{FF2B5EF4-FFF2-40B4-BE49-F238E27FC236}">
                  <a16:creationId xmlns:a16="http://schemas.microsoft.com/office/drawing/2014/main" id="{10F00EDB-C098-4E48-A8CB-285ABF79D27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7670" y="2551454"/>
              <a:ext cx="203181" cy="247062"/>
            </a:xfrm>
            <a:prstGeom prst="rect">
              <a:avLst/>
            </a:prstGeom>
          </p:spPr>
        </p:pic>
        <p:pic>
          <p:nvPicPr>
            <p:cNvPr id="481" name="Graphic 480" descr="Woman">
              <a:extLst>
                <a:ext uri="{FF2B5EF4-FFF2-40B4-BE49-F238E27FC236}">
                  <a16:creationId xmlns:a16="http://schemas.microsoft.com/office/drawing/2014/main" id="{7EFF4482-2F7B-411C-B6AF-F78A8517BF82}"/>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43455" y="2551454"/>
              <a:ext cx="203181" cy="247062"/>
            </a:xfrm>
            <a:prstGeom prst="rect">
              <a:avLst/>
            </a:prstGeom>
          </p:spPr>
        </p:pic>
        <p:pic>
          <p:nvPicPr>
            <p:cNvPr id="482" name="Graphic 481" descr="Man">
              <a:extLst>
                <a:ext uri="{FF2B5EF4-FFF2-40B4-BE49-F238E27FC236}">
                  <a16:creationId xmlns:a16="http://schemas.microsoft.com/office/drawing/2014/main" id="{2E7D47AC-310D-474C-B8A5-311A0F67B82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86099" y="2551454"/>
              <a:ext cx="203181" cy="247062"/>
            </a:xfrm>
            <a:prstGeom prst="rect">
              <a:avLst/>
            </a:prstGeom>
          </p:spPr>
        </p:pic>
        <p:pic>
          <p:nvPicPr>
            <p:cNvPr id="499" name="Graphic 498" descr="Woman">
              <a:extLst>
                <a:ext uri="{FF2B5EF4-FFF2-40B4-BE49-F238E27FC236}">
                  <a16:creationId xmlns:a16="http://schemas.microsoft.com/office/drawing/2014/main" id="{8D2720F3-43EB-4201-AB42-A56CED03B96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1884" y="2551454"/>
              <a:ext cx="203181" cy="247062"/>
            </a:xfrm>
            <a:prstGeom prst="rect">
              <a:avLst/>
            </a:prstGeom>
          </p:spPr>
        </p:pic>
        <p:pic>
          <p:nvPicPr>
            <p:cNvPr id="501" name="Graphic 500" descr="Man">
              <a:extLst>
                <a:ext uri="{FF2B5EF4-FFF2-40B4-BE49-F238E27FC236}">
                  <a16:creationId xmlns:a16="http://schemas.microsoft.com/office/drawing/2014/main" id="{90747B60-1765-4032-93C9-55FB0C4FA34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14527" y="2551454"/>
              <a:ext cx="203181" cy="247062"/>
            </a:xfrm>
            <a:prstGeom prst="rect">
              <a:avLst/>
            </a:prstGeom>
          </p:spPr>
        </p:pic>
        <p:pic>
          <p:nvPicPr>
            <p:cNvPr id="502" name="Graphic 501" descr="Woman">
              <a:extLst>
                <a:ext uri="{FF2B5EF4-FFF2-40B4-BE49-F238E27FC236}">
                  <a16:creationId xmlns:a16="http://schemas.microsoft.com/office/drawing/2014/main" id="{BDBF5C2D-239D-43B1-AB84-CF4A48E4127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00314" y="2551454"/>
              <a:ext cx="203181" cy="247062"/>
            </a:xfrm>
            <a:prstGeom prst="rect">
              <a:avLst/>
            </a:prstGeom>
          </p:spPr>
        </p:pic>
        <p:pic>
          <p:nvPicPr>
            <p:cNvPr id="503" name="Graphic 502" descr="Woman">
              <a:extLst>
                <a:ext uri="{FF2B5EF4-FFF2-40B4-BE49-F238E27FC236}">
                  <a16:creationId xmlns:a16="http://schemas.microsoft.com/office/drawing/2014/main" id="{E8F3565D-1C28-4FEC-9550-A87F8B7426D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28743" y="2551454"/>
              <a:ext cx="203181" cy="247062"/>
            </a:xfrm>
            <a:prstGeom prst="rect">
              <a:avLst/>
            </a:prstGeom>
          </p:spPr>
        </p:pic>
        <p:sp>
          <p:nvSpPr>
            <p:cNvPr id="435" name="Rectangle 434">
              <a:extLst>
                <a:ext uri="{FF2B5EF4-FFF2-40B4-BE49-F238E27FC236}">
                  <a16:creationId xmlns:a16="http://schemas.microsoft.com/office/drawing/2014/main" id="{43E2E703-3F0A-44BD-9589-B0D44FD961EA}"/>
                </a:ext>
              </a:extLst>
            </p:cNvPr>
            <p:cNvSpPr/>
            <p:nvPr/>
          </p:nvSpPr>
          <p:spPr>
            <a:xfrm>
              <a:off x="2578905" y="1041086"/>
              <a:ext cx="2099355" cy="3095775"/>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32" name="Rectangle 431">
              <a:extLst>
                <a:ext uri="{FF2B5EF4-FFF2-40B4-BE49-F238E27FC236}">
                  <a16:creationId xmlns:a16="http://schemas.microsoft.com/office/drawing/2014/main" id="{A8CA0AB7-C81B-4C7A-8956-CA3226D94DCF}"/>
                </a:ext>
              </a:extLst>
            </p:cNvPr>
            <p:cNvSpPr/>
            <p:nvPr/>
          </p:nvSpPr>
          <p:spPr>
            <a:xfrm>
              <a:off x="2741437" y="1144397"/>
              <a:ext cx="1755371" cy="1309743"/>
            </a:xfrm>
            <a:prstGeom prst="rect">
              <a:avLst/>
            </a:prstGeom>
            <a:solidFill>
              <a:srgbClr val="FFFFFF"/>
            </a:solidFill>
            <a:ln w="19050">
              <a:solidFill>
                <a:srgbClr val="001965"/>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eople</a:t>
              </a: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diagnosed </a:t>
              </a:r>
              <a:b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ith obesity </a:t>
              </a:r>
              <a:b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t;40%)</a:t>
              </a:r>
            </a:p>
          </p:txBody>
        </p:sp>
        <p:sp>
          <p:nvSpPr>
            <p:cNvPr id="433" name="Rectangle 432">
              <a:extLst>
                <a:ext uri="{FF2B5EF4-FFF2-40B4-BE49-F238E27FC236}">
                  <a16:creationId xmlns:a16="http://schemas.microsoft.com/office/drawing/2014/main" id="{D0B77D1F-851B-4BA6-9CB0-6D5F0AA0990C}"/>
                </a:ext>
              </a:extLst>
            </p:cNvPr>
            <p:cNvSpPr/>
            <p:nvPr/>
          </p:nvSpPr>
          <p:spPr>
            <a:xfrm>
              <a:off x="4717730" y="1144397"/>
              <a:ext cx="1952374" cy="1309743"/>
            </a:xfrm>
            <a:prstGeom prst="rect">
              <a:avLst/>
            </a:prstGeom>
            <a:solidFill>
              <a:srgbClr val="FFFFFF"/>
            </a:solidFill>
            <a:ln w="19050">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eople</a:t>
              </a: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receiving </a:t>
              </a: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vidence-based </a:t>
              </a:r>
              <a:b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nti-obesity treatment</a:t>
              </a:r>
              <a:r>
                <a:rPr kumimoji="0" lang="en-GB" sz="2133" b="0" i="0" u="none" strike="noStrike" kern="120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b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t;20%)</a:t>
              </a:r>
            </a:p>
          </p:txBody>
        </p:sp>
        <p:sp>
          <p:nvSpPr>
            <p:cNvPr id="505" name="Rectangle 504">
              <a:extLst>
                <a:ext uri="{FF2B5EF4-FFF2-40B4-BE49-F238E27FC236}">
                  <a16:creationId xmlns:a16="http://schemas.microsoft.com/office/drawing/2014/main" id="{41CC1C0C-421D-48AB-9C91-2C7ECD7D4244}"/>
                </a:ext>
              </a:extLst>
            </p:cNvPr>
            <p:cNvSpPr/>
            <p:nvPr/>
          </p:nvSpPr>
          <p:spPr>
            <a:xfrm>
              <a:off x="6895686" y="1131068"/>
              <a:ext cx="1952374" cy="1309743"/>
            </a:xfrm>
            <a:prstGeom prst="rect">
              <a:avLst/>
            </a:prstGeom>
            <a:solidFill>
              <a:srgbClr val="FFFFFF"/>
            </a:solidFill>
            <a:ln w="19050">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eople</a:t>
              </a: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prescribed</a:t>
              </a:r>
              <a:b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nti-obesity medication</a:t>
              </a:r>
              <a:br>
                <a:rPr kumimoji="0" lang="en-GB" sz="21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2133"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6%)</a:t>
              </a:r>
            </a:p>
          </p:txBody>
        </p:sp>
      </p:grpSp>
      <p:pic>
        <p:nvPicPr>
          <p:cNvPr id="434" name="Graphic 433" descr="Man">
            <a:extLst>
              <a:ext uri="{FF2B5EF4-FFF2-40B4-BE49-F238E27FC236}">
                <a16:creationId xmlns:a16="http://schemas.microsoft.com/office/drawing/2014/main" id="{0EC91778-FDD9-4CBB-BA28-6522A2BF40D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185658" y="5014499"/>
            <a:ext cx="262367" cy="319031"/>
          </a:xfrm>
          <a:prstGeom prst="rect">
            <a:avLst/>
          </a:prstGeom>
        </p:spPr>
      </p:pic>
      <p:pic>
        <p:nvPicPr>
          <p:cNvPr id="504" name="Graphic 503" descr="Woman">
            <a:extLst>
              <a:ext uri="{FF2B5EF4-FFF2-40B4-BE49-F238E27FC236}">
                <a16:creationId xmlns:a16="http://schemas.microsoft.com/office/drawing/2014/main" id="{64745696-9DA2-4409-BC3D-BDF052A9212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038173" y="5014499"/>
            <a:ext cx="262367" cy="319031"/>
          </a:xfrm>
          <a:prstGeom prst="rect">
            <a:avLst/>
          </a:prstGeom>
        </p:spPr>
      </p:pic>
      <p:pic>
        <p:nvPicPr>
          <p:cNvPr id="522" name="Graphic 521" descr="Woman">
            <a:extLst>
              <a:ext uri="{FF2B5EF4-FFF2-40B4-BE49-F238E27FC236}">
                <a16:creationId xmlns:a16="http://schemas.microsoft.com/office/drawing/2014/main" id="{E1ED79D6-67EC-4C5E-B0A7-3635A2EE8F6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333143" y="5014499"/>
            <a:ext cx="262367" cy="319031"/>
          </a:xfrm>
          <a:prstGeom prst="rect">
            <a:avLst/>
          </a:prstGeom>
        </p:spPr>
      </p:pic>
    </p:spTree>
    <p:extLst>
      <p:ext uri="{BB962C8B-B14F-4D97-AF65-F5344CB8AC3E}">
        <p14:creationId xmlns:p14="http://schemas.microsoft.com/office/powerpoint/2010/main" val="3353449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4477C1C-B025-94FB-F80F-E94B702CD224}"/>
              </a:ext>
            </a:extLst>
          </p:cNvPr>
          <p:cNvSpPr>
            <a:spLocks noGrp="1"/>
          </p:cNvSpPr>
          <p:nvPr>
            <p:ph type="body" sz="quarter" idx="13"/>
          </p:nvPr>
        </p:nvSpPr>
        <p:spPr/>
        <p:txBody>
          <a:bodyPr/>
          <a:lstStyle/>
          <a:p>
            <a:endParaRPr lang="en-ZA"/>
          </a:p>
        </p:txBody>
      </p:sp>
      <p:sp>
        <p:nvSpPr>
          <p:cNvPr id="7" name="Text Placeholder 6">
            <a:extLst>
              <a:ext uri="{FF2B5EF4-FFF2-40B4-BE49-F238E27FC236}">
                <a16:creationId xmlns:a16="http://schemas.microsoft.com/office/drawing/2014/main" id="{C7766DC2-148C-2A4E-7AB8-5CBDB108211A}"/>
              </a:ext>
            </a:extLst>
          </p:cNvPr>
          <p:cNvSpPr>
            <a:spLocks noGrp="1"/>
          </p:cNvSpPr>
          <p:nvPr>
            <p:ph type="body" sz="quarter" idx="14"/>
          </p:nvPr>
        </p:nvSpPr>
        <p:spPr>
          <a:xfrm>
            <a:off x="5211212" y="472889"/>
            <a:ext cx="8902835" cy="5562300"/>
          </a:xfrm>
        </p:spPr>
        <p:txBody>
          <a:bodyPr/>
          <a:lstStyle/>
          <a:p>
            <a:r>
              <a:rPr lang="en-ZA" dirty="0"/>
              <a:t>03</a:t>
            </a:r>
          </a:p>
        </p:txBody>
      </p:sp>
      <p:sp>
        <p:nvSpPr>
          <p:cNvPr id="8" name="Title 7"/>
          <p:cNvSpPr>
            <a:spLocks noGrp="1"/>
          </p:cNvSpPr>
          <p:nvPr>
            <p:ph type="ctrTitle"/>
          </p:nvPr>
        </p:nvSpPr>
        <p:spPr>
          <a:xfrm>
            <a:off x="571498" y="2768908"/>
            <a:ext cx="8728077" cy="970261"/>
          </a:xfrm>
        </p:spPr>
        <p:txBody>
          <a:bodyPr vert="horz" lIns="0" tIns="91440" rIns="0" bIns="91440" rtlCol="0" anchor="t" anchorCtr="0">
            <a:normAutofit fontScale="90000"/>
          </a:bodyPr>
          <a:lstStyle/>
          <a:p>
            <a:r>
              <a:rPr lang="en-GB" dirty="0"/>
              <a:t>PATIENT CHALLENGES</a:t>
            </a:r>
            <a:br>
              <a:rPr lang="en-GB" kern="1200" dirty="0">
                <a:latin typeface="+mj-lt"/>
                <a:ea typeface="+mj-ea"/>
                <a:cs typeface="+mj-cs"/>
              </a:rPr>
            </a:br>
            <a:endParaRPr lang="en-GB" kern="1200" dirty="0">
              <a:latin typeface="+mj-lt"/>
              <a:ea typeface="+mj-ea"/>
              <a:cs typeface="+mj-cs"/>
            </a:endParaRPr>
          </a:p>
        </p:txBody>
      </p:sp>
    </p:spTree>
    <p:extLst>
      <p:ext uri="{BB962C8B-B14F-4D97-AF65-F5344CB8AC3E}">
        <p14:creationId xmlns:p14="http://schemas.microsoft.com/office/powerpoint/2010/main" val="18530363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5BF2E-149A-46C7-A16D-17AA4DFB4529}"/>
              </a:ext>
            </a:extLst>
          </p:cNvPr>
          <p:cNvSpPr>
            <a:spLocks noGrp="1"/>
          </p:cNvSpPr>
          <p:nvPr>
            <p:ph type="title"/>
          </p:nvPr>
        </p:nvSpPr>
        <p:spPr>
          <a:xfrm>
            <a:off x="274392" y="149625"/>
            <a:ext cx="10896000" cy="1296000"/>
          </a:xfrm>
        </p:spPr>
        <p:txBody>
          <a:bodyPr/>
          <a:lstStyle/>
          <a:p>
            <a:r>
              <a:rPr lang="en-GB" sz="3200" dirty="0"/>
              <a:t>How successful are lifestyle interventions in chronic</a:t>
            </a:r>
            <a:br>
              <a:rPr lang="en-GB" sz="3200" dirty="0"/>
            </a:br>
            <a:r>
              <a:rPr lang="en-GB" sz="3200" dirty="0"/>
              <a:t> weight management?</a:t>
            </a:r>
          </a:p>
        </p:txBody>
      </p:sp>
      <p:sp>
        <p:nvSpPr>
          <p:cNvPr id="3" name="Text Placeholder 2">
            <a:extLst>
              <a:ext uri="{FF2B5EF4-FFF2-40B4-BE49-F238E27FC236}">
                <a16:creationId xmlns:a16="http://schemas.microsoft.com/office/drawing/2014/main" id="{7A73859D-4010-4593-842C-F86073D054EB}"/>
              </a:ext>
            </a:extLst>
          </p:cNvPr>
          <p:cNvSpPr>
            <a:spLocks noGrp="1"/>
          </p:cNvSpPr>
          <p:nvPr>
            <p:ph type="body" sz="quarter" idx="13"/>
          </p:nvPr>
        </p:nvSpPr>
        <p:spPr>
          <a:xfrm>
            <a:off x="443914" y="6286514"/>
            <a:ext cx="8652000" cy="324000"/>
          </a:xfrm>
        </p:spPr>
        <p:txBody>
          <a:bodyPr/>
          <a:lstStyle/>
          <a:p>
            <a:r>
              <a:rPr lang="en-US" dirty="0"/>
              <a:t>T2D, type 2 diabetes; HbA1c, glycated hemoglobin.</a:t>
            </a:r>
            <a:br>
              <a:rPr lang="en-US" dirty="0"/>
            </a:br>
            <a:r>
              <a:rPr lang="en-US" dirty="0"/>
              <a:t>1. Facts &amp; Stats: Diabetes UK 2016; 2. Fildes et al. American Journal of Public Health 2015;105:9.</a:t>
            </a:r>
          </a:p>
        </p:txBody>
      </p:sp>
      <p:sp>
        <p:nvSpPr>
          <p:cNvPr id="184" name="Text Placeholder 2">
            <a:extLst>
              <a:ext uri="{FF2B5EF4-FFF2-40B4-BE49-F238E27FC236}">
                <a16:creationId xmlns:a16="http://schemas.microsoft.com/office/drawing/2014/main" id="{DE5EB489-1EBB-0F82-E53F-240BEB88DAA1}"/>
              </a:ext>
            </a:extLst>
          </p:cNvPr>
          <p:cNvSpPr txBox="1">
            <a:spLocks/>
          </p:cNvSpPr>
          <p:nvPr/>
        </p:nvSpPr>
        <p:spPr>
          <a:xfrm>
            <a:off x="443914" y="6456964"/>
            <a:ext cx="11351913" cy="3240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300"/>
              </a:spcBef>
              <a:spcAft>
                <a:spcPts val="600"/>
              </a:spcAft>
              <a:buFont typeface="Arial" panose="020B0604020202020204" pitchFamily="34" charset="0"/>
              <a:buNone/>
              <a:defRPr sz="800" i="1" kern="1200">
                <a:solidFill>
                  <a:schemeClr val="accent6"/>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800" b="0" i="1" u="none" strike="noStrike" kern="1200" cap="none" spc="0" normalizeH="0" baseline="0" noProof="0" dirty="0">
                <a:ln>
                  <a:noFill/>
                </a:ln>
                <a:solidFill>
                  <a:srgbClr val="939AA7"/>
                </a:solidFill>
                <a:effectLst/>
                <a:uLnTx/>
                <a:uFillTx/>
                <a:latin typeface="Apis For Office"/>
                <a:ea typeface="+mn-ea"/>
                <a:cs typeface="+mn-cs"/>
              </a:rPr>
              <a:t>1. Nordmo et al. </a:t>
            </a:r>
            <a:r>
              <a:rPr kumimoji="0" lang="en-GB" sz="800" b="0" i="1" u="none" strike="noStrike" kern="1200" cap="none" spc="0" normalizeH="0" baseline="0" noProof="0" dirty="0" err="1">
                <a:ln>
                  <a:noFill/>
                </a:ln>
                <a:solidFill>
                  <a:srgbClr val="939AA7"/>
                </a:solidFill>
                <a:effectLst/>
                <a:uLnTx/>
                <a:uFillTx/>
                <a:latin typeface="Apis For Office"/>
                <a:ea typeface="+mn-ea"/>
                <a:cs typeface="+mn-cs"/>
              </a:rPr>
              <a:t>Obes</a:t>
            </a:r>
            <a:r>
              <a:rPr kumimoji="0" lang="en-GB" sz="800" b="0" i="1" u="none" strike="noStrike" kern="1200" cap="none" spc="0" normalizeH="0" baseline="0" noProof="0" dirty="0">
                <a:ln>
                  <a:noFill/>
                </a:ln>
                <a:solidFill>
                  <a:srgbClr val="939AA7"/>
                </a:solidFill>
                <a:effectLst/>
                <a:uLnTx/>
                <a:uFillTx/>
                <a:latin typeface="Apis For Office"/>
                <a:ea typeface="+mn-ea"/>
                <a:cs typeface="+mn-cs"/>
              </a:rPr>
              <a:t> Rev 2020;21:e12949; </a:t>
            </a:r>
            <a:r>
              <a:rPr kumimoji="0" lang="da-DK" sz="800" b="0" i="1" u="none" strike="noStrike" kern="1200" cap="none" spc="0" normalizeH="0" baseline="0" noProof="0" dirty="0">
                <a:ln>
                  <a:noFill/>
                </a:ln>
                <a:solidFill>
                  <a:srgbClr val="939AA7"/>
                </a:solidFill>
                <a:effectLst/>
                <a:uLnTx/>
                <a:uFillTx/>
                <a:latin typeface="Apis For Office"/>
                <a:ea typeface="+mn-ea"/>
                <a:cs typeface="+mn-cs"/>
              </a:rPr>
              <a:t>2.</a:t>
            </a:r>
            <a:r>
              <a:rPr kumimoji="0" lang="en-GB" sz="800" b="0" i="1" u="none" strike="noStrike" kern="1200" cap="none" spc="0" normalizeH="0" baseline="0" noProof="0" dirty="0">
                <a:ln>
                  <a:noFill/>
                </a:ln>
                <a:solidFill>
                  <a:srgbClr val="939AA7"/>
                </a:solidFill>
                <a:effectLst/>
                <a:uLnTx/>
                <a:uFillTx/>
                <a:latin typeface="Apis For Office"/>
                <a:ea typeface="+mn-ea"/>
                <a:cs typeface="+mn-cs"/>
              </a:rPr>
              <a:t> Horn et al. Postgrad Med 2022;134:359–75; 3. </a:t>
            </a:r>
            <a:r>
              <a:rPr kumimoji="0" lang="en-GB" sz="800" b="0" i="1" u="none" strike="noStrike" kern="1200" cap="none" spc="0" normalizeH="0" baseline="0" noProof="0" dirty="0">
                <a:ln>
                  <a:noFill/>
                </a:ln>
                <a:solidFill>
                  <a:srgbClr val="939AA7"/>
                </a:solidFill>
                <a:effectLst/>
                <a:uLnTx/>
                <a:uFillTx/>
                <a:latin typeface="Apis For Office"/>
                <a:ea typeface="Apis For Office"/>
                <a:cs typeface="Apis For Office"/>
              </a:rPr>
              <a:t>1. Hall et al. Med Clin North Am 2018; 102(1): 183-197</a:t>
            </a:r>
            <a:endParaRPr kumimoji="0" lang="en-GB" sz="800" b="0" i="1" u="none" strike="noStrike" kern="1200" cap="none" spc="0" normalizeH="0" baseline="0" noProof="0" dirty="0">
              <a:ln>
                <a:noFill/>
              </a:ln>
              <a:solidFill>
                <a:srgbClr val="939AA7"/>
              </a:solidFill>
              <a:effectLst/>
              <a:uLnTx/>
              <a:uFillTx/>
              <a:latin typeface="Apis For Office"/>
              <a:ea typeface="+mn-ea"/>
              <a:cs typeface="+mn-cs"/>
            </a:endParaRPr>
          </a:p>
        </p:txBody>
      </p:sp>
      <p:grpSp>
        <p:nvGrpSpPr>
          <p:cNvPr id="15" name="Group 14">
            <a:extLst>
              <a:ext uri="{FF2B5EF4-FFF2-40B4-BE49-F238E27FC236}">
                <a16:creationId xmlns:a16="http://schemas.microsoft.com/office/drawing/2014/main" id="{5EF743E7-9EAA-F466-7515-C494D792576D}"/>
              </a:ext>
            </a:extLst>
          </p:cNvPr>
          <p:cNvGrpSpPr/>
          <p:nvPr/>
        </p:nvGrpSpPr>
        <p:grpSpPr>
          <a:xfrm>
            <a:off x="-1" y="1288848"/>
            <a:ext cx="7722698" cy="4421692"/>
            <a:chOff x="456921" y="1220854"/>
            <a:chExt cx="7339667" cy="4767582"/>
          </a:xfrm>
        </p:grpSpPr>
        <p:grpSp>
          <p:nvGrpSpPr>
            <p:cNvPr id="5" name="Group 4">
              <a:extLst>
                <a:ext uri="{FF2B5EF4-FFF2-40B4-BE49-F238E27FC236}">
                  <a16:creationId xmlns:a16="http://schemas.microsoft.com/office/drawing/2014/main" id="{8D2D1EE7-5377-43FF-C6B9-B2B085255820}"/>
                </a:ext>
              </a:extLst>
            </p:cNvPr>
            <p:cNvGrpSpPr/>
            <p:nvPr/>
          </p:nvGrpSpPr>
          <p:grpSpPr>
            <a:xfrm>
              <a:off x="456921" y="1220854"/>
              <a:ext cx="7339667" cy="4767582"/>
              <a:chOff x="456921" y="1426415"/>
              <a:chExt cx="7339667" cy="4767582"/>
            </a:xfrm>
          </p:grpSpPr>
          <p:sp>
            <p:nvSpPr>
              <p:cNvPr id="110" name="Rectangle 109">
                <a:extLst>
                  <a:ext uri="{FF2B5EF4-FFF2-40B4-BE49-F238E27FC236}">
                    <a16:creationId xmlns:a16="http://schemas.microsoft.com/office/drawing/2014/main" id="{460A1C2F-64AC-9B8E-4D4B-52FAF745313E}"/>
                  </a:ext>
                </a:extLst>
              </p:cNvPr>
              <p:cNvSpPr/>
              <p:nvPr/>
            </p:nvSpPr>
            <p:spPr>
              <a:xfrm>
                <a:off x="456921" y="1426415"/>
                <a:ext cx="6434796" cy="4767582"/>
              </a:xfrm>
              <a:prstGeom prst="rect">
                <a:avLst/>
              </a:prstGeom>
              <a:solidFill>
                <a:srgbClr val="D8EAF8">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1965"/>
                  </a:solidFill>
                  <a:effectLst/>
                  <a:uLnTx/>
                  <a:uFillTx/>
                  <a:latin typeface="Apis For Office"/>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1965"/>
                  </a:solidFill>
                  <a:effectLst/>
                  <a:uLnTx/>
                  <a:uFillTx/>
                  <a:latin typeface="Apis For Office"/>
                  <a:ea typeface="+mn-ea"/>
                  <a:cs typeface="+mn-cs"/>
                </a:endParaRPr>
              </a:p>
            </p:txBody>
          </p:sp>
          <p:grpSp>
            <p:nvGrpSpPr>
              <p:cNvPr id="4" name="Group 3">
                <a:extLst>
                  <a:ext uri="{FF2B5EF4-FFF2-40B4-BE49-F238E27FC236}">
                    <a16:creationId xmlns:a16="http://schemas.microsoft.com/office/drawing/2014/main" id="{BE38D8D6-ACE2-C0CD-B010-8872233A539B}"/>
                  </a:ext>
                </a:extLst>
              </p:cNvPr>
              <p:cNvGrpSpPr/>
              <p:nvPr/>
            </p:nvGrpSpPr>
            <p:grpSpPr>
              <a:xfrm>
                <a:off x="805761" y="2210227"/>
                <a:ext cx="5461135" cy="3057013"/>
                <a:chOff x="481663" y="1632218"/>
                <a:chExt cx="8474008" cy="4629828"/>
              </a:xfrm>
            </p:grpSpPr>
            <p:cxnSp>
              <p:nvCxnSpPr>
                <p:cNvPr id="16" name="Straight Connector 15">
                  <a:extLst>
                    <a:ext uri="{FF2B5EF4-FFF2-40B4-BE49-F238E27FC236}">
                      <a16:creationId xmlns:a16="http://schemas.microsoft.com/office/drawing/2014/main" id="{42A048B6-6EC2-0387-DEEA-7B12B82F344A}"/>
                    </a:ext>
                  </a:extLst>
                </p:cNvPr>
                <p:cNvCxnSpPr/>
                <p:nvPr/>
              </p:nvCxnSpPr>
              <p:spPr>
                <a:xfrm>
                  <a:off x="1521887" y="2800766"/>
                  <a:ext cx="7374467" cy="0"/>
                </a:xfrm>
                <a:prstGeom prst="line">
                  <a:avLst/>
                </a:prstGeom>
                <a:ln w="25400" cap="rnd">
                  <a:solidFill>
                    <a:srgbClr val="AEA79F"/>
                  </a:solidFill>
                  <a:prstDash val="sysDot"/>
                  <a:round/>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4A98B2A-0FA2-FC1B-EC62-F38CC85EA111}"/>
                    </a:ext>
                  </a:extLst>
                </p:cNvPr>
                <p:cNvSpPr/>
                <p:nvPr/>
              </p:nvSpPr>
              <p:spPr>
                <a:xfrm>
                  <a:off x="1843620" y="1632218"/>
                  <a:ext cx="956733" cy="3750881"/>
                </a:xfrm>
                <a:prstGeom prst="roundRect">
                  <a:avLst>
                    <a:gd name="adj" fmla="val 6048"/>
                  </a:avLst>
                </a:prstGeom>
                <a:solidFill>
                  <a:srgbClr val="E0DED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18" name="Straight Connector 17">
                  <a:extLst>
                    <a:ext uri="{FF2B5EF4-FFF2-40B4-BE49-F238E27FC236}">
                      <a16:creationId xmlns:a16="http://schemas.microsoft.com/office/drawing/2014/main" id="{0D54C192-8554-F5C9-E119-DCB0C11CE07E}"/>
                    </a:ext>
                  </a:extLst>
                </p:cNvPr>
                <p:cNvCxnSpPr/>
                <p:nvPr/>
              </p:nvCxnSpPr>
              <p:spPr>
                <a:xfrm>
                  <a:off x="1513420" y="1664850"/>
                  <a:ext cx="0" cy="373224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95077E9-0408-625E-F440-32BBA5CFBB8F}"/>
                    </a:ext>
                  </a:extLst>
                </p:cNvPr>
                <p:cNvCxnSpPr>
                  <a:cxnSpLocks/>
                </p:cNvCxnSpPr>
                <p:nvPr/>
              </p:nvCxnSpPr>
              <p:spPr>
                <a:xfrm flipH="1">
                  <a:off x="1513420" y="5384653"/>
                  <a:ext cx="7389845"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D6B6F1E-F098-3F92-6766-0C38E9A559E3}"/>
                    </a:ext>
                  </a:extLst>
                </p:cNvPr>
                <p:cNvCxnSpPr>
                  <a:cxnSpLocks/>
                </p:cNvCxnSpPr>
                <p:nvPr/>
              </p:nvCxnSpPr>
              <p:spPr>
                <a:xfrm flipH="1">
                  <a:off x="1361020" y="47369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5BA49A3-C01D-7ACB-938A-CFC4E6BD6553}"/>
                    </a:ext>
                  </a:extLst>
                </p:cNvPr>
                <p:cNvCxnSpPr>
                  <a:cxnSpLocks/>
                </p:cNvCxnSpPr>
                <p:nvPr/>
              </p:nvCxnSpPr>
              <p:spPr>
                <a:xfrm flipH="1">
                  <a:off x="1361020" y="3771754"/>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B2F2C8-379F-5EB3-B835-C3B0ECDBCCB4}"/>
                    </a:ext>
                  </a:extLst>
                </p:cNvPr>
                <p:cNvCxnSpPr>
                  <a:cxnSpLocks/>
                </p:cNvCxnSpPr>
                <p:nvPr/>
              </p:nvCxnSpPr>
              <p:spPr>
                <a:xfrm flipH="1">
                  <a:off x="1361020" y="280020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EF65EF3-556D-E115-9B70-E4FB084194F7}"/>
                    </a:ext>
                  </a:extLst>
                </p:cNvPr>
                <p:cNvCxnSpPr>
                  <a:cxnSpLocks/>
                </p:cNvCxnSpPr>
                <p:nvPr/>
              </p:nvCxnSpPr>
              <p:spPr>
                <a:xfrm flipH="1">
                  <a:off x="1361020" y="18286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2C570BB-BBBD-AC8E-E48F-3159B6C9F00C}"/>
                    </a:ext>
                  </a:extLst>
                </p:cNvPr>
                <p:cNvCxnSpPr>
                  <a:cxnSpLocks/>
                </p:cNvCxnSpPr>
                <p:nvPr/>
              </p:nvCxnSpPr>
              <p:spPr>
                <a:xfrm rot="16200000" flipH="1">
                  <a:off x="1767420"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A8236B1-B0F8-7E69-3DFA-7C8661240656}"/>
                    </a:ext>
                  </a:extLst>
                </p:cNvPr>
                <p:cNvCxnSpPr>
                  <a:cxnSpLocks/>
                </p:cNvCxnSpPr>
                <p:nvPr/>
              </p:nvCxnSpPr>
              <p:spPr>
                <a:xfrm rot="16200000" flipH="1">
                  <a:off x="2732620"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59339B1-ADFC-5B80-9C23-4F3161C20ADF}"/>
                    </a:ext>
                  </a:extLst>
                </p:cNvPr>
                <p:cNvCxnSpPr>
                  <a:cxnSpLocks/>
                </p:cNvCxnSpPr>
                <p:nvPr/>
              </p:nvCxnSpPr>
              <p:spPr>
                <a:xfrm rot="16200000" flipH="1">
                  <a:off x="3894670"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26F6D6E-294B-3098-443F-0E6EAE817681}"/>
                    </a:ext>
                  </a:extLst>
                </p:cNvPr>
                <p:cNvCxnSpPr>
                  <a:cxnSpLocks/>
                </p:cNvCxnSpPr>
                <p:nvPr/>
              </p:nvCxnSpPr>
              <p:spPr>
                <a:xfrm rot="16200000" flipH="1">
                  <a:off x="5042430"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09F8B69-9A18-94E9-45AA-702C548F81CD}"/>
                    </a:ext>
                  </a:extLst>
                </p:cNvPr>
                <p:cNvCxnSpPr>
                  <a:cxnSpLocks/>
                </p:cNvCxnSpPr>
                <p:nvPr/>
              </p:nvCxnSpPr>
              <p:spPr>
                <a:xfrm rot="16200000" flipH="1">
                  <a:off x="6190190"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F4ED72D-6335-4895-76AE-CB4A9761B813}"/>
                    </a:ext>
                  </a:extLst>
                </p:cNvPr>
                <p:cNvCxnSpPr>
                  <a:cxnSpLocks/>
                </p:cNvCxnSpPr>
                <p:nvPr/>
              </p:nvCxnSpPr>
              <p:spPr>
                <a:xfrm rot="16200000" flipH="1">
                  <a:off x="7337950"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24F15F4-C4EB-95D9-C345-37F130FD30E9}"/>
                    </a:ext>
                  </a:extLst>
                </p:cNvPr>
                <p:cNvCxnSpPr>
                  <a:cxnSpLocks/>
                </p:cNvCxnSpPr>
                <p:nvPr/>
              </p:nvCxnSpPr>
              <p:spPr>
                <a:xfrm rot="16200000" flipH="1">
                  <a:off x="8485711" y="5460853"/>
                  <a:ext cx="1524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9CE24252-C7BB-30DB-553D-37C9D5955F82}"/>
                    </a:ext>
                  </a:extLst>
                </p:cNvPr>
                <p:cNvSpPr/>
                <p:nvPr/>
              </p:nvSpPr>
              <p:spPr>
                <a:xfrm>
                  <a:off x="1839888" y="2157058"/>
                  <a:ext cx="6720045" cy="1201865"/>
                </a:xfrm>
                <a:custGeom>
                  <a:avLst/>
                  <a:gdLst>
                    <a:gd name="connsiteX0" fmla="*/ 0 w 5040034"/>
                    <a:gd name="connsiteY0" fmla="*/ 481036 h 901399"/>
                    <a:gd name="connsiteX1" fmla="*/ 723720 w 5040034"/>
                    <a:gd name="connsiteY1" fmla="*/ 901399 h 901399"/>
                    <a:gd name="connsiteX2" fmla="*/ 940402 w 5040034"/>
                    <a:gd name="connsiteY2" fmla="*/ 528706 h 901399"/>
                    <a:gd name="connsiteX3" fmla="*/ 1590449 w 5040034"/>
                    <a:gd name="connsiteY3" fmla="*/ 420364 h 901399"/>
                    <a:gd name="connsiteX4" fmla="*/ 5040034 w 5040034"/>
                    <a:gd name="connsiteY4" fmla="*/ 0 h 901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34" h="901399">
                      <a:moveTo>
                        <a:pt x="0" y="481036"/>
                      </a:moveTo>
                      <a:lnTo>
                        <a:pt x="723720" y="901399"/>
                      </a:lnTo>
                      <a:lnTo>
                        <a:pt x="940402" y="528706"/>
                      </a:lnTo>
                      <a:lnTo>
                        <a:pt x="1590449" y="420364"/>
                      </a:lnTo>
                      <a:lnTo>
                        <a:pt x="5040034" y="0"/>
                      </a:lnTo>
                    </a:path>
                  </a:pathLst>
                </a:custGeom>
                <a:noFill/>
                <a:ln w="19050">
                  <a:solidFill>
                    <a:srgbClr val="99B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9" name="Freeform: Shape 68">
                  <a:extLst>
                    <a:ext uri="{FF2B5EF4-FFF2-40B4-BE49-F238E27FC236}">
                      <a16:creationId xmlns:a16="http://schemas.microsoft.com/office/drawing/2014/main" id="{DA8AD9F3-1A16-01F8-9A76-3B351FF1FDC3}"/>
                    </a:ext>
                  </a:extLst>
                </p:cNvPr>
                <p:cNvSpPr/>
                <p:nvPr/>
              </p:nvSpPr>
              <p:spPr>
                <a:xfrm>
                  <a:off x="1839888" y="2804216"/>
                  <a:ext cx="5575963" cy="595155"/>
                </a:xfrm>
                <a:custGeom>
                  <a:avLst/>
                  <a:gdLst>
                    <a:gd name="connsiteX0" fmla="*/ 0 w 4181972"/>
                    <a:gd name="connsiteY0" fmla="*/ 0 h 446366"/>
                    <a:gd name="connsiteX1" fmla="*/ 728053 w 4181972"/>
                    <a:gd name="connsiteY1" fmla="*/ 446366 h 446366"/>
                    <a:gd name="connsiteX2" fmla="*/ 2452846 w 4181972"/>
                    <a:gd name="connsiteY2" fmla="*/ 316357 h 446366"/>
                    <a:gd name="connsiteX3" fmla="*/ 4181972 w 4181972"/>
                    <a:gd name="connsiteY3" fmla="*/ 143011 h 446366"/>
                  </a:gdLst>
                  <a:ahLst/>
                  <a:cxnLst>
                    <a:cxn ang="0">
                      <a:pos x="connsiteX0" y="connsiteY0"/>
                    </a:cxn>
                    <a:cxn ang="0">
                      <a:pos x="connsiteX1" y="connsiteY1"/>
                    </a:cxn>
                    <a:cxn ang="0">
                      <a:pos x="connsiteX2" y="connsiteY2"/>
                    </a:cxn>
                    <a:cxn ang="0">
                      <a:pos x="connsiteX3" y="connsiteY3"/>
                    </a:cxn>
                  </a:cxnLst>
                  <a:rect l="l" t="t" r="r" b="b"/>
                  <a:pathLst>
                    <a:path w="4181972" h="446366">
                      <a:moveTo>
                        <a:pt x="0" y="0"/>
                      </a:moveTo>
                      <a:lnTo>
                        <a:pt x="728053" y="446366"/>
                      </a:lnTo>
                      <a:lnTo>
                        <a:pt x="2452846" y="316357"/>
                      </a:lnTo>
                      <a:lnTo>
                        <a:pt x="4181972" y="143011"/>
                      </a:lnTo>
                    </a:path>
                  </a:pathLst>
                </a:custGeom>
                <a:noFill/>
                <a:ln w="19050">
                  <a:solidFill>
                    <a:srgbClr val="AAD3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0" name="Freeform: Shape 69">
                  <a:extLst>
                    <a:ext uri="{FF2B5EF4-FFF2-40B4-BE49-F238E27FC236}">
                      <a16:creationId xmlns:a16="http://schemas.microsoft.com/office/drawing/2014/main" id="{8F3F3512-AE6A-0B32-A650-EC8E66519012}"/>
                    </a:ext>
                  </a:extLst>
                </p:cNvPr>
                <p:cNvSpPr/>
                <p:nvPr/>
              </p:nvSpPr>
              <p:spPr>
                <a:xfrm>
                  <a:off x="1839888" y="2798439"/>
                  <a:ext cx="6725824" cy="826281"/>
                </a:xfrm>
                <a:custGeom>
                  <a:avLst/>
                  <a:gdLst>
                    <a:gd name="connsiteX0" fmla="*/ 0 w 5044368"/>
                    <a:gd name="connsiteY0" fmla="*/ 0 h 619711"/>
                    <a:gd name="connsiteX1" fmla="*/ 728053 w 5044368"/>
                    <a:gd name="connsiteY1" fmla="*/ 619711 h 619711"/>
                    <a:gd name="connsiteX2" fmla="*/ 1590449 w 5044368"/>
                    <a:gd name="connsiteY2" fmla="*/ 502703 h 619711"/>
                    <a:gd name="connsiteX3" fmla="*/ 5044368 w 5044368"/>
                    <a:gd name="connsiteY3" fmla="*/ 65004 h 619711"/>
                  </a:gdLst>
                  <a:ahLst/>
                  <a:cxnLst>
                    <a:cxn ang="0">
                      <a:pos x="connsiteX0" y="connsiteY0"/>
                    </a:cxn>
                    <a:cxn ang="0">
                      <a:pos x="connsiteX1" y="connsiteY1"/>
                    </a:cxn>
                    <a:cxn ang="0">
                      <a:pos x="connsiteX2" y="connsiteY2"/>
                    </a:cxn>
                    <a:cxn ang="0">
                      <a:pos x="connsiteX3" y="connsiteY3"/>
                    </a:cxn>
                  </a:cxnLst>
                  <a:rect l="l" t="t" r="r" b="b"/>
                  <a:pathLst>
                    <a:path w="5044368" h="619711">
                      <a:moveTo>
                        <a:pt x="0" y="0"/>
                      </a:moveTo>
                      <a:lnTo>
                        <a:pt x="728053" y="619711"/>
                      </a:lnTo>
                      <a:lnTo>
                        <a:pt x="1590449" y="502703"/>
                      </a:lnTo>
                      <a:lnTo>
                        <a:pt x="5044368" y="65004"/>
                      </a:lnTo>
                    </a:path>
                  </a:pathLst>
                </a:custGeom>
                <a:noFill/>
                <a:ln w="19050">
                  <a:solidFill>
                    <a:srgbClr val="EEA7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1" name="Freeform: Shape 70">
                  <a:extLst>
                    <a:ext uri="{FF2B5EF4-FFF2-40B4-BE49-F238E27FC236}">
                      <a16:creationId xmlns:a16="http://schemas.microsoft.com/office/drawing/2014/main" id="{C49F58EF-3E1F-F8CF-35C8-F775C94907FE}"/>
                    </a:ext>
                  </a:extLst>
                </p:cNvPr>
                <p:cNvSpPr/>
                <p:nvPr/>
              </p:nvSpPr>
              <p:spPr>
                <a:xfrm>
                  <a:off x="1828332" y="2723322"/>
                  <a:ext cx="4431879" cy="959181"/>
                </a:xfrm>
                <a:custGeom>
                  <a:avLst/>
                  <a:gdLst>
                    <a:gd name="connsiteX0" fmla="*/ 0 w 3323909"/>
                    <a:gd name="connsiteY0" fmla="*/ 52004 h 719386"/>
                    <a:gd name="connsiteX1" fmla="*/ 728053 w 3323909"/>
                    <a:gd name="connsiteY1" fmla="*/ 719386 h 719386"/>
                    <a:gd name="connsiteX2" fmla="*/ 1170085 w 3323909"/>
                    <a:gd name="connsiteY2" fmla="*/ 606711 h 719386"/>
                    <a:gd name="connsiteX3" fmla="*/ 3323909 w 3323909"/>
                    <a:gd name="connsiteY3" fmla="*/ 0 h 719386"/>
                  </a:gdLst>
                  <a:ahLst/>
                  <a:cxnLst>
                    <a:cxn ang="0">
                      <a:pos x="connsiteX0" y="connsiteY0"/>
                    </a:cxn>
                    <a:cxn ang="0">
                      <a:pos x="connsiteX1" y="connsiteY1"/>
                    </a:cxn>
                    <a:cxn ang="0">
                      <a:pos x="connsiteX2" y="connsiteY2"/>
                    </a:cxn>
                    <a:cxn ang="0">
                      <a:pos x="connsiteX3" y="connsiteY3"/>
                    </a:cxn>
                  </a:cxnLst>
                  <a:rect l="l" t="t" r="r" b="b"/>
                  <a:pathLst>
                    <a:path w="3323909" h="719386">
                      <a:moveTo>
                        <a:pt x="0" y="52004"/>
                      </a:moveTo>
                      <a:lnTo>
                        <a:pt x="728053" y="719386"/>
                      </a:lnTo>
                      <a:lnTo>
                        <a:pt x="1170085" y="606711"/>
                      </a:lnTo>
                      <a:lnTo>
                        <a:pt x="3323909" y="0"/>
                      </a:lnTo>
                    </a:path>
                  </a:pathLst>
                </a:custGeom>
                <a:noFill/>
                <a:ln w="1905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2" name="Freeform: Shape 71">
                  <a:extLst>
                    <a:ext uri="{FF2B5EF4-FFF2-40B4-BE49-F238E27FC236}">
                      <a16:creationId xmlns:a16="http://schemas.microsoft.com/office/drawing/2014/main" id="{0E81E168-67BD-9ACB-04AC-92E378FC239A}"/>
                    </a:ext>
                  </a:extLst>
                </p:cNvPr>
                <p:cNvSpPr/>
                <p:nvPr/>
              </p:nvSpPr>
              <p:spPr>
                <a:xfrm>
                  <a:off x="1851444" y="2809995"/>
                  <a:ext cx="4414545" cy="1011184"/>
                </a:xfrm>
                <a:custGeom>
                  <a:avLst/>
                  <a:gdLst>
                    <a:gd name="connsiteX0" fmla="*/ 0 w 3310909"/>
                    <a:gd name="connsiteY0" fmla="*/ 0 h 758388"/>
                    <a:gd name="connsiteX1" fmla="*/ 719386 w 3310909"/>
                    <a:gd name="connsiteY1" fmla="*/ 758388 h 758388"/>
                    <a:gd name="connsiteX2" fmla="*/ 1144084 w 3310909"/>
                    <a:gd name="connsiteY2" fmla="*/ 541706 h 758388"/>
                    <a:gd name="connsiteX3" fmla="*/ 1577449 w 3310909"/>
                    <a:gd name="connsiteY3" fmla="*/ 390028 h 758388"/>
                    <a:gd name="connsiteX4" fmla="*/ 2439845 w 3310909"/>
                    <a:gd name="connsiteY4" fmla="*/ 190680 h 758388"/>
                    <a:gd name="connsiteX5" fmla="*/ 3310909 w 3310909"/>
                    <a:gd name="connsiteY5" fmla="*/ 130009 h 75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0909" h="758388">
                      <a:moveTo>
                        <a:pt x="0" y="0"/>
                      </a:moveTo>
                      <a:lnTo>
                        <a:pt x="719386" y="758388"/>
                      </a:lnTo>
                      <a:lnTo>
                        <a:pt x="1144084" y="541706"/>
                      </a:lnTo>
                      <a:lnTo>
                        <a:pt x="1577449" y="390028"/>
                      </a:lnTo>
                      <a:lnTo>
                        <a:pt x="2439845" y="190680"/>
                      </a:lnTo>
                      <a:lnTo>
                        <a:pt x="3310909" y="130009"/>
                      </a:lnTo>
                    </a:path>
                  </a:pathLst>
                </a:custGeom>
                <a:noFill/>
                <a:ln w="19050">
                  <a:solidFill>
                    <a:srgbClr val="E67D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3" name="Freeform: Shape 72">
                  <a:extLst>
                    <a:ext uri="{FF2B5EF4-FFF2-40B4-BE49-F238E27FC236}">
                      <a16:creationId xmlns:a16="http://schemas.microsoft.com/office/drawing/2014/main" id="{FD72B64A-F2A9-FBD3-3502-8908E8DF68D5}"/>
                    </a:ext>
                  </a:extLst>
                </p:cNvPr>
                <p:cNvSpPr/>
                <p:nvPr/>
              </p:nvSpPr>
              <p:spPr>
                <a:xfrm>
                  <a:off x="1845667" y="2798439"/>
                  <a:ext cx="6720045" cy="1190308"/>
                </a:xfrm>
                <a:custGeom>
                  <a:avLst/>
                  <a:gdLst>
                    <a:gd name="connsiteX0" fmla="*/ 0 w 5040034"/>
                    <a:gd name="connsiteY0" fmla="*/ 0 h 892731"/>
                    <a:gd name="connsiteX1" fmla="*/ 728053 w 5040034"/>
                    <a:gd name="connsiteY1" fmla="*/ 892731 h 892731"/>
                    <a:gd name="connsiteX2" fmla="*/ 5040034 w 5040034"/>
                    <a:gd name="connsiteY2" fmla="*/ 619711 h 892731"/>
                  </a:gdLst>
                  <a:ahLst/>
                  <a:cxnLst>
                    <a:cxn ang="0">
                      <a:pos x="connsiteX0" y="connsiteY0"/>
                    </a:cxn>
                    <a:cxn ang="0">
                      <a:pos x="connsiteX1" y="connsiteY1"/>
                    </a:cxn>
                    <a:cxn ang="0">
                      <a:pos x="connsiteX2" y="connsiteY2"/>
                    </a:cxn>
                  </a:cxnLst>
                  <a:rect l="l" t="t" r="r" b="b"/>
                  <a:pathLst>
                    <a:path w="5040034" h="892731">
                      <a:moveTo>
                        <a:pt x="0" y="0"/>
                      </a:moveTo>
                      <a:lnTo>
                        <a:pt x="728053" y="892731"/>
                      </a:lnTo>
                      <a:lnTo>
                        <a:pt x="5040034" y="619711"/>
                      </a:lnTo>
                    </a:path>
                  </a:pathLst>
                </a:custGeom>
                <a:noFill/>
                <a:ln w="19050">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4" name="Freeform: Shape 73">
                  <a:extLst>
                    <a:ext uri="{FF2B5EF4-FFF2-40B4-BE49-F238E27FC236}">
                      <a16:creationId xmlns:a16="http://schemas.microsoft.com/office/drawing/2014/main" id="{4E452C17-16F3-FA22-2AFF-A1C57D5124E4}"/>
                    </a:ext>
                  </a:extLst>
                </p:cNvPr>
                <p:cNvSpPr/>
                <p:nvPr/>
              </p:nvSpPr>
              <p:spPr>
                <a:xfrm>
                  <a:off x="1834111" y="2607758"/>
                  <a:ext cx="6725823" cy="1652565"/>
                </a:xfrm>
                <a:custGeom>
                  <a:avLst/>
                  <a:gdLst>
                    <a:gd name="connsiteX0" fmla="*/ 0 w 5044367"/>
                    <a:gd name="connsiteY0" fmla="*/ 138677 h 1239424"/>
                    <a:gd name="connsiteX1" fmla="*/ 728053 w 5044367"/>
                    <a:gd name="connsiteY1" fmla="*/ 1239424 h 1239424"/>
                    <a:gd name="connsiteX2" fmla="*/ 1594782 w 5044367"/>
                    <a:gd name="connsiteY2" fmla="*/ 645714 h 1239424"/>
                    <a:gd name="connsiteX3" fmla="*/ 5044367 w 5044367"/>
                    <a:gd name="connsiteY3" fmla="*/ 0 h 1239424"/>
                  </a:gdLst>
                  <a:ahLst/>
                  <a:cxnLst>
                    <a:cxn ang="0">
                      <a:pos x="connsiteX0" y="connsiteY0"/>
                    </a:cxn>
                    <a:cxn ang="0">
                      <a:pos x="connsiteX1" y="connsiteY1"/>
                    </a:cxn>
                    <a:cxn ang="0">
                      <a:pos x="connsiteX2" y="connsiteY2"/>
                    </a:cxn>
                    <a:cxn ang="0">
                      <a:pos x="connsiteX3" y="connsiteY3"/>
                    </a:cxn>
                  </a:cxnLst>
                  <a:rect l="l" t="t" r="r" b="b"/>
                  <a:pathLst>
                    <a:path w="5044367" h="1239424">
                      <a:moveTo>
                        <a:pt x="0" y="138677"/>
                      </a:moveTo>
                      <a:lnTo>
                        <a:pt x="728053" y="1239424"/>
                      </a:lnTo>
                      <a:lnTo>
                        <a:pt x="1594782" y="645714"/>
                      </a:lnTo>
                      <a:lnTo>
                        <a:pt x="5044367" y="0"/>
                      </a:lnTo>
                    </a:path>
                  </a:pathLst>
                </a:custGeom>
                <a:noFill/>
                <a:ln w="19050">
                  <a:solidFill>
                    <a:srgbClr val="83BF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5" name="Freeform: Shape 74">
                  <a:extLst>
                    <a:ext uri="{FF2B5EF4-FFF2-40B4-BE49-F238E27FC236}">
                      <a16:creationId xmlns:a16="http://schemas.microsoft.com/office/drawing/2014/main" id="{68019A8C-3B50-5DC0-2B4C-2D30C12E0347}"/>
                    </a:ext>
                  </a:extLst>
                </p:cNvPr>
                <p:cNvSpPr/>
                <p:nvPr/>
              </p:nvSpPr>
              <p:spPr>
                <a:xfrm>
                  <a:off x="1834111" y="2786882"/>
                  <a:ext cx="5587517" cy="1675678"/>
                </a:xfrm>
                <a:custGeom>
                  <a:avLst/>
                  <a:gdLst>
                    <a:gd name="connsiteX0" fmla="*/ 0 w 4190638"/>
                    <a:gd name="connsiteY0" fmla="*/ 0 h 1243758"/>
                    <a:gd name="connsiteX1" fmla="*/ 758388 w 4190638"/>
                    <a:gd name="connsiteY1" fmla="*/ 1243758 h 1243758"/>
                    <a:gd name="connsiteX2" fmla="*/ 1599116 w 4190638"/>
                    <a:gd name="connsiteY2" fmla="*/ 732387 h 1243758"/>
                    <a:gd name="connsiteX3" fmla="*/ 4190638 w 4190638"/>
                    <a:gd name="connsiteY3" fmla="*/ 190681 h 1243758"/>
                    <a:gd name="connsiteX0" fmla="*/ 0 w 4190638"/>
                    <a:gd name="connsiteY0" fmla="*/ 0 h 1256759"/>
                    <a:gd name="connsiteX1" fmla="*/ 736720 w 4190638"/>
                    <a:gd name="connsiteY1" fmla="*/ 1256759 h 1256759"/>
                    <a:gd name="connsiteX2" fmla="*/ 1599116 w 4190638"/>
                    <a:gd name="connsiteY2" fmla="*/ 732387 h 1256759"/>
                    <a:gd name="connsiteX3" fmla="*/ 4190638 w 4190638"/>
                    <a:gd name="connsiteY3" fmla="*/ 190681 h 1256759"/>
                  </a:gdLst>
                  <a:ahLst/>
                  <a:cxnLst>
                    <a:cxn ang="0">
                      <a:pos x="connsiteX0" y="connsiteY0"/>
                    </a:cxn>
                    <a:cxn ang="0">
                      <a:pos x="connsiteX1" y="connsiteY1"/>
                    </a:cxn>
                    <a:cxn ang="0">
                      <a:pos x="connsiteX2" y="connsiteY2"/>
                    </a:cxn>
                    <a:cxn ang="0">
                      <a:pos x="connsiteX3" y="connsiteY3"/>
                    </a:cxn>
                  </a:cxnLst>
                  <a:rect l="l" t="t" r="r" b="b"/>
                  <a:pathLst>
                    <a:path w="4190638" h="1256759">
                      <a:moveTo>
                        <a:pt x="0" y="0"/>
                      </a:moveTo>
                      <a:lnTo>
                        <a:pt x="736720" y="1256759"/>
                      </a:lnTo>
                      <a:lnTo>
                        <a:pt x="1599116" y="732387"/>
                      </a:lnTo>
                      <a:lnTo>
                        <a:pt x="4190638" y="190681"/>
                      </a:lnTo>
                    </a:path>
                  </a:pathLst>
                </a:custGeom>
                <a:noFill/>
                <a:ln w="1905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7" name="Oval 76">
                  <a:extLst>
                    <a:ext uri="{FF2B5EF4-FFF2-40B4-BE49-F238E27FC236}">
                      <a16:creationId xmlns:a16="http://schemas.microsoft.com/office/drawing/2014/main" id="{47E5B206-F578-E90C-1E87-9CFA555338D4}"/>
                    </a:ext>
                  </a:extLst>
                </p:cNvPr>
                <p:cNvSpPr/>
                <p:nvPr/>
              </p:nvSpPr>
              <p:spPr>
                <a:xfrm>
                  <a:off x="2770630" y="3289583"/>
                  <a:ext cx="86673" cy="86673"/>
                </a:xfrm>
                <a:prstGeom prst="ellipse">
                  <a:avLst/>
                </a:prstGeom>
                <a:solidFill>
                  <a:srgbClr val="99B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9" name="Oval 78">
                  <a:extLst>
                    <a:ext uri="{FF2B5EF4-FFF2-40B4-BE49-F238E27FC236}">
                      <a16:creationId xmlns:a16="http://schemas.microsoft.com/office/drawing/2014/main" id="{5A0DC46C-E654-7C4E-DE54-0BE9C09D592F}"/>
                    </a:ext>
                  </a:extLst>
                </p:cNvPr>
                <p:cNvSpPr/>
                <p:nvPr/>
              </p:nvSpPr>
              <p:spPr>
                <a:xfrm>
                  <a:off x="3048946" y="2836872"/>
                  <a:ext cx="86673" cy="86673"/>
                </a:xfrm>
                <a:prstGeom prst="ellipse">
                  <a:avLst/>
                </a:prstGeom>
                <a:solidFill>
                  <a:srgbClr val="99B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0" name="Oval 79">
                  <a:extLst>
                    <a:ext uri="{FF2B5EF4-FFF2-40B4-BE49-F238E27FC236}">
                      <a16:creationId xmlns:a16="http://schemas.microsoft.com/office/drawing/2014/main" id="{F4CBC9F7-254C-A8FF-2B1F-386D1C12CA37}"/>
                    </a:ext>
                  </a:extLst>
                </p:cNvPr>
                <p:cNvSpPr/>
                <p:nvPr/>
              </p:nvSpPr>
              <p:spPr>
                <a:xfrm>
                  <a:off x="3927532" y="2671318"/>
                  <a:ext cx="86673" cy="86673"/>
                </a:xfrm>
                <a:prstGeom prst="ellipse">
                  <a:avLst/>
                </a:prstGeom>
                <a:solidFill>
                  <a:srgbClr val="99B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1" name="Oval 80">
                  <a:extLst>
                    <a:ext uri="{FF2B5EF4-FFF2-40B4-BE49-F238E27FC236}">
                      <a16:creationId xmlns:a16="http://schemas.microsoft.com/office/drawing/2014/main" id="{2ECE1058-187C-8389-F4C9-40AC8975C4A2}"/>
                    </a:ext>
                  </a:extLst>
                </p:cNvPr>
                <p:cNvSpPr/>
                <p:nvPr/>
              </p:nvSpPr>
              <p:spPr>
                <a:xfrm>
                  <a:off x="8516596" y="2110831"/>
                  <a:ext cx="86673" cy="86673"/>
                </a:xfrm>
                <a:prstGeom prst="ellipse">
                  <a:avLst/>
                </a:prstGeom>
                <a:solidFill>
                  <a:srgbClr val="99B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2" name="Oval 81">
                  <a:extLst>
                    <a:ext uri="{FF2B5EF4-FFF2-40B4-BE49-F238E27FC236}">
                      <a16:creationId xmlns:a16="http://schemas.microsoft.com/office/drawing/2014/main" id="{DF22F701-6444-7A93-A959-99D826BD37DC}"/>
                    </a:ext>
                  </a:extLst>
                </p:cNvPr>
                <p:cNvSpPr/>
                <p:nvPr/>
              </p:nvSpPr>
              <p:spPr>
                <a:xfrm>
                  <a:off x="2772043" y="3353143"/>
                  <a:ext cx="86673" cy="86673"/>
                </a:xfrm>
                <a:prstGeom prst="ellipse">
                  <a:avLst/>
                </a:prstGeom>
                <a:solidFill>
                  <a:srgbClr val="AAD3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3" name="Oval 82">
                  <a:extLst>
                    <a:ext uri="{FF2B5EF4-FFF2-40B4-BE49-F238E27FC236}">
                      <a16:creationId xmlns:a16="http://schemas.microsoft.com/office/drawing/2014/main" id="{83615B46-5944-02AC-0047-9CAF99B3A99B}"/>
                    </a:ext>
                  </a:extLst>
                </p:cNvPr>
                <p:cNvSpPr/>
                <p:nvPr/>
              </p:nvSpPr>
              <p:spPr>
                <a:xfrm>
                  <a:off x="5056635" y="3179799"/>
                  <a:ext cx="86673" cy="86673"/>
                </a:xfrm>
                <a:prstGeom prst="ellipse">
                  <a:avLst/>
                </a:prstGeom>
                <a:solidFill>
                  <a:srgbClr val="AAD3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4" name="Oval 83">
                  <a:extLst>
                    <a:ext uri="{FF2B5EF4-FFF2-40B4-BE49-F238E27FC236}">
                      <a16:creationId xmlns:a16="http://schemas.microsoft.com/office/drawing/2014/main" id="{031F1DB0-696E-45C2-966A-15D41A839E30}"/>
                    </a:ext>
                  </a:extLst>
                </p:cNvPr>
                <p:cNvSpPr/>
                <p:nvPr/>
              </p:nvSpPr>
              <p:spPr>
                <a:xfrm>
                  <a:off x="7376818" y="2949632"/>
                  <a:ext cx="86673" cy="86673"/>
                </a:xfrm>
                <a:prstGeom prst="ellipse">
                  <a:avLst/>
                </a:prstGeom>
                <a:solidFill>
                  <a:srgbClr val="AAD3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9" name="Oval 88">
                  <a:extLst>
                    <a:ext uri="{FF2B5EF4-FFF2-40B4-BE49-F238E27FC236}">
                      <a16:creationId xmlns:a16="http://schemas.microsoft.com/office/drawing/2014/main" id="{5C3E1A90-3670-B77F-8ADF-2571895E7413}"/>
                    </a:ext>
                  </a:extLst>
                </p:cNvPr>
                <p:cNvSpPr/>
                <p:nvPr/>
              </p:nvSpPr>
              <p:spPr>
                <a:xfrm>
                  <a:off x="2770630" y="3566938"/>
                  <a:ext cx="86673" cy="86673"/>
                </a:xfrm>
                <a:prstGeom prst="ellipse">
                  <a:avLst/>
                </a:prstGeom>
                <a:solidFill>
                  <a:srgbClr val="EEA7B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0" name="Oval 89">
                  <a:extLst>
                    <a:ext uri="{FF2B5EF4-FFF2-40B4-BE49-F238E27FC236}">
                      <a16:creationId xmlns:a16="http://schemas.microsoft.com/office/drawing/2014/main" id="{F6A9AE0A-2C62-7593-167F-5ED3CF64771F}"/>
                    </a:ext>
                  </a:extLst>
                </p:cNvPr>
                <p:cNvSpPr/>
                <p:nvPr/>
              </p:nvSpPr>
              <p:spPr>
                <a:xfrm>
                  <a:off x="8509343" y="2846076"/>
                  <a:ext cx="86673" cy="86673"/>
                </a:xfrm>
                <a:prstGeom prst="ellipse">
                  <a:avLst/>
                </a:prstGeom>
                <a:solidFill>
                  <a:srgbClr val="EEA7B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1" name="Oval 90">
                  <a:extLst>
                    <a:ext uri="{FF2B5EF4-FFF2-40B4-BE49-F238E27FC236}">
                      <a16:creationId xmlns:a16="http://schemas.microsoft.com/office/drawing/2014/main" id="{E9176BC9-F67C-3F8D-A402-2855346CE569}"/>
                    </a:ext>
                  </a:extLst>
                </p:cNvPr>
                <p:cNvSpPr/>
                <p:nvPr/>
              </p:nvSpPr>
              <p:spPr>
                <a:xfrm>
                  <a:off x="2765483" y="3649530"/>
                  <a:ext cx="86673" cy="86673"/>
                </a:xfrm>
                <a:prstGeom prst="ellipse">
                  <a:avLst/>
                </a:prstGeom>
                <a:solidFill>
                  <a:srgbClr val="93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6" name="Oval 95">
                  <a:extLst>
                    <a:ext uri="{FF2B5EF4-FFF2-40B4-BE49-F238E27FC236}">
                      <a16:creationId xmlns:a16="http://schemas.microsoft.com/office/drawing/2014/main" id="{35939BE9-F628-80F4-3533-B33D80ECC281}"/>
                    </a:ext>
                  </a:extLst>
                </p:cNvPr>
                <p:cNvSpPr/>
                <p:nvPr/>
              </p:nvSpPr>
              <p:spPr>
                <a:xfrm>
                  <a:off x="3355642" y="3492236"/>
                  <a:ext cx="86673" cy="86673"/>
                </a:xfrm>
                <a:prstGeom prst="ellipse">
                  <a:avLst/>
                </a:prstGeom>
                <a:solidFill>
                  <a:srgbClr val="E67D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7" name="Oval 96">
                  <a:extLst>
                    <a:ext uri="{FF2B5EF4-FFF2-40B4-BE49-F238E27FC236}">
                      <a16:creationId xmlns:a16="http://schemas.microsoft.com/office/drawing/2014/main" id="{F5C91FD8-8987-0B6E-4759-362F71261BE0}"/>
                    </a:ext>
                  </a:extLst>
                </p:cNvPr>
                <p:cNvSpPr/>
                <p:nvPr/>
              </p:nvSpPr>
              <p:spPr>
                <a:xfrm>
                  <a:off x="5078334" y="3006454"/>
                  <a:ext cx="86673" cy="86673"/>
                </a:xfrm>
                <a:prstGeom prst="ellipse">
                  <a:avLst/>
                </a:prstGeom>
                <a:solidFill>
                  <a:srgbClr val="93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9" name="Oval 98">
                  <a:extLst>
                    <a:ext uri="{FF2B5EF4-FFF2-40B4-BE49-F238E27FC236}">
                      <a16:creationId xmlns:a16="http://schemas.microsoft.com/office/drawing/2014/main" id="{EC123984-D4D3-2B7B-1D44-3A85E992D03B}"/>
                    </a:ext>
                  </a:extLst>
                </p:cNvPr>
                <p:cNvSpPr/>
                <p:nvPr/>
              </p:nvSpPr>
              <p:spPr>
                <a:xfrm>
                  <a:off x="6219764" y="2677095"/>
                  <a:ext cx="86673" cy="86673"/>
                </a:xfrm>
                <a:prstGeom prst="ellipse">
                  <a:avLst/>
                </a:prstGeom>
                <a:solidFill>
                  <a:srgbClr val="93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0" name="Oval 99">
                  <a:extLst>
                    <a:ext uri="{FF2B5EF4-FFF2-40B4-BE49-F238E27FC236}">
                      <a16:creationId xmlns:a16="http://schemas.microsoft.com/office/drawing/2014/main" id="{82B9B2F9-2185-6D0A-A82E-D62C5A502F26}"/>
                    </a:ext>
                  </a:extLst>
                </p:cNvPr>
                <p:cNvSpPr/>
                <p:nvPr/>
              </p:nvSpPr>
              <p:spPr>
                <a:xfrm>
                  <a:off x="2765483" y="3770256"/>
                  <a:ext cx="86673" cy="86673"/>
                </a:xfrm>
                <a:prstGeom prst="ellipse">
                  <a:avLst/>
                </a:prstGeom>
                <a:solidFill>
                  <a:srgbClr val="E67D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1" name="Oval 100">
                  <a:extLst>
                    <a:ext uri="{FF2B5EF4-FFF2-40B4-BE49-F238E27FC236}">
                      <a16:creationId xmlns:a16="http://schemas.microsoft.com/office/drawing/2014/main" id="{FA8FCB8E-7D1F-DC00-4871-30DFCDD35833}"/>
                    </a:ext>
                  </a:extLst>
                </p:cNvPr>
                <p:cNvSpPr/>
                <p:nvPr/>
              </p:nvSpPr>
              <p:spPr>
                <a:xfrm>
                  <a:off x="3920490" y="3287236"/>
                  <a:ext cx="86673" cy="86673"/>
                </a:xfrm>
                <a:prstGeom prst="ellipse">
                  <a:avLst/>
                </a:prstGeom>
                <a:solidFill>
                  <a:srgbClr val="E67D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2" name="Oval 101">
                  <a:extLst>
                    <a:ext uri="{FF2B5EF4-FFF2-40B4-BE49-F238E27FC236}">
                      <a16:creationId xmlns:a16="http://schemas.microsoft.com/office/drawing/2014/main" id="{46C8FDA9-7AF1-838C-AD00-50A01B46C305}"/>
                    </a:ext>
                  </a:extLst>
                </p:cNvPr>
                <p:cNvSpPr/>
                <p:nvPr/>
              </p:nvSpPr>
              <p:spPr>
                <a:xfrm>
                  <a:off x="5078332" y="3017482"/>
                  <a:ext cx="86673" cy="86673"/>
                </a:xfrm>
                <a:prstGeom prst="ellipse">
                  <a:avLst/>
                </a:prstGeom>
                <a:solidFill>
                  <a:srgbClr val="E67D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3" name="Oval 102">
                  <a:extLst>
                    <a:ext uri="{FF2B5EF4-FFF2-40B4-BE49-F238E27FC236}">
                      <a16:creationId xmlns:a16="http://schemas.microsoft.com/office/drawing/2014/main" id="{6A9282E8-58C2-E36C-B302-C5544A0752C8}"/>
                    </a:ext>
                  </a:extLst>
                </p:cNvPr>
                <p:cNvSpPr/>
                <p:nvPr/>
              </p:nvSpPr>
              <p:spPr>
                <a:xfrm>
                  <a:off x="6216874" y="2941451"/>
                  <a:ext cx="86673" cy="86673"/>
                </a:xfrm>
                <a:prstGeom prst="ellipse">
                  <a:avLst/>
                </a:prstGeom>
                <a:solidFill>
                  <a:srgbClr val="E67D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4" name="Oval 103">
                  <a:extLst>
                    <a:ext uri="{FF2B5EF4-FFF2-40B4-BE49-F238E27FC236}">
                      <a16:creationId xmlns:a16="http://schemas.microsoft.com/office/drawing/2014/main" id="{9A036C05-34C2-4220-798E-864F78FBE88E}"/>
                    </a:ext>
                  </a:extLst>
                </p:cNvPr>
                <p:cNvSpPr/>
                <p:nvPr/>
              </p:nvSpPr>
              <p:spPr>
                <a:xfrm>
                  <a:off x="2765483" y="3942520"/>
                  <a:ext cx="86673" cy="86673"/>
                </a:xfrm>
                <a:prstGeom prst="ellipse">
                  <a:avLst/>
                </a:prstGeom>
                <a:solidFill>
                  <a:srgbClr val="72B5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5" name="Oval 104">
                  <a:extLst>
                    <a:ext uri="{FF2B5EF4-FFF2-40B4-BE49-F238E27FC236}">
                      <a16:creationId xmlns:a16="http://schemas.microsoft.com/office/drawing/2014/main" id="{37AC8EBC-022B-6446-FB51-5DFAE6096436}"/>
                    </a:ext>
                  </a:extLst>
                </p:cNvPr>
                <p:cNvSpPr/>
                <p:nvPr/>
              </p:nvSpPr>
              <p:spPr>
                <a:xfrm>
                  <a:off x="8514490" y="3566936"/>
                  <a:ext cx="86673" cy="86673"/>
                </a:xfrm>
                <a:prstGeom prst="ellipse">
                  <a:avLst/>
                </a:prstGeom>
                <a:solidFill>
                  <a:srgbClr val="72B5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7" name="Oval 116">
                  <a:extLst>
                    <a:ext uri="{FF2B5EF4-FFF2-40B4-BE49-F238E27FC236}">
                      <a16:creationId xmlns:a16="http://schemas.microsoft.com/office/drawing/2014/main" id="{3A0B7854-7976-CD68-4F56-441DD41B2408}"/>
                    </a:ext>
                  </a:extLst>
                </p:cNvPr>
                <p:cNvSpPr/>
                <p:nvPr/>
              </p:nvSpPr>
              <p:spPr>
                <a:xfrm>
                  <a:off x="2765483" y="4219372"/>
                  <a:ext cx="86673" cy="86673"/>
                </a:xfrm>
                <a:prstGeom prst="ellipse">
                  <a:avLst/>
                </a:prstGeom>
                <a:solidFill>
                  <a:srgbClr val="83BF8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8" name="Oval 117">
                  <a:extLst>
                    <a:ext uri="{FF2B5EF4-FFF2-40B4-BE49-F238E27FC236}">
                      <a16:creationId xmlns:a16="http://schemas.microsoft.com/office/drawing/2014/main" id="{2EC07EC7-BEC9-B1A7-3E25-DD213B45FEE9}"/>
                    </a:ext>
                  </a:extLst>
                </p:cNvPr>
                <p:cNvSpPr/>
                <p:nvPr/>
              </p:nvSpPr>
              <p:spPr>
                <a:xfrm>
                  <a:off x="3920488" y="3433731"/>
                  <a:ext cx="86673" cy="86673"/>
                </a:xfrm>
                <a:prstGeom prst="ellipse">
                  <a:avLst/>
                </a:prstGeom>
                <a:solidFill>
                  <a:srgbClr val="83BF8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9" name="Oval 118">
                  <a:extLst>
                    <a:ext uri="{FF2B5EF4-FFF2-40B4-BE49-F238E27FC236}">
                      <a16:creationId xmlns:a16="http://schemas.microsoft.com/office/drawing/2014/main" id="{6A3EBE80-6AC7-9761-8B67-D52E9E7F954C}"/>
                    </a:ext>
                  </a:extLst>
                </p:cNvPr>
                <p:cNvSpPr/>
                <p:nvPr/>
              </p:nvSpPr>
              <p:spPr>
                <a:xfrm>
                  <a:off x="8509343" y="2574764"/>
                  <a:ext cx="86673" cy="86673"/>
                </a:xfrm>
                <a:prstGeom prst="ellipse">
                  <a:avLst/>
                </a:prstGeom>
                <a:solidFill>
                  <a:srgbClr val="83BF8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3" name="Oval 122">
                  <a:extLst>
                    <a:ext uri="{FF2B5EF4-FFF2-40B4-BE49-F238E27FC236}">
                      <a16:creationId xmlns:a16="http://schemas.microsoft.com/office/drawing/2014/main" id="{5D8BCD31-E4DA-8D6F-7C27-20F2A8B2EAEE}"/>
                    </a:ext>
                  </a:extLst>
                </p:cNvPr>
                <p:cNvSpPr/>
                <p:nvPr/>
              </p:nvSpPr>
              <p:spPr>
                <a:xfrm>
                  <a:off x="2765483" y="4396109"/>
                  <a:ext cx="86673" cy="86673"/>
                </a:xfrm>
                <a:prstGeom prst="ellipse">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9" name="Oval 128">
                  <a:extLst>
                    <a:ext uri="{FF2B5EF4-FFF2-40B4-BE49-F238E27FC236}">
                      <a16:creationId xmlns:a16="http://schemas.microsoft.com/office/drawing/2014/main" id="{BB62FFE7-4D7A-F73F-A310-8398F3C229BE}"/>
                    </a:ext>
                  </a:extLst>
                </p:cNvPr>
                <p:cNvSpPr/>
                <p:nvPr/>
              </p:nvSpPr>
              <p:spPr>
                <a:xfrm>
                  <a:off x="3920488" y="3714752"/>
                  <a:ext cx="86673" cy="86673"/>
                </a:xfrm>
                <a:prstGeom prst="ellipse">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0" name="Oval 129">
                  <a:extLst>
                    <a:ext uri="{FF2B5EF4-FFF2-40B4-BE49-F238E27FC236}">
                      <a16:creationId xmlns:a16="http://schemas.microsoft.com/office/drawing/2014/main" id="{B628E82A-9163-590C-679C-1AB15DCD6AF0}"/>
                    </a:ext>
                  </a:extLst>
                </p:cNvPr>
                <p:cNvSpPr/>
                <p:nvPr/>
              </p:nvSpPr>
              <p:spPr>
                <a:xfrm>
                  <a:off x="7376818" y="3019927"/>
                  <a:ext cx="86673" cy="86673"/>
                </a:xfrm>
                <a:prstGeom prst="ellipse">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1" name="Oval 130">
                  <a:extLst>
                    <a:ext uri="{FF2B5EF4-FFF2-40B4-BE49-F238E27FC236}">
                      <a16:creationId xmlns:a16="http://schemas.microsoft.com/office/drawing/2014/main" id="{0DDCDE97-92C8-8082-AA32-0274F283268D}"/>
                    </a:ext>
                  </a:extLst>
                </p:cNvPr>
                <p:cNvSpPr/>
                <p:nvPr/>
              </p:nvSpPr>
              <p:spPr>
                <a:xfrm>
                  <a:off x="1812411" y="2759403"/>
                  <a:ext cx="86673" cy="86673"/>
                </a:xfrm>
                <a:prstGeom prst="ellipse">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2" name="Oval 131">
                  <a:extLst>
                    <a:ext uri="{FF2B5EF4-FFF2-40B4-BE49-F238E27FC236}">
                      <a16:creationId xmlns:a16="http://schemas.microsoft.com/office/drawing/2014/main" id="{2C4463CE-823C-19BE-6948-55DF85012CD0}"/>
                    </a:ext>
                  </a:extLst>
                </p:cNvPr>
                <p:cNvSpPr/>
                <p:nvPr/>
              </p:nvSpPr>
              <p:spPr>
                <a:xfrm>
                  <a:off x="1812411" y="2759403"/>
                  <a:ext cx="86673" cy="86673"/>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3" name="Oval 132">
                  <a:extLst>
                    <a:ext uri="{FF2B5EF4-FFF2-40B4-BE49-F238E27FC236}">
                      <a16:creationId xmlns:a16="http://schemas.microsoft.com/office/drawing/2014/main" id="{AA980881-C333-EA8A-B763-77CAAF0C7FFB}"/>
                    </a:ext>
                  </a:extLst>
                </p:cNvPr>
                <p:cNvSpPr/>
                <p:nvPr/>
              </p:nvSpPr>
              <p:spPr>
                <a:xfrm>
                  <a:off x="1812411" y="2759403"/>
                  <a:ext cx="86673" cy="86673"/>
                </a:xfrm>
                <a:prstGeom prst="ellipse">
                  <a:avLst/>
                </a:prstGeom>
                <a:solidFill>
                  <a:srgbClr val="739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4" name="Oval 133">
                  <a:extLst>
                    <a:ext uri="{FF2B5EF4-FFF2-40B4-BE49-F238E27FC236}">
                      <a16:creationId xmlns:a16="http://schemas.microsoft.com/office/drawing/2014/main" id="{F89F234F-EAA2-6A3C-D40A-B9789455646B}"/>
                    </a:ext>
                  </a:extLst>
                </p:cNvPr>
                <p:cNvSpPr/>
                <p:nvPr/>
              </p:nvSpPr>
              <p:spPr>
                <a:xfrm>
                  <a:off x="1812411" y="2759403"/>
                  <a:ext cx="86673" cy="86673"/>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5" name="Oval 134">
                  <a:extLst>
                    <a:ext uri="{FF2B5EF4-FFF2-40B4-BE49-F238E27FC236}">
                      <a16:creationId xmlns:a16="http://schemas.microsoft.com/office/drawing/2014/main" id="{54C499E1-EDE7-0378-0D96-753B6C54B9CB}"/>
                    </a:ext>
                  </a:extLst>
                </p:cNvPr>
                <p:cNvSpPr/>
                <p:nvPr/>
              </p:nvSpPr>
              <p:spPr>
                <a:xfrm>
                  <a:off x="1812411" y="2759403"/>
                  <a:ext cx="86673" cy="86673"/>
                </a:xfrm>
                <a:prstGeom prst="ellipse">
                  <a:avLst/>
                </a:prstGeom>
                <a:solidFill>
                  <a:srgbClr val="D47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6" name="Oval 135">
                  <a:extLst>
                    <a:ext uri="{FF2B5EF4-FFF2-40B4-BE49-F238E27FC236}">
                      <a16:creationId xmlns:a16="http://schemas.microsoft.com/office/drawing/2014/main" id="{59A8A738-D56B-0E6A-042A-4C03EBAFED14}"/>
                    </a:ext>
                  </a:extLst>
                </p:cNvPr>
                <p:cNvSpPr/>
                <p:nvPr/>
              </p:nvSpPr>
              <p:spPr>
                <a:xfrm>
                  <a:off x="1812411" y="2759403"/>
                  <a:ext cx="86673" cy="86673"/>
                </a:xfrm>
                <a:prstGeom prst="ellipse">
                  <a:avLst/>
                </a:prstGeom>
                <a:solidFill>
                  <a:srgbClr val="72B5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7" name="Oval 136">
                  <a:extLst>
                    <a:ext uri="{FF2B5EF4-FFF2-40B4-BE49-F238E27FC236}">
                      <a16:creationId xmlns:a16="http://schemas.microsoft.com/office/drawing/2014/main" id="{B82AFDCA-889C-9984-C407-A19BA3AF5773}"/>
                    </a:ext>
                  </a:extLst>
                </p:cNvPr>
                <p:cNvSpPr/>
                <p:nvPr/>
              </p:nvSpPr>
              <p:spPr>
                <a:xfrm>
                  <a:off x="1812411" y="2759403"/>
                  <a:ext cx="86673" cy="86673"/>
                </a:xfrm>
                <a:prstGeom prst="ellipse">
                  <a:avLst/>
                </a:prstGeom>
                <a:solidFill>
                  <a:srgbClr val="82786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8" name="Oval 137">
                  <a:extLst>
                    <a:ext uri="{FF2B5EF4-FFF2-40B4-BE49-F238E27FC236}">
                      <a16:creationId xmlns:a16="http://schemas.microsoft.com/office/drawing/2014/main" id="{A2A5DFE2-ACD9-6E72-ADB3-C163B9B1964C}"/>
                    </a:ext>
                  </a:extLst>
                </p:cNvPr>
                <p:cNvSpPr/>
                <p:nvPr/>
              </p:nvSpPr>
              <p:spPr>
                <a:xfrm>
                  <a:off x="1812411" y="2759403"/>
                  <a:ext cx="86673" cy="86673"/>
                </a:xfrm>
                <a:prstGeom prst="ellipse">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9" name="TextBox 138">
                  <a:extLst>
                    <a:ext uri="{FF2B5EF4-FFF2-40B4-BE49-F238E27FC236}">
                      <a16:creationId xmlns:a16="http://schemas.microsoft.com/office/drawing/2014/main" id="{9E61D660-3DB0-BD67-FBA8-BBE411CE5951}"/>
                    </a:ext>
                  </a:extLst>
                </p:cNvPr>
                <p:cNvSpPr txBox="1"/>
                <p:nvPr/>
              </p:nvSpPr>
              <p:spPr>
                <a:xfrm>
                  <a:off x="3628760" y="5908662"/>
                  <a:ext cx="3155344" cy="3533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Years after intervention</a:t>
                  </a:r>
                </a:p>
              </p:txBody>
            </p:sp>
            <p:sp>
              <p:nvSpPr>
                <p:cNvPr id="140" name="TextBox 139">
                  <a:extLst>
                    <a:ext uri="{FF2B5EF4-FFF2-40B4-BE49-F238E27FC236}">
                      <a16:creationId xmlns:a16="http://schemas.microsoft.com/office/drawing/2014/main" id="{AED47C07-D253-86BA-B18D-74C531A5B0B7}"/>
                    </a:ext>
                  </a:extLst>
                </p:cNvPr>
                <p:cNvSpPr txBox="1"/>
                <p:nvPr/>
              </p:nvSpPr>
              <p:spPr>
                <a:xfrm rot="16200000">
                  <a:off x="-912299" y="3245291"/>
                  <a:ext cx="3155345" cy="3674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Mean weight change (%)</a:t>
                  </a:r>
                </a:p>
              </p:txBody>
            </p:sp>
            <p:sp>
              <p:nvSpPr>
                <p:cNvPr id="153" name="TextBox 152">
                  <a:extLst>
                    <a:ext uri="{FF2B5EF4-FFF2-40B4-BE49-F238E27FC236}">
                      <a16:creationId xmlns:a16="http://schemas.microsoft.com/office/drawing/2014/main" id="{62201C91-D4EA-98F0-6F93-9C57FE665B41}"/>
                    </a:ext>
                  </a:extLst>
                </p:cNvPr>
                <p:cNvSpPr txBox="1"/>
                <p:nvPr/>
              </p:nvSpPr>
              <p:spPr>
                <a:xfrm>
                  <a:off x="1118703" y="5456774"/>
                  <a:ext cx="1471594" cy="55684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re-</a:t>
                  </a:r>
                  <a:b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eatment</a:t>
                  </a:r>
                </a:p>
              </p:txBody>
            </p:sp>
            <p:sp>
              <p:nvSpPr>
                <p:cNvPr id="154" name="TextBox 153">
                  <a:extLst>
                    <a:ext uri="{FF2B5EF4-FFF2-40B4-BE49-F238E27FC236}">
                      <a16:creationId xmlns:a16="http://schemas.microsoft.com/office/drawing/2014/main" id="{660DA28B-421D-E423-1412-23D7A1C7C546}"/>
                    </a:ext>
                  </a:extLst>
                </p:cNvPr>
                <p:cNvSpPr txBox="1"/>
                <p:nvPr/>
              </p:nvSpPr>
              <p:spPr>
                <a:xfrm>
                  <a:off x="2085032" y="5456774"/>
                  <a:ext cx="1471594" cy="55684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ost-</a:t>
                  </a:r>
                  <a:b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eatment</a:t>
                  </a:r>
                </a:p>
              </p:txBody>
            </p:sp>
            <p:sp>
              <p:nvSpPr>
                <p:cNvPr id="155" name="TextBox 154">
                  <a:extLst>
                    <a:ext uri="{FF2B5EF4-FFF2-40B4-BE49-F238E27FC236}">
                      <a16:creationId xmlns:a16="http://schemas.microsoft.com/office/drawing/2014/main" id="{66F6BD82-ECC5-4B79-E7EF-8C40EB3D3029}"/>
                    </a:ext>
                  </a:extLst>
                </p:cNvPr>
                <p:cNvSpPr txBox="1"/>
                <p:nvPr/>
              </p:nvSpPr>
              <p:spPr>
                <a:xfrm>
                  <a:off x="3586687" y="5474246"/>
                  <a:ext cx="771531" cy="3533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a:t>
                  </a:r>
                </a:p>
              </p:txBody>
            </p:sp>
            <p:sp>
              <p:nvSpPr>
                <p:cNvPr id="156" name="TextBox 155">
                  <a:extLst>
                    <a:ext uri="{FF2B5EF4-FFF2-40B4-BE49-F238E27FC236}">
                      <a16:creationId xmlns:a16="http://schemas.microsoft.com/office/drawing/2014/main" id="{BF58B7E2-730E-ED88-78CA-1EBD5FF378E3}"/>
                    </a:ext>
                  </a:extLst>
                </p:cNvPr>
                <p:cNvSpPr txBox="1"/>
                <p:nvPr/>
              </p:nvSpPr>
              <p:spPr>
                <a:xfrm>
                  <a:off x="4736049" y="5474246"/>
                  <a:ext cx="771531" cy="3533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a:t>
                  </a:r>
                </a:p>
              </p:txBody>
            </p:sp>
            <p:sp>
              <p:nvSpPr>
                <p:cNvPr id="157" name="TextBox 156">
                  <a:extLst>
                    <a:ext uri="{FF2B5EF4-FFF2-40B4-BE49-F238E27FC236}">
                      <a16:creationId xmlns:a16="http://schemas.microsoft.com/office/drawing/2014/main" id="{C25D7AF1-F475-F5CB-7D4D-8A0AFFDC788E}"/>
                    </a:ext>
                  </a:extLst>
                </p:cNvPr>
                <p:cNvSpPr txBox="1"/>
                <p:nvPr/>
              </p:nvSpPr>
              <p:spPr>
                <a:xfrm>
                  <a:off x="5885412" y="5474246"/>
                  <a:ext cx="771531" cy="3533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a:t>
                  </a:r>
                </a:p>
              </p:txBody>
            </p:sp>
            <p:sp>
              <p:nvSpPr>
                <p:cNvPr id="158" name="TextBox 157">
                  <a:extLst>
                    <a:ext uri="{FF2B5EF4-FFF2-40B4-BE49-F238E27FC236}">
                      <a16:creationId xmlns:a16="http://schemas.microsoft.com/office/drawing/2014/main" id="{5BEA84F7-07C2-6FA1-D4CA-18CF8B7D7F37}"/>
                    </a:ext>
                  </a:extLst>
                </p:cNvPr>
                <p:cNvSpPr txBox="1"/>
                <p:nvPr/>
              </p:nvSpPr>
              <p:spPr>
                <a:xfrm>
                  <a:off x="7034774" y="5474246"/>
                  <a:ext cx="771531" cy="3533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a:t>
                  </a:r>
                </a:p>
              </p:txBody>
            </p:sp>
            <p:sp>
              <p:nvSpPr>
                <p:cNvPr id="159" name="TextBox 158">
                  <a:extLst>
                    <a:ext uri="{FF2B5EF4-FFF2-40B4-BE49-F238E27FC236}">
                      <a16:creationId xmlns:a16="http://schemas.microsoft.com/office/drawing/2014/main" id="{3067B9B1-BE3F-CF57-3D74-2DDD0B8A8ADC}"/>
                    </a:ext>
                  </a:extLst>
                </p:cNvPr>
                <p:cNvSpPr txBox="1"/>
                <p:nvPr/>
              </p:nvSpPr>
              <p:spPr>
                <a:xfrm>
                  <a:off x="8184140" y="5474246"/>
                  <a:ext cx="771531" cy="3533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a:t>
                  </a:r>
                </a:p>
              </p:txBody>
            </p:sp>
            <p:sp>
              <p:nvSpPr>
                <p:cNvPr id="160" name="TextBox 159">
                  <a:extLst>
                    <a:ext uri="{FF2B5EF4-FFF2-40B4-BE49-F238E27FC236}">
                      <a16:creationId xmlns:a16="http://schemas.microsoft.com/office/drawing/2014/main" id="{167A7D7A-37CE-88DF-4A4E-CB67FDFC1A95}"/>
                    </a:ext>
                  </a:extLst>
                </p:cNvPr>
                <p:cNvSpPr txBox="1"/>
                <p:nvPr/>
              </p:nvSpPr>
              <p:spPr>
                <a:xfrm>
                  <a:off x="632178" y="4579155"/>
                  <a:ext cx="771531" cy="35338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0</a:t>
                  </a:r>
                </a:p>
              </p:txBody>
            </p:sp>
            <p:sp>
              <p:nvSpPr>
                <p:cNvPr id="161" name="TextBox 160">
                  <a:extLst>
                    <a:ext uri="{FF2B5EF4-FFF2-40B4-BE49-F238E27FC236}">
                      <a16:creationId xmlns:a16="http://schemas.microsoft.com/office/drawing/2014/main" id="{B0BDF6BD-B4A6-983C-EEAD-D21715BB27DA}"/>
                    </a:ext>
                  </a:extLst>
                </p:cNvPr>
                <p:cNvSpPr txBox="1"/>
                <p:nvPr/>
              </p:nvSpPr>
              <p:spPr>
                <a:xfrm>
                  <a:off x="632178" y="3607605"/>
                  <a:ext cx="771531" cy="35338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0</a:t>
                  </a:r>
                </a:p>
              </p:txBody>
            </p:sp>
            <p:sp>
              <p:nvSpPr>
                <p:cNvPr id="162" name="TextBox 161">
                  <a:extLst>
                    <a:ext uri="{FF2B5EF4-FFF2-40B4-BE49-F238E27FC236}">
                      <a16:creationId xmlns:a16="http://schemas.microsoft.com/office/drawing/2014/main" id="{AB74AD45-400F-10E3-EB99-586C2F1C9646}"/>
                    </a:ext>
                  </a:extLst>
                </p:cNvPr>
                <p:cNvSpPr txBox="1"/>
                <p:nvPr/>
              </p:nvSpPr>
              <p:spPr>
                <a:xfrm>
                  <a:off x="632178" y="2636056"/>
                  <a:ext cx="771531" cy="35338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0</a:t>
                  </a:r>
                </a:p>
              </p:txBody>
            </p:sp>
            <p:sp>
              <p:nvSpPr>
                <p:cNvPr id="163" name="TextBox 162">
                  <a:extLst>
                    <a:ext uri="{FF2B5EF4-FFF2-40B4-BE49-F238E27FC236}">
                      <a16:creationId xmlns:a16="http://schemas.microsoft.com/office/drawing/2014/main" id="{DBB59228-2ABE-3DAB-F1E7-22A4B8BC59A6}"/>
                    </a:ext>
                  </a:extLst>
                </p:cNvPr>
                <p:cNvSpPr txBox="1"/>
                <p:nvPr/>
              </p:nvSpPr>
              <p:spPr>
                <a:xfrm>
                  <a:off x="632178" y="1664503"/>
                  <a:ext cx="771531" cy="35338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10</a:t>
                  </a:r>
                </a:p>
              </p:txBody>
            </p:sp>
          </p:grpSp>
          <p:grpSp>
            <p:nvGrpSpPr>
              <p:cNvPr id="7" name="Group 6">
                <a:extLst>
                  <a:ext uri="{FF2B5EF4-FFF2-40B4-BE49-F238E27FC236}">
                    <a16:creationId xmlns:a16="http://schemas.microsoft.com/office/drawing/2014/main" id="{4D609ACD-2EDE-CB0C-E070-6F098CE7E748}"/>
                  </a:ext>
                </a:extLst>
              </p:cNvPr>
              <p:cNvGrpSpPr/>
              <p:nvPr/>
            </p:nvGrpSpPr>
            <p:grpSpPr>
              <a:xfrm>
                <a:off x="691587" y="5331143"/>
                <a:ext cx="7105001" cy="790654"/>
                <a:chOff x="595337" y="5331143"/>
                <a:chExt cx="7105001" cy="790654"/>
              </a:xfrm>
            </p:grpSpPr>
            <p:grpSp>
              <p:nvGrpSpPr>
                <p:cNvPr id="6" name="Group 5">
                  <a:extLst>
                    <a:ext uri="{FF2B5EF4-FFF2-40B4-BE49-F238E27FC236}">
                      <a16:creationId xmlns:a16="http://schemas.microsoft.com/office/drawing/2014/main" id="{B2B0160B-144E-14AA-7BAB-4BCFC0362A3B}"/>
                    </a:ext>
                  </a:extLst>
                </p:cNvPr>
                <p:cNvGrpSpPr/>
                <p:nvPr/>
              </p:nvGrpSpPr>
              <p:grpSpPr>
                <a:xfrm>
                  <a:off x="595337" y="5331143"/>
                  <a:ext cx="2558850" cy="251595"/>
                  <a:chOff x="1211428" y="4956249"/>
                  <a:chExt cx="2558850" cy="251595"/>
                </a:xfrm>
              </p:grpSpPr>
              <p:sp>
                <p:nvSpPr>
                  <p:cNvPr id="165" name="Oval 164">
                    <a:extLst>
                      <a:ext uri="{FF2B5EF4-FFF2-40B4-BE49-F238E27FC236}">
                        <a16:creationId xmlns:a16="http://schemas.microsoft.com/office/drawing/2014/main" id="{C7104A37-93C0-D93B-E211-12E67B52BE33}"/>
                      </a:ext>
                    </a:extLst>
                  </p:cNvPr>
                  <p:cNvSpPr/>
                  <p:nvPr/>
                </p:nvSpPr>
                <p:spPr>
                  <a:xfrm>
                    <a:off x="1211428" y="5009548"/>
                    <a:ext cx="144997" cy="144997"/>
                  </a:xfrm>
                  <a:prstGeom prst="ellipse">
                    <a:avLst/>
                  </a:prstGeom>
                  <a:solidFill>
                    <a:srgbClr val="99B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3" name="TextBox 172">
                    <a:extLst>
                      <a:ext uri="{FF2B5EF4-FFF2-40B4-BE49-F238E27FC236}">
                        <a16:creationId xmlns:a16="http://schemas.microsoft.com/office/drawing/2014/main" id="{13CE3E00-8C7E-124D-21A1-430E3610ADDD}"/>
                      </a:ext>
                    </a:extLst>
                  </p:cNvPr>
                  <p:cNvSpPr txBox="1"/>
                  <p:nvPr/>
                </p:nvSpPr>
                <p:spPr>
                  <a:xfrm>
                    <a:off x="1484964" y="4956249"/>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talonas</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1984)</a:t>
                    </a:r>
                  </a:p>
                </p:txBody>
              </p:sp>
            </p:grpSp>
            <p:grpSp>
              <p:nvGrpSpPr>
                <p:cNvPr id="9" name="Group 8">
                  <a:extLst>
                    <a:ext uri="{FF2B5EF4-FFF2-40B4-BE49-F238E27FC236}">
                      <a16:creationId xmlns:a16="http://schemas.microsoft.com/office/drawing/2014/main" id="{FA401BAB-2EDD-F7FB-BECA-940091574084}"/>
                    </a:ext>
                  </a:extLst>
                </p:cNvPr>
                <p:cNvGrpSpPr/>
                <p:nvPr/>
              </p:nvGrpSpPr>
              <p:grpSpPr>
                <a:xfrm>
                  <a:off x="595337" y="5596929"/>
                  <a:ext cx="2557406" cy="251595"/>
                  <a:chOff x="1212872" y="5253711"/>
                  <a:chExt cx="2557406" cy="251595"/>
                </a:xfrm>
              </p:grpSpPr>
              <p:sp>
                <p:nvSpPr>
                  <p:cNvPr id="166" name="Oval 165">
                    <a:extLst>
                      <a:ext uri="{FF2B5EF4-FFF2-40B4-BE49-F238E27FC236}">
                        <a16:creationId xmlns:a16="http://schemas.microsoft.com/office/drawing/2014/main" id="{F24AE27E-15DA-5517-5846-423DF68EF480}"/>
                      </a:ext>
                    </a:extLst>
                  </p:cNvPr>
                  <p:cNvSpPr/>
                  <p:nvPr/>
                </p:nvSpPr>
                <p:spPr>
                  <a:xfrm>
                    <a:off x="1212872" y="5307010"/>
                    <a:ext cx="144997" cy="144997"/>
                  </a:xfrm>
                  <a:prstGeom prst="ellipse">
                    <a:avLst/>
                  </a:prstGeom>
                  <a:solidFill>
                    <a:srgbClr val="AAD3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4" name="TextBox 173">
                    <a:extLst>
                      <a:ext uri="{FF2B5EF4-FFF2-40B4-BE49-F238E27FC236}">
                        <a16:creationId xmlns:a16="http://schemas.microsoft.com/office/drawing/2014/main" id="{634D845E-7D07-A59D-9C01-71C1F7602FA9}"/>
                      </a:ext>
                    </a:extLst>
                  </p:cNvPr>
                  <p:cNvSpPr txBox="1"/>
                  <p:nvPr/>
                </p:nvSpPr>
                <p:spPr>
                  <a:xfrm>
                    <a:off x="1484964" y="5253711"/>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chwarzfuchs</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2012)</a:t>
                    </a:r>
                  </a:p>
                </p:txBody>
              </p:sp>
            </p:grpSp>
            <p:grpSp>
              <p:nvGrpSpPr>
                <p:cNvPr id="10" name="Group 9">
                  <a:extLst>
                    <a:ext uri="{FF2B5EF4-FFF2-40B4-BE49-F238E27FC236}">
                      <a16:creationId xmlns:a16="http://schemas.microsoft.com/office/drawing/2014/main" id="{793F91D4-4A47-D3F3-29B8-352F8CC78B70}"/>
                    </a:ext>
                  </a:extLst>
                </p:cNvPr>
                <p:cNvGrpSpPr/>
                <p:nvPr/>
              </p:nvGrpSpPr>
              <p:grpSpPr>
                <a:xfrm>
                  <a:off x="595337" y="5870202"/>
                  <a:ext cx="3104741" cy="251595"/>
                  <a:chOff x="1211428" y="5551174"/>
                  <a:chExt cx="3104741" cy="251595"/>
                </a:xfrm>
              </p:grpSpPr>
              <p:sp>
                <p:nvSpPr>
                  <p:cNvPr id="167" name="Oval 166">
                    <a:extLst>
                      <a:ext uri="{FF2B5EF4-FFF2-40B4-BE49-F238E27FC236}">
                        <a16:creationId xmlns:a16="http://schemas.microsoft.com/office/drawing/2014/main" id="{83F3774F-24F7-7C5B-0396-4A34F1F3CDAE}"/>
                      </a:ext>
                    </a:extLst>
                  </p:cNvPr>
                  <p:cNvSpPr/>
                  <p:nvPr/>
                </p:nvSpPr>
                <p:spPr>
                  <a:xfrm>
                    <a:off x="1211428" y="5604473"/>
                    <a:ext cx="144997" cy="144997"/>
                  </a:xfrm>
                  <a:prstGeom prst="ellipse">
                    <a:avLst/>
                  </a:prstGeom>
                  <a:solidFill>
                    <a:srgbClr val="EEA7B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5" name="TextBox 174">
                    <a:extLst>
                      <a:ext uri="{FF2B5EF4-FFF2-40B4-BE49-F238E27FC236}">
                        <a16:creationId xmlns:a16="http://schemas.microsoft.com/office/drawing/2014/main" id="{8276AE60-C909-1215-1D29-05B36CC7CD38}"/>
                      </a:ext>
                    </a:extLst>
                  </p:cNvPr>
                  <p:cNvSpPr txBox="1"/>
                  <p:nvPr/>
                </p:nvSpPr>
                <p:spPr>
                  <a:xfrm>
                    <a:off x="1484964" y="5551174"/>
                    <a:ext cx="2831205"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lszanecka-Glinianowicz</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2012)</a:t>
                    </a:r>
                  </a:p>
                </p:txBody>
              </p:sp>
            </p:grpSp>
            <p:grpSp>
              <p:nvGrpSpPr>
                <p:cNvPr id="11" name="Group 10">
                  <a:extLst>
                    <a:ext uri="{FF2B5EF4-FFF2-40B4-BE49-F238E27FC236}">
                      <a16:creationId xmlns:a16="http://schemas.microsoft.com/office/drawing/2014/main" id="{A1906C4A-AE5A-4706-FE6A-4902CB2BB4B4}"/>
                    </a:ext>
                  </a:extLst>
                </p:cNvPr>
                <p:cNvGrpSpPr/>
                <p:nvPr/>
              </p:nvGrpSpPr>
              <p:grpSpPr>
                <a:xfrm>
                  <a:off x="3152743" y="5331143"/>
                  <a:ext cx="2564109" cy="251595"/>
                  <a:chOff x="1206169" y="5849856"/>
                  <a:chExt cx="2564109" cy="251595"/>
                </a:xfrm>
              </p:grpSpPr>
              <p:sp>
                <p:nvSpPr>
                  <p:cNvPr id="168" name="Oval 167">
                    <a:extLst>
                      <a:ext uri="{FF2B5EF4-FFF2-40B4-BE49-F238E27FC236}">
                        <a16:creationId xmlns:a16="http://schemas.microsoft.com/office/drawing/2014/main" id="{CE1C8726-30B8-EDA6-98AA-E01FD34FDF80}"/>
                      </a:ext>
                    </a:extLst>
                  </p:cNvPr>
                  <p:cNvSpPr/>
                  <p:nvPr/>
                </p:nvSpPr>
                <p:spPr>
                  <a:xfrm>
                    <a:off x="1206169" y="5903155"/>
                    <a:ext cx="144997" cy="144997"/>
                  </a:xfrm>
                  <a:prstGeom prst="ellipse">
                    <a:avLst/>
                  </a:prstGeom>
                  <a:solidFill>
                    <a:srgbClr val="93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6" name="TextBox 175">
                    <a:extLst>
                      <a:ext uri="{FF2B5EF4-FFF2-40B4-BE49-F238E27FC236}">
                        <a16:creationId xmlns:a16="http://schemas.microsoft.com/office/drawing/2014/main" id="{F6F8FDC8-5A43-8DA1-6576-6A33AF79FDF0}"/>
                      </a:ext>
                    </a:extLst>
                  </p:cNvPr>
                  <p:cNvSpPr txBox="1"/>
                  <p:nvPr/>
                </p:nvSpPr>
                <p:spPr>
                  <a:xfrm>
                    <a:off x="1484964" y="5849856"/>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Vogels</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2005)</a:t>
                    </a:r>
                  </a:p>
                </p:txBody>
              </p:sp>
            </p:grpSp>
            <p:grpSp>
              <p:nvGrpSpPr>
                <p:cNvPr id="12" name="Group 11">
                  <a:extLst>
                    <a:ext uri="{FF2B5EF4-FFF2-40B4-BE49-F238E27FC236}">
                      <a16:creationId xmlns:a16="http://schemas.microsoft.com/office/drawing/2014/main" id="{6B55763F-3B89-0E58-AF99-7232860B6854}"/>
                    </a:ext>
                  </a:extLst>
                </p:cNvPr>
                <p:cNvGrpSpPr/>
                <p:nvPr/>
              </p:nvGrpSpPr>
              <p:grpSpPr>
                <a:xfrm>
                  <a:off x="3150623" y="5596929"/>
                  <a:ext cx="2564109" cy="251595"/>
                  <a:chOff x="4225980" y="4953012"/>
                  <a:chExt cx="2564109" cy="251595"/>
                </a:xfrm>
              </p:grpSpPr>
              <p:sp>
                <p:nvSpPr>
                  <p:cNvPr id="169" name="Oval 168">
                    <a:extLst>
                      <a:ext uri="{FF2B5EF4-FFF2-40B4-BE49-F238E27FC236}">
                        <a16:creationId xmlns:a16="http://schemas.microsoft.com/office/drawing/2014/main" id="{AB24EC28-7D73-22E1-7E6B-8A7CAB9ECB07}"/>
                      </a:ext>
                    </a:extLst>
                  </p:cNvPr>
                  <p:cNvSpPr/>
                  <p:nvPr/>
                </p:nvSpPr>
                <p:spPr>
                  <a:xfrm>
                    <a:off x="4225980" y="5006311"/>
                    <a:ext cx="144997" cy="144997"/>
                  </a:xfrm>
                  <a:prstGeom prst="ellipse">
                    <a:avLst/>
                  </a:prstGeom>
                  <a:solidFill>
                    <a:srgbClr val="E6553F">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7" name="TextBox 176">
                    <a:extLst>
                      <a:ext uri="{FF2B5EF4-FFF2-40B4-BE49-F238E27FC236}">
                        <a16:creationId xmlns:a16="http://schemas.microsoft.com/office/drawing/2014/main" id="{3B3AC49D-3282-5C73-28F0-7E991E542102}"/>
                      </a:ext>
                    </a:extLst>
                  </p:cNvPr>
                  <p:cNvSpPr txBox="1"/>
                  <p:nvPr/>
                </p:nvSpPr>
                <p:spPr>
                  <a:xfrm>
                    <a:off x="4504775" y="4953012"/>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Cooper (2010)</a:t>
                    </a:r>
                  </a:p>
                </p:txBody>
              </p:sp>
            </p:grpSp>
            <p:grpSp>
              <p:nvGrpSpPr>
                <p:cNvPr id="8" name="Group 7">
                  <a:extLst>
                    <a:ext uri="{FF2B5EF4-FFF2-40B4-BE49-F238E27FC236}">
                      <a16:creationId xmlns:a16="http://schemas.microsoft.com/office/drawing/2014/main" id="{4DC15303-605F-3186-A14E-641A85EA426E}"/>
                    </a:ext>
                  </a:extLst>
                </p:cNvPr>
                <p:cNvGrpSpPr/>
                <p:nvPr/>
              </p:nvGrpSpPr>
              <p:grpSpPr>
                <a:xfrm>
                  <a:off x="3150623" y="5870202"/>
                  <a:ext cx="2564109" cy="251595"/>
                  <a:chOff x="4225980" y="5251717"/>
                  <a:chExt cx="2564109" cy="251595"/>
                </a:xfrm>
              </p:grpSpPr>
              <p:sp>
                <p:nvSpPr>
                  <p:cNvPr id="170" name="Oval 169">
                    <a:extLst>
                      <a:ext uri="{FF2B5EF4-FFF2-40B4-BE49-F238E27FC236}">
                        <a16:creationId xmlns:a16="http://schemas.microsoft.com/office/drawing/2014/main" id="{4318BD2C-F327-B10E-DC9B-5007AEE7D6D2}"/>
                      </a:ext>
                    </a:extLst>
                  </p:cNvPr>
                  <p:cNvSpPr/>
                  <p:nvPr/>
                </p:nvSpPr>
                <p:spPr>
                  <a:xfrm>
                    <a:off x="4225980" y="5305016"/>
                    <a:ext cx="144997" cy="144997"/>
                  </a:xfrm>
                  <a:prstGeom prst="ellipse">
                    <a:avLst/>
                  </a:prstGeom>
                  <a:solidFill>
                    <a:srgbClr val="72B5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8" name="TextBox 177">
                    <a:extLst>
                      <a:ext uri="{FF2B5EF4-FFF2-40B4-BE49-F238E27FC236}">
                        <a16:creationId xmlns:a16="http://schemas.microsoft.com/office/drawing/2014/main" id="{DE68A113-F1EB-B8C1-6C80-10C641CA7065}"/>
                      </a:ext>
                    </a:extLst>
                  </p:cNvPr>
                  <p:cNvSpPr txBox="1"/>
                  <p:nvPr/>
                </p:nvSpPr>
                <p:spPr>
                  <a:xfrm>
                    <a:off x="4504775" y="5251717"/>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ekkarinen</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1997)</a:t>
                    </a:r>
                  </a:p>
                </p:txBody>
              </p:sp>
            </p:grpSp>
            <p:grpSp>
              <p:nvGrpSpPr>
                <p:cNvPr id="13" name="Group 12">
                  <a:extLst>
                    <a:ext uri="{FF2B5EF4-FFF2-40B4-BE49-F238E27FC236}">
                      <a16:creationId xmlns:a16="http://schemas.microsoft.com/office/drawing/2014/main" id="{EFB5CED7-3B19-1219-57D0-EEF9F89F1A6D}"/>
                    </a:ext>
                  </a:extLst>
                </p:cNvPr>
                <p:cNvGrpSpPr/>
                <p:nvPr/>
              </p:nvGrpSpPr>
              <p:grpSpPr>
                <a:xfrm>
                  <a:off x="5136229" y="5331143"/>
                  <a:ext cx="2564109" cy="251595"/>
                  <a:chOff x="4225980" y="5550424"/>
                  <a:chExt cx="2564109" cy="251595"/>
                </a:xfrm>
              </p:grpSpPr>
              <p:sp>
                <p:nvSpPr>
                  <p:cNvPr id="171" name="Oval 170">
                    <a:extLst>
                      <a:ext uri="{FF2B5EF4-FFF2-40B4-BE49-F238E27FC236}">
                        <a16:creationId xmlns:a16="http://schemas.microsoft.com/office/drawing/2014/main" id="{D7960459-73F3-98C9-D795-EB7B348FAD8B}"/>
                      </a:ext>
                    </a:extLst>
                  </p:cNvPr>
                  <p:cNvSpPr/>
                  <p:nvPr/>
                </p:nvSpPr>
                <p:spPr>
                  <a:xfrm>
                    <a:off x="4225980" y="5603723"/>
                    <a:ext cx="144997" cy="144997"/>
                  </a:xfrm>
                  <a:prstGeom prst="ellipse">
                    <a:avLst/>
                  </a:prstGeom>
                  <a:solidFill>
                    <a:srgbClr val="3F9C35">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9" name="TextBox 178">
                    <a:extLst>
                      <a:ext uri="{FF2B5EF4-FFF2-40B4-BE49-F238E27FC236}">
                        <a16:creationId xmlns:a16="http://schemas.microsoft.com/office/drawing/2014/main" id="{C1C82CC8-FFE8-389A-5795-6EBC8CBE32A3}"/>
                      </a:ext>
                    </a:extLst>
                  </p:cNvPr>
                  <p:cNvSpPr txBox="1"/>
                  <p:nvPr/>
                </p:nvSpPr>
                <p:spPr>
                  <a:xfrm>
                    <a:off x="4504775" y="5550424"/>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adden</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1989)</a:t>
                    </a:r>
                  </a:p>
                </p:txBody>
              </p:sp>
            </p:grpSp>
            <p:grpSp>
              <p:nvGrpSpPr>
                <p:cNvPr id="14" name="Group 13">
                  <a:extLst>
                    <a:ext uri="{FF2B5EF4-FFF2-40B4-BE49-F238E27FC236}">
                      <a16:creationId xmlns:a16="http://schemas.microsoft.com/office/drawing/2014/main" id="{D5ACC126-98B6-D16F-5C4B-A38F7A683CDA}"/>
                    </a:ext>
                  </a:extLst>
                </p:cNvPr>
                <p:cNvGrpSpPr/>
                <p:nvPr/>
              </p:nvGrpSpPr>
              <p:grpSpPr>
                <a:xfrm>
                  <a:off x="5136229" y="5596929"/>
                  <a:ext cx="2564109" cy="251595"/>
                  <a:chOff x="4225980" y="5849127"/>
                  <a:chExt cx="2564109" cy="251595"/>
                </a:xfrm>
              </p:grpSpPr>
              <p:sp>
                <p:nvSpPr>
                  <p:cNvPr id="172" name="Oval 171">
                    <a:extLst>
                      <a:ext uri="{FF2B5EF4-FFF2-40B4-BE49-F238E27FC236}">
                        <a16:creationId xmlns:a16="http://schemas.microsoft.com/office/drawing/2014/main" id="{D836A822-2023-7004-3B26-3E3BFF6CD363}"/>
                      </a:ext>
                    </a:extLst>
                  </p:cNvPr>
                  <p:cNvSpPr/>
                  <p:nvPr/>
                </p:nvSpPr>
                <p:spPr>
                  <a:xfrm>
                    <a:off x="4225980" y="5902426"/>
                    <a:ext cx="144997" cy="144997"/>
                  </a:xfrm>
                  <a:prstGeom prst="ellipse">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80" name="TextBox 179">
                    <a:extLst>
                      <a:ext uri="{FF2B5EF4-FFF2-40B4-BE49-F238E27FC236}">
                        <a16:creationId xmlns:a16="http://schemas.microsoft.com/office/drawing/2014/main" id="{46C8A8F6-4B29-6D88-9678-7E8742905BA6}"/>
                      </a:ext>
                    </a:extLst>
                  </p:cNvPr>
                  <p:cNvSpPr txBox="1"/>
                  <p:nvPr/>
                </p:nvSpPr>
                <p:spPr>
                  <a:xfrm>
                    <a:off x="4504775" y="5849127"/>
                    <a:ext cx="2285314" cy="2515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Hensrud</a:t>
                    </a:r>
                    <a:r>
                      <a:rPr kumimoji="0" lang="en-CA"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1994)</a:t>
                    </a:r>
                  </a:p>
                </p:txBody>
              </p:sp>
            </p:grpSp>
          </p:grpSp>
        </p:grpSp>
        <p:sp>
          <p:nvSpPr>
            <p:cNvPr id="125" name="TextBox 124">
              <a:extLst>
                <a:ext uri="{FF2B5EF4-FFF2-40B4-BE49-F238E27FC236}">
                  <a16:creationId xmlns:a16="http://schemas.microsoft.com/office/drawing/2014/main" id="{E64D3BC7-9086-34EF-BEE5-90EEEDB8AEF7}"/>
                </a:ext>
              </a:extLst>
            </p:cNvPr>
            <p:cNvSpPr txBox="1"/>
            <p:nvPr/>
          </p:nvSpPr>
          <p:spPr>
            <a:xfrm>
              <a:off x="2913281" y="1564283"/>
              <a:ext cx="2426946" cy="240259"/>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Maintenance of weight loss</a:t>
              </a:r>
              <a:r>
                <a:rPr kumimoji="0" lang="en-CA" sz="14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r>
                <a:rPr kumimoji="0" lang="en-CA" sz="14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 </a:t>
              </a:r>
              <a:endParaRPr kumimoji="0" lang="en-GB" sz="14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grpSp>
      <p:sp>
        <p:nvSpPr>
          <p:cNvPr id="32" name="Rectangle 31">
            <a:extLst>
              <a:ext uri="{FF2B5EF4-FFF2-40B4-BE49-F238E27FC236}">
                <a16:creationId xmlns:a16="http://schemas.microsoft.com/office/drawing/2014/main" id="{C1345AF0-7CFD-4B49-BD49-279D75661D5D}"/>
              </a:ext>
            </a:extLst>
          </p:cNvPr>
          <p:cNvSpPr/>
          <p:nvPr/>
        </p:nvSpPr>
        <p:spPr>
          <a:xfrm>
            <a:off x="6347011" y="1725421"/>
            <a:ext cx="5778394" cy="398511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35" name="TextBox 34">
            <a:extLst>
              <a:ext uri="{FF2B5EF4-FFF2-40B4-BE49-F238E27FC236}">
                <a16:creationId xmlns:a16="http://schemas.microsoft.com/office/drawing/2014/main" id="{34843B40-D227-4C10-8D75-95E69241CE5E}"/>
              </a:ext>
            </a:extLst>
          </p:cNvPr>
          <p:cNvSpPr txBox="1"/>
          <p:nvPr/>
        </p:nvSpPr>
        <p:spPr>
          <a:xfrm>
            <a:off x="6400672" y="5225948"/>
            <a:ext cx="2160439" cy="369332"/>
          </a:xfrm>
          <a:prstGeom prst="rect">
            <a:avLst/>
          </a:prstGeom>
          <a:noFill/>
        </p:spPr>
        <p:txBody>
          <a:bodyPr wrap="square" lIns="0" tIns="0" rIns="0" bIns="0" rtlCol="0" anchor="ctr">
            <a:spAutoFit/>
          </a:bodyPr>
          <a:lstStyle>
            <a:defPPr>
              <a:defRPr lang="en-US"/>
            </a:defPPr>
            <a:lvl1pPr algn="ctr">
              <a:defRPr sz="200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965"/>
                </a:solidFill>
                <a:effectLst/>
                <a:uLnTx/>
                <a:uFillTx/>
                <a:latin typeface="Apis For Office"/>
                <a:ea typeface="+mn-ea"/>
                <a:cs typeface="+mn-cs"/>
              </a:rPr>
              <a:t>% of patients that achieved </a:t>
            </a:r>
            <a:br>
              <a:rPr kumimoji="0" lang="en-US" sz="1200" b="0" i="0" u="none" strike="noStrike" kern="1200" cap="none" spc="0" normalizeH="0" baseline="0" noProof="0" dirty="0">
                <a:ln>
                  <a:noFill/>
                </a:ln>
                <a:solidFill>
                  <a:srgbClr val="001965"/>
                </a:solidFill>
                <a:effectLst/>
                <a:uLnTx/>
                <a:uFillTx/>
                <a:latin typeface="Apis For Office"/>
                <a:ea typeface="+mn-ea"/>
                <a:cs typeface="+mn-cs"/>
              </a:rPr>
            </a:br>
            <a:r>
              <a:rPr kumimoji="0" lang="en-US" sz="1200" b="0" i="0" u="none" strike="noStrike" kern="1200" cap="none" spc="0" normalizeH="0" baseline="0" noProof="0" dirty="0">
                <a:ln>
                  <a:noFill/>
                </a:ln>
                <a:solidFill>
                  <a:srgbClr val="001965"/>
                </a:solidFill>
                <a:effectLst/>
                <a:uLnTx/>
                <a:uFillTx/>
                <a:latin typeface="Apis For Office"/>
                <a:ea typeface="+mn-ea"/>
                <a:cs typeface="+mn-cs"/>
              </a:rPr>
              <a:t>&gt;5% weight loss</a:t>
            </a:r>
          </a:p>
        </p:txBody>
      </p:sp>
      <p:sp>
        <p:nvSpPr>
          <p:cNvPr id="36" name="Rectangle 35">
            <a:extLst>
              <a:ext uri="{FF2B5EF4-FFF2-40B4-BE49-F238E27FC236}">
                <a16:creationId xmlns:a16="http://schemas.microsoft.com/office/drawing/2014/main" id="{DBBFF64B-37F8-45E4-9C96-F0E3E5C47BDC}"/>
              </a:ext>
            </a:extLst>
          </p:cNvPr>
          <p:cNvSpPr/>
          <p:nvPr/>
        </p:nvSpPr>
        <p:spPr>
          <a:xfrm>
            <a:off x="6347011" y="1288847"/>
            <a:ext cx="5778394" cy="4595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is For Office"/>
                <a:ea typeface="+mn-ea"/>
                <a:cs typeface="+mn-cs"/>
              </a:rPr>
              <a:t>Patients with obesity</a:t>
            </a:r>
          </a:p>
        </p:txBody>
      </p:sp>
      <p:graphicFrame>
        <p:nvGraphicFramePr>
          <p:cNvPr id="40" name="Chart 39">
            <a:extLst>
              <a:ext uri="{FF2B5EF4-FFF2-40B4-BE49-F238E27FC236}">
                <a16:creationId xmlns:a16="http://schemas.microsoft.com/office/drawing/2014/main" id="{867BA4A0-868F-40D2-9FB9-D1EAA67DEF8E}"/>
              </a:ext>
            </a:extLst>
          </p:cNvPr>
          <p:cNvGraphicFramePr/>
          <p:nvPr/>
        </p:nvGraphicFramePr>
        <p:xfrm>
          <a:off x="6119871" y="1830645"/>
          <a:ext cx="2088805" cy="16642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 name="Chart 40">
            <a:extLst>
              <a:ext uri="{FF2B5EF4-FFF2-40B4-BE49-F238E27FC236}">
                <a16:creationId xmlns:a16="http://schemas.microsoft.com/office/drawing/2014/main" id="{0C0D6197-2029-47DA-9544-6DF899D96A12}"/>
              </a:ext>
            </a:extLst>
          </p:cNvPr>
          <p:cNvGraphicFramePr/>
          <p:nvPr/>
        </p:nvGraphicFramePr>
        <p:xfrm>
          <a:off x="6112645" y="3461908"/>
          <a:ext cx="2162421" cy="1664208"/>
        </p:xfrm>
        <a:graphic>
          <a:graphicData uri="http://schemas.openxmlformats.org/drawingml/2006/chart">
            <c:chart xmlns:c="http://schemas.openxmlformats.org/drawingml/2006/chart" xmlns:r="http://schemas.openxmlformats.org/officeDocument/2006/relationships" r:id="rId4"/>
          </a:graphicData>
        </a:graphic>
      </p:graphicFrame>
      <p:sp>
        <p:nvSpPr>
          <p:cNvPr id="42" name="Oval 41">
            <a:extLst>
              <a:ext uri="{FF2B5EF4-FFF2-40B4-BE49-F238E27FC236}">
                <a16:creationId xmlns:a16="http://schemas.microsoft.com/office/drawing/2014/main" id="{FDA6BA28-DAA1-49DB-A3BD-41D00C703319}"/>
              </a:ext>
            </a:extLst>
          </p:cNvPr>
          <p:cNvSpPr/>
          <p:nvPr/>
        </p:nvSpPr>
        <p:spPr>
          <a:xfrm>
            <a:off x="8049702" y="2571534"/>
            <a:ext cx="152400" cy="152400"/>
          </a:xfrm>
          <a:prstGeom prst="ellipse">
            <a:avLst/>
          </a:prstGeom>
          <a:solidFill>
            <a:srgbClr val="3B9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43" name="Oval 42">
            <a:extLst>
              <a:ext uri="{FF2B5EF4-FFF2-40B4-BE49-F238E27FC236}">
                <a16:creationId xmlns:a16="http://schemas.microsoft.com/office/drawing/2014/main" id="{DE2B2534-8E9F-47D4-AE99-E2194AEC6B45}"/>
              </a:ext>
            </a:extLst>
          </p:cNvPr>
          <p:cNvSpPr/>
          <p:nvPr/>
        </p:nvSpPr>
        <p:spPr>
          <a:xfrm>
            <a:off x="8049702" y="4217812"/>
            <a:ext cx="152400" cy="152400"/>
          </a:xfrm>
          <a:prstGeom prst="ellipse">
            <a:avLst/>
          </a:prstGeom>
          <a:solidFill>
            <a:srgbClr val="EEA7B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44" name="TextBox 43">
            <a:extLst>
              <a:ext uri="{FF2B5EF4-FFF2-40B4-BE49-F238E27FC236}">
                <a16:creationId xmlns:a16="http://schemas.microsoft.com/office/drawing/2014/main" id="{8AB1E1ED-C84D-481C-B6CA-EFF3E0FD83CA}"/>
              </a:ext>
            </a:extLst>
          </p:cNvPr>
          <p:cNvSpPr txBox="1"/>
          <p:nvPr/>
        </p:nvSpPr>
        <p:spPr>
          <a:xfrm>
            <a:off x="8350199" y="2527605"/>
            <a:ext cx="411972" cy="240259"/>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1965"/>
                </a:solidFill>
                <a:effectLst/>
                <a:uLnTx/>
                <a:uFillTx/>
                <a:latin typeface="Apis For Office"/>
                <a:ea typeface="+mn-ea"/>
                <a:cs typeface="+mn-cs"/>
              </a:rPr>
              <a:t>Male</a:t>
            </a:r>
          </a:p>
        </p:txBody>
      </p:sp>
      <p:sp>
        <p:nvSpPr>
          <p:cNvPr id="45" name="TextBox 44">
            <a:extLst>
              <a:ext uri="{FF2B5EF4-FFF2-40B4-BE49-F238E27FC236}">
                <a16:creationId xmlns:a16="http://schemas.microsoft.com/office/drawing/2014/main" id="{EA4A5DEC-8D4F-4997-BCCD-44CC05FA91FB}"/>
              </a:ext>
            </a:extLst>
          </p:cNvPr>
          <p:cNvSpPr txBox="1"/>
          <p:nvPr/>
        </p:nvSpPr>
        <p:spPr>
          <a:xfrm>
            <a:off x="8350199" y="4173883"/>
            <a:ext cx="610745" cy="240259"/>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1965"/>
                </a:solidFill>
                <a:effectLst/>
                <a:uLnTx/>
                <a:uFillTx/>
                <a:latin typeface="Apis For Office"/>
                <a:ea typeface="+mn-ea"/>
                <a:cs typeface="+mn-cs"/>
              </a:rPr>
              <a:t>Female</a:t>
            </a:r>
          </a:p>
        </p:txBody>
      </p:sp>
      <p:sp>
        <p:nvSpPr>
          <p:cNvPr id="46" name="TextBox 45">
            <a:extLst>
              <a:ext uri="{FF2B5EF4-FFF2-40B4-BE49-F238E27FC236}">
                <a16:creationId xmlns:a16="http://schemas.microsoft.com/office/drawing/2014/main" id="{8BA5390E-8C9D-420B-A982-51FC69D5A42A}"/>
              </a:ext>
            </a:extLst>
          </p:cNvPr>
          <p:cNvSpPr txBox="1"/>
          <p:nvPr/>
        </p:nvSpPr>
        <p:spPr>
          <a:xfrm>
            <a:off x="6860373" y="2476117"/>
            <a:ext cx="655629" cy="343235"/>
          </a:xfrm>
          <a:prstGeom prst="rect">
            <a:avLst/>
          </a:prstGeom>
          <a:noFill/>
        </p:spPr>
        <p:txBody>
          <a:bodyPr wrap="non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965"/>
                </a:solidFill>
                <a:effectLst/>
                <a:uLnTx/>
                <a:uFillTx/>
                <a:latin typeface="Apis For Office"/>
                <a:ea typeface="+mn-ea"/>
                <a:cs typeface="+mn-cs"/>
              </a:rPr>
              <a:t>~10%</a:t>
            </a:r>
          </a:p>
        </p:txBody>
      </p:sp>
      <p:sp>
        <p:nvSpPr>
          <p:cNvPr id="47" name="TextBox 46">
            <a:extLst>
              <a:ext uri="{FF2B5EF4-FFF2-40B4-BE49-F238E27FC236}">
                <a16:creationId xmlns:a16="http://schemas.microsoft.com/office/drawing/2014/main" id="{343CC9E6-DDC1-49DC-994F-4317CC7B4FE5}"/>
              </a:ext>
            </a:extLst>
          </p:cNvPr>
          <p:cNvSpPr txBox="1"/>
          <p:nvPr/>
        </p:nvSpPr>
        <p:spPr>
          <a:xfrm>
            <a:off x="6878782" y="4122395"/>
            <a:ext cx="655629" cy="343235"/>
          </a:xfrm>
          <a:prstGeom prst="rect">
            <a:avLst/>
          </a:prstGeom>
          <a:noFill/>
        </p:spPr>
        <p:txBody>
          <a:bodyPr wrap="non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965"/>
                </a:solidFill>
                <a:effectLst/>
                <a:uLnTx/>
                <a:uFillTx/>
                <a:latin typeface="Apis For Office"/>
                <a:ea typeface="+mn-ea"/>
                <a:cs typeface="+mn-cs"/>
              </a:rPr>
              <a:t>~10%</a:t>
            </a:r>
          </a:p>
        </p:txBody>
      </p:sp>
      <p:sp>
        <p:nvSpPr>
          <p:cNvPr id="48" name="TextBox 47">
            <a:extLst>
              <a:ext uri="{FF2B5EF4-FFF2-40B4-BE49-F238E27FC236}">
                <a16:creationId xmlns:a16="http://schemas.microsoft.com/office/drawing/2014/main" id="{B9EF2957-8105-4AAF-8428-FB8166438750}"/>
              </a:ext>
            </a:extLst>
          </p:cNvPr>
          <p:cNvSpPr txBox="1"/>
          <p:nvPr/>
        </p:nvSpPr>
        <p:spPr>
          <a:xfrm>
            <a:off x="9827250" y="2476117"/>
            <a:ext cx="508151" cy="343235"/>
          </a:xfrm>
          <a:prstGeom prst="rect">
            <a:avLst/>
          </a:prstGeom>
          <a:noFill/>
        </p:spPr>
        <p:txBody>
          <a:bodyPr wrap="non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965"/>
                </a:solidFill>
                <a:effectLst/>
                <a:uLnTx/>
                <a:uFillTx/>
                <a:latin typeface="Apis For Office"/>
                <a:ea typeface="+mn-ea"/>
                <a:cs typeface="+mn-cs"/>
              </a:rPr>
              <a:t>53%</a:t>
            </a:r>
          </a:p>
        </p:txBody>
      </p:sp>
      <p:sp>
        <p:nvSpPr>
          <p:cNvPr id="49" name="TextBox 48">
            <a:extLst>
              <a:ext uri="{FF2B5EF4-FFF2-40B4-BE49-F238E27FC236}">
                <a16:creationId xmlns:a16="http://schemas.microsoft.com/office/drawing/2014/main" id="{221FB511-73A0-4ECF-B75C-C403EF120707}"/>
              </a:ext>
            </a:extLst>
          </p:cNvPr>
          <p:cNvSpPr txBox="1"/>
          <p:nvPr/>
        </p:nvSpPr>
        <p:spPr>
          <a:xfrm>
            <a:off x="9827250" y="4122395"/>
            <a:ext cx="508151" cy="343235"/>
          </a:xfrm>
          <a:prstGeom prst="rect">
            <a:avLst/>
          </a:prstGeom>
          <a:noFill/>
        </p:spPr>
        <p:txBody>
          <a:bodyPr wrap="non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965"/>
                </a:solidFill>
                <a:effectLst/>
                <a:uLnTx/>
                <a:uFillTx/>
                <a:latin typeface="Apis For Office"/>
                <a:ea typeface="+mn-ea"/>
                <a:cs typeface="+mn-cs"/>
              </a:rPr>
              <a:t>78%</a:t>
            </a:r>
          </a:p>
        </p:txBody>
      </p:sp>
      <p:graphicFrame>
        <p:nvGraphicFramePr>
          <p:cNvPr id="50" name="Chart 49">
            <a:extLst>
              <a:ext uri="{FF2B5EF4-FFF2-40B4-BE49-F238E27FC236}">
                <a16:creationId xmlns:a16="http://schemas.microsoft.com/office/drawing/2014/main" id="{52B29FE3-A412-4891-A5F3-88BF37A0E770}"/>
              </a:ext>
            </a:extLst>
          </p:cNvPr>
          <p:cNvGraphicFramePr/>
          <p:nvPr/>
        </p:nvGraphicFramePr>
        <p:xfrm>
          <a:off x="9089176" y="1831865"/>
          <a:ext cx="1984299" cy="16642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1" name="Chart 50">
            <a:extLst>
              <a:ext uri="{FF2B5EF4-FFF2-40B4-BE49-F238E27FC236}">
                <a16:creationId xmlns:a16="http://schemas.microsoft.com/office/drawing/2014/main" id="{953992CD-73CB-4040-A065-7CF5C727BF11}"/>
              </a:ext>
            </a:extLst>
          </p:cNvPr>
          <p:cNvGraphicFramePr/>
          <p:nvPr/>
        </p:nvGraphicFramePr>
        <p:xfrm>
          <a:off x="9089176" y="3461908"/>
          <a:ext cx="1984299" cy="1664208"/>
        </p:xfrm>
        <a:graphic>
          <a:graphicData uri="http://schemas.openxmlformats.org/drawingml/2006/chart">
            <c:chart xmlns:c="http://schemas.openxmlformats.org/drawingml/2006/chart" xmlns:r="http://schemas.openxmlformats.org/officeDocument/2006/relationships" r:id="rId6"/>
          </a:graphicData>
        </a:graphic>
      </p:graphicFrame>
      <p:sp>
        <p:nvSpPr>
          <p:cNvPr id="52" name="TextBox 51">
            <a:extLst>
              <a:ext uri="{FF2B5EF4-FFF2-40B4-BE49-F238E27FC236}">
                <a16:creationId xmlns:a16="http://schemas.microsoft.com/office/drawing/2014/main" id="{31EC24D0-E6E3-4C4F-A850-9371AF0A9E14}"/>
              </a:ext>
            </a:extLst>
          </p:cNvPr>
          <p:cNvSpPr txBox="1"/>
          <p:nvPr/>
        </p:nvSpPr>
        <p:spPr>
          <a:xfrm>
            <a:off x="9065509" y="5187369"/>
            <a:ext cx="2262537" cy="369332"/>
          </a:xfrm>
          <a:prstGeom prst="rect">
            <a:avLst/>
          </a:prstGeom>
          <a:noFill/>
        </p:spPr>
        <p:txBody>
          <a:bodyPr wrap="square" lIns="0" tIns="0" rIns="0" bIns="0" rtlCol="0" anchor="ctr">
            <a:spAutoFit/>
          </a:bodyPr>
          <a:lstStyle>
            <a:defPPr>
              <a:defRPr lang="en-US"/>
            </a:defPPr>
            <a:lvl1pPr algn="ctr">
              <a:defRPr sz="200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965"/>
                </a:solidFill>
                <a:effectLst/>
                <a:uLnTx/>
                <a:uFillTx/>
                <a:latin typeface="Apis For Office"/>
                <a:ea typeface="+mn-ea"/>
                <a:cs typeface="+mn-cs"/>
              </a:rPr>
              <a:t>% of patients that regained weight at 2 or 5 years</a:t>
            </a:r>
          </a:p>
        </p:txBody>
      </p:sp>
      <p:sp>
        <p:nvSpPr>
          <p:cNvPr id="53" name="Oval 52">
            <a:extLst>
              <a:ext uri="{FF2B5EF4-FFF2-40B4-BE49-F238E27FC236}">
                <a16:creationId xmlns:a16="http://schemas.microsoft.com/office/drawing/2014/main" id="{7D29AD4C-8F86-4B28-A1F0-8EBA671B6A3F}"/>
              </a:ext>
            </a:extLst>
          </p:cNvPr>
          <p:cNvSpPr/>
          <p:nvPr/>
        </p:nvSpPr>
        <p:spPr>
          <a:xfrm>
            <a:off x="10908765" y="2571534"/>
            <a:ext cx="152400" cy="152400"/>
          </a:xfrm>
          <a:prstGeom prst="ellipse">
            <a:avLst/>
          </a:prstGeom>
          <a:solidFill>
            <a:srgbClr val="005AD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54" name="Oval 53">
            <a:extLst>
              <a:ext uri="{FF2B5EF4-FFF2-40B4-BE49-F238E27FC236}">
                <a16:creationId xmlns:a16="http://schemas.microsoft.com/office/drawing/2014/main" id="{6C710C37-F4BD-4AE4-BDC9-BA8408B82EB7}"/>
              </a:ext>
            </a:extLst>
          </p:cNvPr>
          <p:cNvSpPr/>
          <p:nvPr/>
        </p:nvSpPr>
        <p:spPr>
          <a:xfrm>
            <a:off x="10908765" y="4217812"/>
            <a:ext cx="152400" cy="152400"/>
          </a:xfrm>
          <a:prstGeom prst="ellipse">
            <a:avLst/>
          </a:prstGeom>
          <a:solidFill>
            <a:srgbClr val="DE528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55" name="TextBox 54">
            <a:extLst>
              <a:ext uri="{FF2B5EF4-FFF2-40B4-BE49-F238E27FC236}">
                <a16:creationId xmlns:a16="http://schemas.microsoft.com/office/drawing/2014/main" id="{55215E4A-A6B4-4DAE-8BF5-D5099D6D676D}"/>
              </a:ext>
            </a:extLst>
          </p:cNvPr>
          <p:cNvSpPr txBox="1"/>
          <p:nvPr/>
        </p:nvSpPr>
        <p:spPr>
          <a:xfrm>
            <a:off x="11118181" y="2527605"/>
            <a:ext cx="828753" cy="240259"/>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1965"/>
                </a:solidFill>
                <a:effectLst/>
                <a:uLnTx/>
                <a:uFillTx/>
                <a:latin typeface="Apis For Office"/>
                <a:ea typeface="+mn-ea"/>
                <a:cs typeface="+mn-cs"/>
              </a:rPr>
              <a:t>At 2 years</a:t>
            </a:r>
          </a:p>
        </p:txBody>
      </p:sp>
      <p:sp>
        <p:nvSpPr>
          <p:cNvPr id="56" name="TextBox 55">
            <a:extLst>
              <a:ext uri="{FF2B5EF4-FFF2-40B4-BE49-F238E27FC236}">
                <a16:creationId xmlns:a16="http://schemas.microsoft.com/office/drawing/2014/main" id="{1821203D-F738-4BC9-8D14-55560A910F4E}"/>
              </a:ext>
            </a:extLst>
          </p:cNvPr>
          <p:cNvSpPr txBox="1"/>
          <p:nvPr/>
        </p:nvSpPr>
        <p:spPr>
          <a:xfrm>
            <a:off x="11118181" y="4173883"/>
            <a:ext cx="828753" cy="240259"/>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1965"/>
                </a:solidFill>
                <a:effectLst/>
                <a:uLnTx/>
                <a:uFillTx/>
                <a:latin typeface="Apis For Office"/>
                <a:ea typeface="+mn-ea"/>
                <a:cs typeface="+mn-cs"/>
              </a:rPr>
              <a:t>At 5 years</a:t>
            </a:r>
          </a:p>
        </p:txBody>
      </p:sp>
    </p:spTree>
    <p:extLst>
      <p:ext uri="{BB962C8B-B14F-4D97-AF65-F5344CB8AC3E}">
        <p14:creationId xmlns:p14="http://schemas.microsoft.com/office/powerpoint/2010/main" val="4287418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B6D3AFC-63D9-4DEF-AC49-2FFC4F23CE3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US" sz="700" b="0" i="0" u="none" strike="noStrike" kern="1200" cap="none" spc="0" normalizeH="0" baseline="0" noProof="0" smtClean="0">
                <a:ln>
                  <a:noFill/>
                </a:ln>
                <a:solidFill>
                  <a:srgbClr val="001965"/>
                </a:solid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5" name="TextBox 4">
            <a:extLst>
              <a:ext uri="{FF2B5EF4-FFF2-40B4-BE49-F238E27FC236}">
                <a16:creationId xmlns:a16="http://schemas.microsoft.com/office/drawing/2014/main" id="{CD4F9AF9-3791-6188-717E-97387754FD7E}"/>
              </a:ext>
            </a:extLst>
          </p:cNvPr>
          <p:cNvSpPr txBox="1"/>
          <p:nvPr/>
        </p:nvSpPr>
        <p:spPr>
          <a:xfrm>
            <a:off x="1123071" y="449700"/>
            <a:ext cx="10593888" cy="1200329"/>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Weight loss following lifestyle interventions is not sustainable in the long-term</a:t>
            </a:r>
          </a:p>
        </p:txBody>
      </p:sp>
      <p:pic>
        <p:nvPicPr>
          <p:cNvPr id="6" name="Content Placeholder 6">
            <a:extLst>
              <a:ext uri="{FF2B5EF4-FFF2-40B4-BE49-F238E27FC236}">
                <a16:creationId xmlns:a16="http://schemas.microsoft.com/office/drawing/2014/main" id="{75004929-621D-E5F3-97C5-B7C2C8B39850}"/>
              </a:ext>
            </a:extLst>
          </p:cNvPr>
          <p:cNvPicPr>
            <a:picLocks noChangeAspect="1"/>
          </p:cNvPicPr>
          <p:nvPr/>
        </p:nvPicPr>
        <p:blipFill>
          <a:blip r:embed="rId4"/>
          <a:stretch>
            <a:fillRect/>
          </a:stretch>
        </p:blipFill>
        <p:spPr>
          <a:xfrm>
            <a:off x="647999" y="2079929"/>
            <a:ext cx="8071795" cy="2795249"/>
          </a:xfrm>
          <a:prstGeom prst="rect">
            <a:avLst/>
          </a:prstGeom>
        </p:spPr>
      </p:pic>
      <p:sp>
        <p:nvSpPr>
          <p:cNvPr id="10" name="Rectangular Callout 12">
            <a:extLst>
              <a:ext uri="{FF2B5EF4-FFF2-40B4-BE49-F238E27FC236}">
                <a16:creationId xmlns:a16="http://schemas.microsoft.com/office/drawing/2014/main" id="{DEE1F1D6-1B41-211B-6B8F-975750B452EE}"/>
              </a:ext>
            </a:extLst>
          </p:cNvPr>
          <p:cNvSpPr/>
          <p:nvPr/>
        </p:nvSpPr>
        <p:spPr>
          <a:xfrm>
            <a:off x="8931413" y="2106681"/>
            <a:ext cx="2612887" cy="1834070"/>
          </a:xfrm>
          <a:prstGeom prst="wedgeRectCallout">
            <a:avLst>
              <a:gd name="adj1" fmla="val -87"/>
              <a:gd name="adj2" fmla="val 66417"/>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I went on a diet and exercise </a:t>
            </a:r>
            <a:r>
              <a:rPr kumimoji="0" lang="en-US" sz="1400" b="0" i="0" u="none" strike="noStrike" kern="1200" cap="none" spc="0" normalizeH="0" baseline="0" noProof="0" err="1">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programme</a:t>
            </a:r>
            <a:r>
              <a:rPr kumimoji="0" lang="en-US" sz="14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 last year and lost 30 kg, but </a:t>
            </a:r>
            <a:r>
              <a:rPr kumimoji="0" lang="en-US" sz="1400" b="1" i="1"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despite continuing to exercise and eat well, I started regaining weight. I felt like a failure and it affected my mental health</a:t>
            </a:r>
            <a:r>
              <a:rPr kumimoji="0" lang="en-US" sz="14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a:t>
            </a:r>
          </a:p>
        </p:txBody>
      </p:sp>
      <p:pic>
        <p:nvPicPr>
          <p:cNvPr id="11" name="Graphic 10" descr="Female Profile outline">
            <a:extLst>
              <a:ext uri="{FF2B5EF4-FFF2-40B4-BE49-F238E27FC236}">
                <a16:creationId xmlns:a16="http://schemas.microsoft.com/office/drawing/2014/main" id="{57418941-E355-E84D-AAFE-232B816FE7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99818" y="4057611"/>
            <a:ext cx="914400" cy="914400"/>
          </a:xfrm>
          <a:prstGeom prst="rect">
            <a:avLst/>
          </a:prstGeom>
        </p:spPr>
      </p:pic>
      <p:pic>
        <p:nvPicPr>
          <p:cNvPr id="12" name="Graphic 11" descr="Male profile outline">
            <a:extLst>
              <a:ext uri="{FF2B5EF4-FFF2-40B4-BE49-F238E27FC236}">
                <a16:creationId xmlns:a16="http://schemas.microsoft.com/office/drawing/2014/main" id="{CBC9F104-7A6D-6ABC-31E6-48F3FD9252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40614" y="4057611"/>
            <a:ext cx="914400" cy="914400"/>
          </a:xfrm>
          <a:prstGeom prst="rect">
            <a:avLst/>
          </a:prstGeom>
        </p:spPr>
      </p:pic>
      <p:sp>
        <p:nvSpPr>
          <p:cNvPr id="13" name="Text Placeholder 5">
            <a:extLst>
              <a:ext uri="{FF2B5EF4-FFF2-40B4-BE49-F238E27FC236}">
                <a16:creationId xmlns:a16="http://schemas.microsoft.com/office/drawing/2014/main" id="{2A5BE105-0D07-4397-5B6D-44AB994A3071}"/>
              </a:ext>
            </a:extLst>
          </p:cNvPr>
          <p:cNvSpPr txBox="1">
            <a:spLocks/>
          </p:cNvSpPr>
          <p:nvPr/>
        </p:nvSpPr>
        <p:spPr>
          <a:xfrm>
            <a:off x="649163" y="6208563"/>
            <a:ext cx="8652000" cy="3240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700" i="1"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0" i="1" u="none" strike="noStrike" kern="1200" cap="none" spc="0" normalizeH="0" baseline="0" noProof="0">
                <a:ln>
                  <a:noFill/>
                </a:ln>
                <a:solidFill>
                  <a:srgbClr val="005AD2"/>
                </a:solidFill>
                <a:effectLst/>
                <a:uLnTx/>
                <a:uFillTx/>
                <a:latin typeface="Apis For Office"/>
                <a:ea typeface="+mn-ea"/>
                <a:cs typeface="Arial" charset="0"/>
              </a:rPr>
              <a:t>https://www.rethinkobesity.global/weight-and-health/pathophysiology-of-obesity.html</a:t>
            </a:r>
          </a:p>
        </p:txBody>
      </p:sp>
      <p:sp>
        <p:nvSpPr>
          <p:cNvPr id="2" name="Rectangle 1">
            <a:extLst>
              <a:ext uri="{FF2B5EF4-FFF2-40B4-BE49-F238E27FC236}">
                <a16:creationId xmlns:a16="http://schemas.microsoft.com/office/drawing/2014/main" id="{2CBEEBFC-D8BD-D395-C26F-158589EEED46}"/>
              </a:ext>
            </a:extLst>
          </p:cNvPr>
          <p:cNvSpPr/>
          <p:nvPr/>
        </p:nvSpPr>
        <p:spPr>
          <a:xfrm>
            <a:off x="0" y="5053732"/>
            <a:ext cx="12192000" cy="706988"/>
          </a:xfrm>
          <a:prstGeom prst="rect">
            <a:avLst/>
          </a:prstGeom>
          <a:solidFill>
            <a:srgbClr val="F8DCE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965"/>
                </a:solidFill>
                <a:effectLst/>
                <a:uLnTx/>
                <a:uFillTx/>
                <a:latin typeface="Apis For Office"/>
                <a:ea typeface="+mn-ea"/>
                <a:cs typeface="+mn-cs"/>
              </a:rPr>
              <a:t>Despite patient’s best efforts, metabolic changes to weight loss promote weight regain</a:t>
            </a:r>
          </a:p>
        </p:txBody>
      </p:sp>
    </p:spTree>
    <p:custDataLst>
      <p:tags r:id="rId1"/>
    </p:custDataLst>
    <p:extLst>
      <p:ext uri="{BB962C8B-B14F-4D97-AF65-F5344CB8AC3E}">
        <p14:creationId xmlns:p14="http://schemas.microsoft.com/office/powerpoint/2010/main" val="1486832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4477C1C-B025-94FB-F80F-E94B702CD224}"/>
              </a:ext>
            </a:extLst>
          </p:cNvPr>
          <p:cNvSpPr>
            <a:spLocks noGrp="1"/>
          </p:cNvSpPr>
          <p:nvPr>
            <p:ph type="body" sz="quarter" idx="13"/>
          </p:nvPr>
        </p:nvSpPr>
        <p:spPr/>
        <p:txBody>
          <a:bodyPr/>
          <a:lstStyle/>
          <a:p>
            <a:endParaRPr lang="en-ZA"/>
          </a:p>
        </p:txBody>
      </p:sp>
      <p:sp>
        <p:nvSpPr>
          <p:cNvPr id="7" name="Text Placeholder 6">
            <a:extLst>
              <a:ext uri="{FF2B5EF4-FFF2-40B4-BE49-F238E27FC236}">
                <a16:creationId xmlns:a16="http://schemas.microsoft.com/office/drawing/2014/main" id="{C7766DC2-148C-2A4E-7AB8-5CBDB108211A}"/>
              </a:ext>
            </a:extLst>
          </p:cNvPr>
          <p:cNvSpPr>
            <a:spLocks noGrp="1"/>
          </p:cNvSpPr>
          <p:nvPr>
            <p:ph type="body" sz="quarter" idx="14"/>
          </p:nvPr>
        </p:nvSpPr>
        <p:spPr>
          <a:xfrm>
            <a:off x="5211212" y="472889"/>
            <a:ext cx="8902835" cy="5562300"/>
          </a:xfrm>
        </p:spPr>
        <p:txBody>
          <a:bodyPr/>
          <a:lstStyle/>
          <a:p>
            <a:r>
              <a:rPr lang="en-ZA" dirty="0"/>
              <a:t>04</a:t>
            </a:r>
          </a:p>
        </p:txBody>
      </p:sp>
      <p:sp>
        <p:nvSpPr>
          <p:cNvPr id="8" name="Title 7"/>
          <p:cNvSpPr>
            <a:spLocks noGrp="1"/>
          </p:cNvSpPr>
          <p:nvPr>
            <p:ph type="ctrTitle"/>
          </p:nvPr>
        </p:nvSpPr>
        <p:spPr>
          <a:xfrm>
            <a:off x="571498" y="2768908"/>
            <a:ext cx="8728077" cy="970261"/>
          </a:xfrm>
        </p:spPr>
        <p:txBody>
          <a:bodyPr vert="horz" lIns="0" tIns="91440" rIns="0" bIns="91440" rtlCol="0" anchor="t" anchorCtr="0">
            <a:normAutofit fontScale="90000"/>
          </a:bodyPr>
          <a:lstStyle/>
          <a:p>
            <a:r>
              <a:rPr lang="en-GB" kern="1200" dirty="0">
                <a:latin typeface="+mj-lt"/>
                <a:ea typeface="+mj-ea"/>
                <a:cs typeface="+mj-cs"/>
              </a:rPr>
              <a:t>OBESITY MANAGEMENT</a:t>
            </a:r>
            <a:br>
              <a:rPr lang="en-GB" kern="1200" dirty="0">
                <a:latin typeface="+mj-lt"/>
                <a:ea typeface="+mj-ea"/>
                <a:cs typeface="+mj-cs"/>
              </a:rPr>
            </a:br>
            <a:endParaRPr lang="en-GB" kern="1200" dirty="0">
              <a:latin typeface="+mj-lt"/>
              <a:ea typeface="+mj-ea"/>
              <a:cs typeface="+mj-cs"/>
            </a:endParaRPr>
          </a:p>
        </p:txBody>
      </p:sp>
    </p:spTree>
    <p:extLst>
      <p:ext uri="{BB962C8B-B14F-4D97-AF65-F5344CB8AC3E}">
        <p14:creationId xmlns:p14="http://schemas.microsoft.com/office/powerpoint/2010/main" val="28630040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9377-B698-7E61-47B3-1FA301C4E359}"/>
              </a:ext>
            </a:extLst>
          </p:cNvPr>
          <p:cNvSpPr>
            <a:spLocks noGrp="1"/>
          </p:cNvSpPr>
          <p:nvPr>
            <p:ph type="title"/>
          </p:nvPr>
        </p:nvSpPr>
        <p:spPr>
          <a:xfrm>
            <a:off x="1029784" y="648000"/>
            <a:ext cx="10514215" cy="1296000"/>
          </a:xfrm>
        </p:spPr>
        <p:txBody>
          <a:bodyPr/>
          <a:lstStyle/>
          <a:p>
            <a:pPr algn="ctr"/>
            <a:r>
              <a:rPr lang="en-US" sz="5400" dirty="0">
                <a:latin typeface="Aldhabi" panose="020F0502020204030204" pitchFamily="2" charset="-78"/>
                <a:cs typeface="Aldhabi" panose="020F0502020204030204" pitchFamily="2" charset="-78"/>
              </a:rPr>
              <a:t>WEIGH LESS WEIGHTLOSS TIPS 1985</a:t>
            </a:r>
            <a:r>
              <a:rPr lang="en-US" sz="5400" baseline="30000" dirty="0">
                <a:latin typeface="Aldhabi" panose="020F0502020204030204" pitchFamily="2" charset="-78"/>
                <a:cs typeface="Aldhabi" panose="020F0502020204030204" pitchFamily="2" charset="-78"/>
              </a:rPr>
              <a:t>1</a:t>
            </a:r>
            <a:endParaRPr lang="en-ZA" sz="5400" dirty="0">
              <a:latin typeface="Aldhabi" panose="020F0502020204030204" pitchFamily="2" charset="-78"/>
              <a:cs typeface="Aldhabi" panose="020F0502020204030204" pitchFamily="2" charset="-78"/>
            </a:endParaRPr>
          </a:p>
        </p:txBody>
      </p:sp>
      <p:pic>
        <p:nvPicPr>
          <p:cNvPr id="5" name="Content Placeholder 4">
            <a:extLst>
              <a:ext uri="{FF2B5EF4-FFF2-40B4-BE49-F238E27FC236}">
                <a16:creationId xmlns:a16="http://schemas.microsoft.com/office/drawing/2014/main" id="{7B5E8CD6-7190-F2B3-097D-53BB5F7FBF3E}"/>
              </a:ext>
            </a:extLst>
          </p:cNvPr>
          <p:cNvPicPr>
            <a:picLocks noGrp="1" noChangeAspect="1"/>
          </p:cNvPicPr>
          <p:nvPr>
            <p:ph idx="1"/>
          </p:nvPr>
        </p:nvPicPr>
        <p:blipFill>
          <a:blip r:embed="rId2"/>
          <a:stretch>
            <a:fillRect/>
          </a:stretch>
        </p:blipFill>
        <p:spPr>
          <a:xfrm>
            <a:off x="1029785" y="2152578"/>
            <a:ext cx="10132430" cy="3853006"/>
          </a:xfrm>
          <a:prstGeom prst="rect">
            <a:avLst/>
          </a:prstGeom>
        </p:spPr>
      </p:pic>
      <p:sp>
        <p:nvSpPr>
          <p:cNvPr id="3" name="TextBox 2">
            <a:extLst>
              <a:ext uri="{FF2B5EF4-FFF2-40B4-BE49-F238E27FC236}">
                <a16:creationId xmlns:a16="http://schemas.microsoft.com/office/drawing/2014/main" id="{F121797E-EB6A-5778-08C5-9AB1E86BD76D}"/>
              </a:ext>
            </a:extLst>
          </p:cNvPr>
          <p:cNvSpPr txBox="1"/>
          <p:nvPr/>
        </p:nvSpPr>
        <p:spPr>
          <a:xfrm>
            <a:off x="1122556" y="6482575"/>
            <a:ext cx="3390352" cy="180178"/>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1965"/>
                </a:solidFill>
                <a:effectLst/>
                <a:uLnTx/>
                <a:uFillTx/>
                <a:latin typeface="Apis For Office"/>
                <a:ea typeface="+mn-ea"/>
                <a:cs typeface="+mn-cs"/>
              </a:rPr>
              <a:t>1: Personal article snippet from 1985 – Dr S Wolberg</a:t>
            </a:r>
            <a:endParaRPr kumimoji="0" lang="en-ZA" sz="1050" b="0" i="0" u="none" strike="noStrike" kern="1200" cap="none" spc="0" normalizeH="0" baseline="0" noProof="0" dirty="0" err="1">
              <a:ln>
                <a:noFill/>
              </a:ln>
              <a:solidFill>
                <a:srgbClr val="001965"/>
              </a:solidFill>
              <a:effectLst/>
              <a:uLnTx/>
              <a:uFillTx/>
              <a:latin typeface="Apis For Office"/>
              <a:ea typeface="+mn-ea"/>
              <a:cs typeface="+mn-cs"/>
            </a:endParaRPr>
          </a:p>
        </p:txBody>
      </p:sp>
    </p:spTree>
    <p:extLst>
      <p:ext uri="{BB962C8B-B14F-4D97-AF65-F5344CB8AC3E}">
        <p14:creationId xmlns:p14="http://schemas.microsoft.com/office/powerpoint/2010/main" val="4004880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Shape 213">
            <a:extLst>
              <a:ext uri="{FF2B5EF4-FFF2-40B4-BE49-F238E27FC236}">
                <a16:creationId xmlns:a16="http://schemas.microsoft.com/office/drawing/2014/main" id="{DE0642C4-9AA3-451E-B6BF-9EBCE3B5236A}"/>
              </a:ext>
            </a:extLst>
          </p:cNvPr>
          <p:cNvSpPr/>
          <p:nvPr/>
        </p:nvSpPr>
        <p:spPr>
          <a:xfrm>
            <a:off x="2647875" y="4755597"/>
            <a:ext cx="8862634" cy="742834"/>
          </a:xfrm>
          <a:prstGeom prst="round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 name="Title 2">
            <a:extLst>
              <a:ext uri="{FF2B5EF4-FFF2-40B4-BE49-F238E27FC236}">
                <a16:creationId xmlns:a16="http://schemas.microsoft.com/office/drawing/2014/main" id="{F3C3CD30-222A-4520-A2D4-A3778F9B0AC8}"/>
              </a:ext>
            </a:extLst>
          </p:cNvPr>
          <p:cNvSpPr>
            <a:spLocks noGrp="1"/>
          </p:cNvSpPr>
          <p:nvPr>
            <p:ph type="title"/>
          </p:nvPr>
        </p:nvSpPr>
        <p:spPr/>
        <p:txBody>
          <a:bodyPr/>
          <a:lstStyle/>
          <a:p>
            <a:r>
              <a:rPr lang="en-CA"/>
              <a:t>The effect of weight loss on complications</a:t>
            </a:r>
            <a:br>
              <a:rPr lang="en-GB"/>
            </a:br>
            <a:endParaRPr lang="en-GB"/>
          </a:p>
        </p:txBody>
      </p:sp>
      <p:sp>
        <p:nvSpPr>
          <p:cNvPr id="7" name="Text Placeholder 6">
            <a:extLst>
              <a:ext uri="{FF2B5EF4-FFF2-40B4-BE49-F238E27FC236}">
                <a16:creationId xmlns:a16="http://schemas.microsoft.com/office/drawing/2014/main" id="{A0AF49C3-91BB-4F48-BD24-156F192F4D99}"/>
              </a:ext>
            </a:extLst>
          </p:cNvPr>
          <p:cNvSpPr>
            <a:spLocks noGrp="1"/>
          </p:cNvSpPr>
          <p:nvPr>
            <p:ph type="body" sz="quarter" idx="13"/>
          </p:nvPr>
        </p:nvSpPr>
        <p:spPr>
          <a:xfrm>
            <a:off x="647998" y="6210000"/>
            <a:ext cx="10940881" cy="324000"/>
          </a:xfrm>
        </p:spPr>
        <p:txBody>
          <a:bodyPr/>
          <a:lstStyle/>
          <a:p>
            <a:r>
              <a:rPr lang="en-CA"/>
              <a:t>BP, blood pressure; CV, cardiovascular; GERD, gastro-oesophageal reflux disease; HbA1c, glycated hemoglobin; </a:t>
            </a:r>
            <a:r>
              <a:rPr lang="en-CA" err="1"/>
              <a:t>HFpEF</a:t>
            </a:r>
            <a:r>
              <a:rPr lang="en-CA"/>
              <a:t>, heart failure with preserved ejection fraction; NAFLD; non-alcoholic fatty liver disease; NASH, non-alcoholic steatohepatitis; OSAS, obstructive sleep apnoea syndrome; PCOS, polycystic ovary syndrome; T2D, type 2 diabetes; </a:t>
            </a:r>
            <a:r>
              <a:rPr lang="en-US"/>
              <a:t>TG, triglycerides</a:t>
            </a:r>
            <a:r>
              <a:rPr lang="en-CA"/>
              <a:t>.</a:t>
            </a:r>
            <a:br>
              <a:rPr lang="en-CA"/>
            </a:br>
            <a:r>
              <a:rPr lang="en-CA"/>
              <a:t>1. </a:t>
            </a:r>
            <a:r>
              <a:rPr lang="en-GB"/>
              <a:t>Horn D et al. Postgrad Med. 2022;134:359–75; </a:t>
            </a:r>
            <a:r>
              <a:rPr lang="en-CA"/>
              <a:t>2. Garvey WT et al. </a:t>
            </a:r>
            <a:r>
              <a:rPr lang="en-CA" err="1"/>
              <a:t>Endocr</a:t>
            </a:r>
            <a:r>
              <a:rPr lang="en-CA"/>
              <a:t> </a:t>
            </a:r>
            <a:r>
              <a:rPr lang="en-CA" err="1"/>
              <a:t>Pract</a:t>
            </a:r>
            <a:r>
              <a:rPr lang="en-CA"/>
              <a:t>. 2016;22(Suppl. 3):1–203; 3. Look AHEAD Research Group, Gregg EW et al. Lancet Diabetes Endocrinol. 2016;4:913–21; 4. Lean ME et al. Lancet. 2018;391:541–51; 5. </a:t>
            </a:r>
            <a:r>
              <a:rPr lang="en-CA" err="1"/>
              <a:t>Benraoune</a:t>
            </a:r>
            <a:r>
              <a:rPr lang="en-CA"/>
              <a:t> F &amp; Litwin SE. </a:t>
            </a:r>
            <a:r>
              <a:rPr lang="en-CA" err="1"/>
              <a:t>Curr</a:t>
            </a:r>
            <a:r>
              <a:rPr lang="en-CA"/>
              <a:t> </a:t>
            </a:r>
            <a:r>
              <a:rPr lang="en-CA" err="1"/>
              <a:t>Opin</a:t>
            </a:r>
            <a:r>
              <a:rPr lang="en-CA"/>
              <a:t> </a:t>
            </a:r>
            <a:r>
              <a:rPr lang="en-CA" err="1"/>
              <a:t>Cardiol</a:t>
            </a:r>
            <a:r>
              <a:rPr lang="en-CA"/>
              <a:t>. 2011;26:555–61; 6. </a:t>
            </a:r>
            <a:r>
              <a:rPr lang="en-CA" err="1"/>
              <a:t>Sundström</a:t>
            </a:r>
            <a:r>
              <a:rPr lang="en-CA"/>
              <a:t> J et al. Circulation. 2017;135:1577–85; 7. Ryan DH &amp; </a:t>
            </a:r>
            <a:r>
              <a:rPr lang="en-CA" err="1"/>
              <a:t>Yockey</a:t>
            </a:r>
            <a:r>
              <a:rPr lang="en-CA"/>
              <a:t> SR. </a:t>
            </a:r>
            <a:r>
              <a:rPr lang="en-CA" err="1"/>
              <a:t>Curr</a:t>
            </a:r>
            <a:r>
              <a:rPr lang="en-CA"/>
              <a:t> </a:t>
            </a:r>
            <a:r>
              <a:rPr lang="en-CA" err="1"/>
              <a:t>Obes</a:t>
            </a:r>
            <a:r>
              <a:rPr lang="en-CA"/>
              <a:t> Rep 2017;6:187–94; </a:t>
            </a:r>
            <a:br>
              <a:rPr lang="en-CA"/>
            </a:br>
            <a:r>
              <a:rPr lang="en-CA"/>
              <a:t>8. </a:t>
            </a:r>
            <a:r>
              <a:rPr lang="en-US" err="1"/>
              <a:t>Meerasa</a:t>
            </a:r>
            <a:r>
              <a:rPr lang="en-US"/>
              <a:t> A &amp; Dash S. Weighing in on Type 2 Diabetes Remission. Diabetes Care 2022;45:28–30.</a:t>
            </a:r>
            <a:endParaRPr lang="en-CA"/>
          </a:p>
        </p:txBody>
      </p:sp>
      <p:sp>
        <p:nvSpPr>
          <p:cNvPr id="73" name="Arrow: Pentagon 72">
            <a:extLst>
              <a:ext uri="{FF2B5EF4-FFF2-40B4-BE49-F238E27FC236}">
                <a16:creationId xmlns:a16="http://schemas.microsoft.com/office/drawing/2014/main" id="{90EA689B-B029-4674-B2F8-699A9AC931AF}"/>
              </a:ext>
            </a:extLst>
          </p:cNvPr>
          <p:cNvSpPr/>
          <p:nvPr/>
        </p:nvSpPr>
        <p:spPr>
          <a:xfrm rot="5400000" flipV="1">
            <a:off x="-1117891" y="3271880"/>
            <a:ext cx="4172527" cy="573762"/>
          </a:xfrm>
          <a:prstGeom prst="homePlate">
            <a:avLst/>
          </a:prstGeom>
          <a:gradFill>
            <a:gsLst>
              <a:gs pos="14000">
                <a:srgbClr val="2A918B"/>
              </a:gs>
              <a:gs pos="72050">
                <a:srgbClr val="BADBD9"/>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owards greater weight loss and overall health improvement</a:t>
            </a:r>
          </a:p>
        </p:txBody>
      </p:sp>
      <p:sp>
        <p:nvSpPr>
          <p:cNvPr id="107" name="Rectangle 106">
            <a:extLst>
              <a:ext uri="{FF2B5EF4-FFF2-40B4-BE49-F238E27FC236}">
                <a16:creationId xmlns:a16="http://schemas.microsoft.com/office/drawing/2014/main" id="{6C2B023F-61C6-4CD2-B664-374AA85CA38E}"/>
              </a:ext>
            </a:extLst>
          </p:cNvPr>
          <p:cNvSpPr/>
          <p:nvPr/>
        </p:nvSpPr>
        <p:spPr>
          <a:xfrm rot="16200000">
            <a:off x="-432658" y="3264961"/>
            <a:ext cx="4001804" cy="416876"/>
          </a:xfrm>
          <a:prstGeom prst="rect">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eight loss</a:t>
            </a:r>
          </a:p>
        </p:txBody>
      </p:sp>
      <p:sp>
        <p:nvSpPr>
          <p:cNvPr id="26" name="TextBox 25">
            <a:extLst>
              <a:ext uri="{FF2B5EF4-FFF2-40B4-BE49-F238E27FC236}">
                <a16:creationId xmlns:a16="http://schemas.microsoft.com/office/drawing/2014/main" id="{23307D5A-039F-48E0-A0C2-E19D321A92CA}"/>
              </a:ext>
            </a:extLst>
          </p:cNvPr>
          <p:cNvSpPr txBox="1"/>
          <p:nvPr/>
        </p:nvSpPr>
        <p:spPr>
          <a:xfrm>
            <a:off x="1776683" y="2293031"/>
            <a:ext cx="1043688" cy="734732"/>
          </a:xfrm>
          <a:prstGeom prst="rect">
            <a:avLst/>
          </a:prstGeom>
          <a:solidFill>
            <a:srgbClr val="F8DCE5"/>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8" name="Freeform: Shape 211">
            <a:extLst>
              <a:ext uri="{FF2B5EF4-FFF2-40B4-BE49-F238E27FC236}">
                <a16:creationId xmlns:a16="http://schemas.microsoft.com/office/drawing/2014/main" id="{C913CA45-8810-4CA8-B121-13C46CF875A6}"/>
              </a:ext>
            </a:extLst>
          </p:cNvPr>
          <p:cNvSpPr/>
          <p:nvPr/>
        </p:nvSpPr>
        <p:spPr>
          <a:xfrm>
            <a:off x="2647875" y="2303172"/>
            <a:ext cx="8862634" cy="742834"/>
          </a:xfrm>
          <a:prstGeom prst="roundRect">
            <a:avLst/>
          </a:prstGeom>
          <a:gradFill flip="none" rotWithShape="1">
            <a:gsLst>
              <a:gs pos="20000">
                <a:srgbClr val="F8DCE5"/>
              </a:gs>
              <a:gs pos="68000">
                <a:srgbClr val="FCEDF2"/>
              </a:gs>
              <a:gs pos="100000">
                <a:srgbClr val="FCEDF2">
                  <a:alpha val="5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29" name="Freeform: Shape 212">
            <a:extLst>
              <a:ext uri="{FF2B5EF4-FFF2-40B4-BE49-F238E27FC236}">
                <a16:creationId xmlns:a16="http://schemas.microsoft.com/office/drawing/2014/main" id="{D18710A3-DA33-4D72-BC63-9131C217CAD5}"/>
              </a:ext>
            </a:extLst>
          </p:cNvPr>
          <p:cNvSpPr/>
          <p:nvPr/>
        </p:nvSpPr>
        <p:spPr>
          <a:xfrm>
            <a:off x="2647875" y="3121461"/>
            <a:ext cx="8862634" cy="742834"/>
          </a:xfrm>
          <a:prstGeom prst="roundRect">
            <a:avLst/>
          </a:prstGeom>
          <a:gradFill flip="none" rotWithShape="1">
            <a:gsLst>
              <a:gs pos="0">
                <a:srgbClr val="D4D7DC"/>
              </a:gs>
              <a:gs pos="76000">
                <a:srgbClr val="E9EBED"/>
              </a:gs>
              <a:gs pos="100000">
                <a:srgbClr val="E9EBED">
                  <a:alpha val="5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0" name="Freeform: Shape 213">
            <a:extLst>
              <a:ext uri="{FF2B5EF4-FFF2-40B4-BE49-F238E27FC236}">
                <a16:creationId xmlns:a16="http://schemas.microsoft.com/office/drawing/2014/main" id="{05FBF31B-4453-4520-BA6B-5D3F09B17B0D}"/>
              </a:ext>
            </a:extLst>
          </p:cNvPr>
          <p:cNvSpPr/>
          <p:nvPr/>
        </p:nvSpPr>
        <p:spPr>
          <a:xfrm>
            <a:off x="2647875" y="3940401"/>
            <a:ext cx="8862634" cy="742834"/>
          </a:xfrm>
          <a:prstGeom prst="roundRect">
            <a:avLst/>
          </a:prstGeom>
          <a:gradFill flip="none" rotWithShape="1">
            <a:gsLst>
              <a:gs pos="79000">
                <a:srgbClr val="CCDEF6"/>
              </a:gs>
              <a:gs pos="4000">
                <a:srgbClr val="99BDED"/>
              </a:gs>
              <a:gs pos="100000">
                <a:srgbClr val="D8EAF8"/>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1" name="Freeform: Shape 214">
            <a:extLst>
              <a:ext uri="{FF2B5EF4-FFF2-40B4-BE49-F238E27FC236}">
                <a16:creationId xmlns:a16="http://schemas.microsoft.com/office/drawing/2014/main" id="{DA0CD17E-6659-405E-B1F1-4DE11AD676FE}"/>
              </a:ext>
            </a:extLst>
          </p:cNvPr>
          <p:cNvSpPr/>
          <p:nvPr/>
        </p:nvSpPr>
        <p:spPr>
          <a:xfrm>
            <a:off x="2647875" y="1484930"/>
            <a:ext cx="8862634" cy="742834"/>
          </a:xfrm>
          <a:prstGeom prst="roundRect">
            <a:avLst/>
          </a:prstGeom>
          <a:gradFill flip="none" rotWithShape="1">
            <a:gsLst>
              <a:gs pos="13000">
                <a:srgbClr val="AAD3D1"/>
              </a:gs>
              <a:gs pos="74000">
                <a:srgbClr val="D4E9E8"/>
              </a:gs>
              <a:gs pos="100000">
                <a:srgbClr val="D4E9E8">
                  <a:alpha val="5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2" name="TextBox 31">
            <a:extLst>
              <a:ext uri="{FF2B5EF4-FFF2-40B4-BE49-F238E27FC236}">
                <a16:creationId xmlns:a16="http://schemas.microsoft.com/office/drawing/2014/main" id="{6933E620-AE01-4FB2-AE10-5DCB6BDD99C6}"/>
              </a:ext>
            </a:extLst>
          </p:cNvPr>
          <p:cNvSpPr txBox="1"/>
          <p:nvPr/>
        </p:nvSpPr>
        <p:spPr>
          <a:xfrm>
            <a:off x="3073380" y="1590209"/>
            <a:ext cx="3971553" cy="531520"/>
          </a:xfrm>
          <a:prstGeom prst="rect">
            <a:avLst/>
          </a:prstGeom>
          <a:noFill/>
        </p:spPr>
        <p:txBody>
          <a:bodyPr wrap="square" numCol="1">
            <a:spAutoFit/>
          </a:bodyPr>
          <a:lstStyle/>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Hypertension</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Hyperglycemia</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US"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33" name="TextBox 32">
            <a:extLst>
              <a:ext uri="{FF2B5EF4-FFF2-40B4-BE49-F238E27FC236}">
                <a16:creationId xmlns:a16="http://schemas.microsoft.com/office/drawing/2014/main" id="{02650A35-2479-46A9-BF57-ED66A22B78F5}"/>
              </a:ext>
            </a:extLst>
          </p:cNvPr>
          <p:cNvSpPr txBox="1"/>
          <p:nvPr/>
        </p:nvSpPr>
        <p:spPr>
          <a:xfrm>
            <a:off x="3470004" y="2394638"/>
            <a:ext cx="3205504" cy="531520"/>
          </a:xfrm>
          <a:prstGeom prst="rect">
            <a:avLst/>
          </a:prstGeom>
          <a:noFill/>
        </p:spPr>
        <p:txBody>
          <a:bodyPr wrap="square" numCol="1" anchor="ctr">
            <a:spAutoFit/>
          </a:bodyPr>
          <a:lstStyle/>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PCOS</a:t>
            </a:r>
            <a:r>
              <a:rPr kumimoji="0" lang="en-US"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US"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NAFLD</a:t>
            </a:r>
            <a:r>
              <a:rPr kumimoji="0" lang="en-US"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US"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34" name="TextBox 33">
            <a:extLst>
              <a:ext uri="{FF2B5EF4-FFF2-40B4-BE49-F238E27FC236}">
                <a16:creationId xmlns:a16="http://schemas.microsoft.com/office/drawing/2014/main" id="{781FAE55-18C1-4CD6-8A7B-8F252341F8DF}"/>
              </a:ext>
            </a:extLst>
          </p:cNvPr>
          <p:cNvSpPr txBox="1"/>
          <p:nvPr/>
        </p:nvSpPr>
        <p:spPr>
          <a:xfrm>
            <a:off x="4170339" y="3925664"/>
            <a:ext cx="3132660" cy="984693"/>
          </a:xfrm>
          <a:prstGeom prst="rect">
            <a:avLst/>
          </a:prstGeom>
          <a:noFill/>
        </p:spPr>
        <p:txBody>
          <a:bodyPr wrap="square" numCol="1" anchor="ctr">
            <a:spAutoFit/>
          </a:bodyPr>
          <a:lstStyle/>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CV mortality</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3</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T2D remission</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4</a:t>
            </a: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Hepatic steatosis</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5</a:t>
            </a: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35" name="TextBox 34">
            <a:extLst>
              <a:ext uri="{FF2B5EF4-FFF2-40B4-BE49-F238E27FC236}">
                <a16:creationId xmlns:a16="http://schemas.microsoft.com/office/drawing/2014/main" id="{F328A037-0EBF-4F76-A568-6731317BA757}"/>
              </a:ext>
            </a:extLst>
          </p:cNvPr>
          <p:cNvSpPr txBox="1"/>
          <p:nvPr/>
        </p:nvSpPr>
        <p:spPr>
          <a:xfrm>
            <a:off x="3779246" y="3096879"/>
            <a:ext cx="1523057" cy="758106"/>
          </a:xfrm>
          <a:prstGeom prst="rect">
            <a:avLst/>
          </a:prstGeom>
          <a:noFill/>
        </p:spPr>
        <p:txBody>
          <a:bodyPr wrap="square" numCol="1" anchor="ctr">
            <a:spAutoFit/>
          </a:bodyPr>
          <a:lstStyle/>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OSAS</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GERD</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NASH</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36" name="TextBox 35">
            <a:extLst>
              <a:ext uri="{FF2B5EF4-FFF2-40B4-BE49-F238E27FC236}">
                <a16:creationId xmlns:a16="http://schemas.microsoft.com/office/drawing/2014/main" id="{41AB6D43-F3F0-48A7-BE3E-1025A2F3BF15}"/>
              </a:ext>
            </a:extLst>
          </p:cNvPr>
          <p:cNvSpPr txBox="1"/>
          <p:nvPr/>
        </p:nvSpPr>
        <p:spPr>
          <a:xfrm>
            <a:off x="4729719" y="3096879"/>
            <a:ext cx="2531341" cy="758106"/>
          </a:xfrm>
          <a:prstGeom prst="rect">
            <a:avLst/>
          </a:prstGeom>
          <a:noFill/>
        </p:spPr>
        <p:txBody>
          <a:bodyPr wrap="square" numCol="1" anchor="ctr">
            <a:spAutoFit/>
          </a:bodyPr>
          <a:lstStyle/>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Cardiovascular disease</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Urinary stress incontinence</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2</a:t>
            </a: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Knee osteoarthritis</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37" name="Freeform: Shape 220">
            <a:extLst>
              <a:ext uri="{FF2B5EF4-FFF2-40B4-BE49-F238E27FC236}">
                <a16:creationId xmlns:a16="http://schemas.microsoft.com/office/drawing/2014/main" id="{1522276F-A812-4C86-973D-AD3833B7B929}"/>
              </a:ext>
            </a:extLst>
          </p:cNvPr>
          <p:cNvSpPr/>
          <p:nvPr/>
        </p:nvSpPr>
        <p:spPr>
          <a:xfrm>
            <a:off x="2224890" y="2292410"/>
            <a:ext cx="985054" cy="735974"/>
          </a:xfrm>
          <a:custGeom>
            <a:avLst/>
            <a:gdLst/>
            <a:ahLst/>
            <a:cxnLst/>
            <a:rect l="l" t="t" r="r" b="b"/>
            <a:pathLst>
              <a:path w="1367081" h="985550">
                <a:moveTo>
                  <a:pt x="329807" y="517569"/>
                </a:moveTo>
                <a:lnTo>
                  <a:pt x="329807" y="560565"/>
                </a:lnTo>
                <a:lnTo>
                  <a:pt x="422142" y="560565"/>
                </a:lnTo>
                <a:lnTo>
                  <a:pt x="422142" y="517569"/>
                </a:lnTo>
                <a:close/>
                <a:moveTo>
                  <a:pt x="1080282" y="514750"/>
                </a:moveTo>
                <a:cubicBezTo>
                  <a:pt x="1091324" y="514750"/>
                  <a:pt x="1096846" y="529082"/>
                  <a:pt x="1096846" y="557746"/>
                </a:cubicBezTo>
                <a:cubicBezTo>
                  <a:pt x="1096846" y="586645"/>
                  <a:pt x="1091324" y="601094"/>
                  <a:pt x="1080282" y="601094"/>
                </a:cubicBezTo>
                <a:cubicBezTo>
                  <a:pt x="1069474" y="601094"/>
                  <a:pt x="1064070" y="586645"/>
                  <a:pt x="1064070" y="557746"/>
                </a:cubicBezTo>
                <a:cubicBezTo>
                  <a:pt x="1064070" y="529082"/>
                  <a:pt x="1069474" y="514750"/>
                  <a:pt x="1080282" y="514750"/>
                </a:cubicBezTo>
                <a:close/>
                <a:moveTo>
                  <a:pt x="1079929" y="478803"/>
                </a:moveTo>
                <a:cubicBezTo>
                  <a:pt x="1059254" y="478803"/>
                  <a:pt x="1044217" y="485675"/>
                  <a:pt x="1034819" y="499419"/>
                </a:cubicBezTo>
                <a:cubicBezTo>
                  <a:pt x="1025421" y="513164"/>
                  <a:pt x="1020722" y="532489"/>
                  <a:pt x="1020722" y="557393"/>
                </a:cubicBezTo>
                <a:cubicBezTo>
                  <a:pt x="1020722" y="582298"/>
                  <a:pt x="1025715" y="601740"/>
                  <a:pt x="1035700" y="615720"/>
                </a:cubicBezTo>
                <a:cubicBezTo>
                  <a:pt x="1045685" y="629699"/>
                  <a:pt x="1060428" y="636689"/>
                  <a:pt x="1079929" y="636689"/>
                </a:cubicBezTo>
                <a:cubicBezTo>
                  <a:pt x="1100840" y="636689"/>
                  <a:pt x="1116112" y="629699"/>
                  <a:pt x="1125744" y="615720"/>
                </a:cubicBezTo>
                <a:cubicBezTo>
                  <a:pt x="1135377" y="601740"/>
                  <a:pt x="1140194" y="582298"/>
                  <a:pt x="1140194" y="557393"/>
                </a:cubicBezTo>
                <a:cubicBezTo>
                  <a:pt x="1140194" y="532489"/>
                  <a:pt x="1135084" y="513164"/>
                  <a:pt x="1124863" y="499419"/>
                </a:cubicBezTo>
                <a:cubicBezTo>
                  <a:pt x="1114643" y="485675"/>
                  <a:pt x="1099665" y="478803"/>
                  <a:pt x="1079929" y="478803"/>
                </a:cubicBezTo>
                <a:close/>
                <a:moveTo>
                  <a:pt x="734000" y="421005"/>
                </a:moveTo>
                <a:cubicBezTo>
                  <a:pt x="747157" y="421005"/>
                  <a:pt x="756320" y="428288"/>
                  <a:pt x="761489" y="442855"/>
                </a:cubicBezTo>
                <a:cubicBezTo>
                  <a:pt x="766658" y="457422"/>
                  <a:pt x="769243" y="479037"/>
                  <a:pt x="769243" y="507701"/>
                </a:cubicBezTo>
                <a:cubicBezTo>
                  <a:pt x="769243" y="536600"/>
                  <a:pt x="766658" y="558216"/>
                  <a:pt x="761489" y="572548"/>
                </a:cubicBezTo>
                <a:cubicBezTo>
                  <a:pt x="756320" y="586880"/>
                  <a:pt x="747157" y="594046"/>
                  <a:pt x="734000" y="594046"/>
                </a:cubicBezTo>
                <a:cubicBezTo>
                  <a:pt x="720608" y="594046"/>
                  <a:pt x="711445" y="586821"/>
                  <a:pt x="706511" y="572371"/>
                </a:cubicBezTo>
                <a:cubicBezTo>
                  <a:pt x="701577" y="557922"/>
                  <a:pt x="699110" y="536365"/>
                  <a:pt x="699110" y="507701"/>
                </a:cubicBezTo>
                <a:cubicBezTo>
                  <a:pt x="699110" y="479037"/>
                  <a:pt x="701577" y="457422"/>
                  <a:pt x="706511" y="442855"/>
                </a:cubicBezTo>
                <a:cubicBezTo>
                  <a:pt x="711445" y="428288"/>
                  <a:pt x="720608" y="421005"/>
                  <a:pt x="734000" y="421005"/>
                </a:cubicBezTo>
                <a:close/>
                <a:moveTo>
                  <a:pt x="904069" y="414309"/>
                </a:moveTo>
                <a:cubicBezTo>
                  <a:pt x="915112" y="414309"/>
                  <a:pt x="920633" y="428641"/>
                  <a:pt x="920633" y="457305"/>
                </a:cubicBezTo>
                <a:cubicBezTo>
                  <a:pt x="920633" y="486203"/>
                  <a:pt x="915112" y="500653"/>
                  <a:pt x="904069" y="500653"/>
                </a:cubicBezTo>
                <a:cubicBezTo>
                  <a:pt x="893261" y="500653"/>
                  <a:pt x="887858" y="486203"/>
                  <a:pt x="887858" y="457305"/>
                </a:cubicBezTo>
                <a:cubicBezTo>
                  <a:pt x="887858" y="428641"/>
                  <a:pt x="893261" y="414309"/>
                  <a:pt x="904069" y="414309"/>
                </a:cubicBezTo>
                <a:close/>
                <a:moveTo>
                  <a:pt x="1041162" y="381886"/>
                </a:moveTo>
                <a:lnTo>
                  <a:pt x="901602" y="633517"/>
                </a:lnTo>
                <a:lnTo>
                  <a:pt x="942836" y="633517"/>
                </a:lnTo>
                <a:lnTo>
                  <a:pt x="1082396" y="381886"/>
                </a:lnTo>
                <a:close/>
                <a:moveTo>
                  <a:pt x="535385" y="381886"/>
                </a:moveTo>
                <a:lnTo>
                  <a:pt x="454327" y="446379"/>
                </a:lnTo>
                <a:lnTo>
                  <a:pt x="480054" y="478450"/>
                </a:lnTo>
                <a:lnTo>
                  <a:pt x="508953" y="455190"/>
                </a:lnTo>
                <a:cubicBezTo>
                  <a:pt x="512242" y="452371"/>
                  <a:pt x="515825" y="449140"/>
                  <a:pt x="519702" y="445498"/>
                </a:cubicBezTo>
                <a:cubicBezTo>
                  <a:pt x="523579" y="441857"/>
                  <a:pt x="526104" y="439331"/>
                  <a:pt x="527279" y="437921"/>
                </a:cubicBezTo>
                <a:cubicBezTo>
                  <a:pt x="526809" y="445440"/>
                  <a:pt x="526457" y="454192"/>
                  <a:pt x="526222" y="464177"/>
                </a:cubicBezTo>
                <a:cubicBezTo>
                  <a:pt x="525987" y="474162"/>
                  <a:pt x="525869" y="482092"/>
                  <a:pt x="525869" y="487966"/>
                </a:cubicBezTo>
                <a:lnTo>
                  <a:pt x="525869" y="633517"/>
                </a:lnTo>
                <a:lnTo>
                  <a:pt x="579086" y="633517"/>
                </a:lnTo>
                <a:lnTo>
                  <a:pt x="579086" y="381886"/>
                </a:lnTo>
                <a:close/>
                <a:moveTo>
                  <a:pt x="150927" y="381886"/>
                </a:moveTo>
                <a:lnTo>
                  <a:pt x="141412" y="510168"/>
                </a:lnTo>
                <a:lnTo>
                  <a:pt x="162557" y="521446"/>
                </a:lnTo>
                <a:cubicBezTo>
                  <a:pt x="167256" y="520271"/>
                  <a:pt x="173130" y="519038"/>
                  <a:pt x="180179" y="517746"/>
                </a:cubicBezTo>
                <a:cubicBezTo>
                  <a:pt x="187227" y="516453"/>
                  <a:pt x="194041" y="515807"/>
                  <a:pt x="200619" y="515807"/>
                </a:cubicBezTo>
                <a:cubicBezTo>
                  <a:pt x="234217" y="515807"/>
                  <a:pt x="251016" y="528494"/>
                  <a:pt x="251016" y="553869"/>
                </a:cubicBezTo>
                <a:cubicBezTo>
                  <a:pt x="251016" y="567496"/>
                  <a:pt x="246846" y="577540"/>
                  <a:pt x="238505" y="584001"/>
                </a:cubicBezTo>
                <a:cubicBezTo>
                  <a:pt x="230164" y="590463"/>
                  <a:pt x="218123" y="593693"/>
                  <a:pt x="202381" y="593693"/>
                </a:cubicBezTo>
                <a:cubicBezTo>
                  <a:pt x="191574" y="593693"/>
                  <a:pt x="180061" y="592107"/>
                  <a:pt x="167844" y="588935"/>
                </a:cubicBezTo>
                <a:cubicBezTo>
                  <a:pt x="155626" y="585764"/>
                  <a:pt x="145171" y="581946"/>
                  <a:pt x="136478" y="577482"/>
                </a:cubicBezTo>
                <a:lnTo>
                  <a:pt x="136478" y="623297"/>
                </a:lnTo>
                <a:cubicBezTo>
                  <a:pt x="145171" y="627761"/>
                  <a:pt x="155333" y="631168"/>
                  <a:pt x="166963" y="633517"/>
                </a:cubicBezTo>
                <a:cubicBezTo>
                  <a:pt x="178593" y="635867"/>
                  <a:pt x="190986" y="637041"/>
                  <a:pt x="204143" y="637041"/>
                </a:cubicBezTo>
                <a:cubicBezTo>
                  <a:pt x="237271" y="637041"/>
                  <a:pt x="262294" y="629229"/>
                  <a:pt x="279210" y="613605"/>
                </a:cubicBezTo>
                <a:cubicBezTo>
                  <a:pt x="296126" y="597981"/>
                  <a:pt x="304585" y="576542"/>
                  <a:pt x="304585" y="549288"/>
                </a:cubicBezTo>
                <a:cubicBezTo>
                  <a:pt x="304585" y="532606"/>
                  <a:pt x="301119" y="518627"/>
                  <a:pt x="294188" y="507349"/>
                </a:cubicBezTo>
                <a:cubicBezTo>
                  <a:pt x="287257" y="496071"/>
                  <a:pt x="277800" y="487496"/>
                  <a:pt x="265818" y="481622"/>
                </a:cubicBezTo>
                <a:cubicBezTo>
                  <a:pt x="253835" y="475748"/>
                  <a:pt x="240208" y="472811"/>
                  <a:pt x="224937" y="472811"/>
                </a:cubicBezTo>
                <a:cubicBezTo>
                  <a:pt x="216713" y="472811"/>
                  <a:pt x="210311" y="473222"/>
                  <a:pt x="205729" y="474045"/>
                </a:cubicBezTo>
                <a:cubicBezTo>
                  <a:pt x="201148" y="474867"/>
                  <a:pt x="196860" y="475631"/>
                  <a:pt x="192866" y="476336"/>
                </a:cubicBezTo>
                <a:lnTo>
                  <a:pt x="197447" y="426996"/>
                </a:lnTo>
                <a:lnTo>
                  <a:pt x="287316" y="426996"/>
                </a:lnTo>
                <a:lnTo>
                  <a:pt x="287316" y="381886"/>
                </a:lnTo>
                <a:close/>
                <a:moveTo>
                  <a:pt x="903717" y="378361"/>
                </a:moveTo>
                <a:cubicBezTo>
                  <a:pt x="883041" y="378361"/>
                  <a:pt x="868004" y="385234"/>
                  <a:pt x="858606" y="398978"/>
                </a:cubicBezTo>
                <a:cubicBezTo>
                  <a:pt x="849208" y="412723"/>
                  <a:pt x="844509" y="432048"/>
                  <a:pt x="844509" y="456952"/>
                </a:cubicBezTo>
                <a:cubicBezTo>
                  <a:pt x="844509" y="481857"/>
                  <a:pt x="849502" y="501299"/>
                  <a:pt x="859487" y="515279"/>
                </a:cubicBezTo>
                <a:cubicBezTo>
                  <a:pt x="869473" y="529258"/>
                  <a:pt x="884216" y="536248"/>
                  <a:pt x="903717" y="536248"/>
                </a:cubicBezTo>
                <a:cubicBezTo>
                  <a:pt x="924627" y="536248"/>
                  <a:pt x="939899" y="529258"/>
                  <a:pt x="949532" y="515279"/>
                </a:cubicBezTo>
                <a:cubicBezTo>
                  <a:pt x="959165" y="501299"/>
                  <a:pt x="963981" y="481857"/>
                  <a:pt x="963981" y="456952"/>
                </a:cubicBezTo>
                <a:cubicBezTo>
                  <a:pt x="963981" y="432048"/>
                  <a:pt x="958871" y="412723"/>
                  <a:pt x="948651" y="398978"/>
                </a:cubicBezTo>
                <a:cubicBezTo>
                  <a:pt x="938431" y="385234"/>
                  <a:pt x="923453" y="378361"/>
                  <a:pt x="903717" y="378361"/>
                </a:cubicBezTo>
                <a:close/>
                <a:moveTo>
                  <a:pt x="734000" y="378009"/>
                </a:moveTo>
                <a:cubicBezTo>
                  <a:pt x="712620" y="378009"/>
                  <a:pt x="695468" y="383178"/>
                  <a:pt x="682546" y="393516"/>
                </a:cubicBezTo>
                <a:cubicBezTo>
                  <a:pt x="669624" y="403853"/>
                  <a:pt x="660343" y="418714"/>
                  <a:pt x="654705" y="438097"/>
                </a:cubicBezTo>
                <a:cubicBezTo>
                  <a:pt x="649066" y="457481"/>
                  <a:pt x="646246" y="480682"/>
                  <a:pt x="646246" y="507701"/>
                </a:cubicBezTo>
                <a:cubicBezTo>
                  <a:pt x="646246" y="548348"/>
                  <a:pt x="653295" y="580066"/>
                  <a:pt x="667392" y="602856"/>
                </a:cubicBezTo>
                <a:cubicBezTo>
                  <a:pt x="681489" y="625646"/>
                  <a:pt x="703692" y="637041"/>
                  <a:pt x="734000" y="637041"/>
                </a:cubicBezTo>
                <a:cubicBezTo>
                  <a:pt x="755381" y="637041"/>
                  <a:pt x="772532" y="631872"/>
                  <a:pt x="785454" y="621535"/>
                </a:cubicBezTo>
                <a:cubicBezTo>
                  <a:pt x="798377" y="611197"/>
                  <a:pt x="807716" y="596395"/>
                  <a:pt x="813472" y="577129"/>
                </a:cubicBezTo>
                <a:cubicBezTo>
                  <a:pt x="819228" y="557863"/>
                  <a:pt x="822106" y="534721"/>
                  <a:pt x="822106" y="507701"/>
                </a:cubicBezTo>
                <a:cubicBezTo>
                  <a:pt x="822106" y="466820"/>
                  <a:pt x="814940" y="434984"/>
                  <a:pt x="800609" y="412194"/>
                </a:cubicBezTo>
                <a:cubicBezTo>
                  <a:pt x="786277" y="389404"/>
                  <a:pt x="764074" y="378009"/>
                  <a:pt x="734000" y="378009"/>
                </a:cubicBezTo>
                <a:close/>
                <a:moveTo>
                  <a:pt x="0" y="0"/>
                </a:moveTo>
                <a:lnTo>
                  <a:pt x="381531" y="0"/>
                </a:lnTo>
                <a:lnTo>
                  <a:pt x="564554" y="0"/>
                </a:lnTo>
                <a:lnTo>
                  <a:pt x="874306" y="0"/>
                </a:lnTo>
                <a:cubicBezTo>
                  <a:pt x="1146458" y="0"/>
                  <a:pt x="1367081" y="220623"/>
                  <a:pt x="1367081" y="492775"/>
                </a:cubicBezTo>
                <a:cubicBezTo>
                  <a:pt x="1367081" y="764927"/>
                  <a:pt x="1146458" y="985550"/>
                  <a:pt x="874306" y="985550"/>
                </a:cubicBezTo>
                <a:lnTo>
                  <a:pt x="564554" y="985550"/>
                </a:lnTo>
                <a:lnTo>
                  <a:pt x="381531" y="985550"/>
                </a:lnTo>
                <a:lnTo>
                  <a:pt x="0" y="985550"/>
                </a:lnTo>
                <a:close/>
              </a:path>
            </a:pathLst>
          </a:custGeom>
          <a:solidFill>
            <a:srgbClr val="F8DC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39" name="Freeform: Shape 222">
            <a:extLst>
              <a:ext uri="{FF2B5EF4-FFF2-40B4-BE49-F238E27FC236}">
                <a16:creationId xmlns:a16="http://schemas.microsoft.com/office/drawing/2014/main" id="{9344B5EB-F40C-4933-B343-3699966B4C67}"/>
              </a:ext>
            </a:extLst>
          </p:cNvPr>
          <p:cNvSpPr/>
          <p:nvPr/>
        </p:nvSpPr>
        <p:spPr>
          <a:xfrm>
            <a:off x="2406656" y="3931551"/>
            <a:ext cx="1448375" cy="733560"/>
          </a:xfrm>
          <a:custGeom>
            <a:avLst/>
            <a:gdLst/>
            <a:ahLst/>
            <a:cxnLst/>
            <a:rect l="l" t="t" r="r" b="b"/>
            <a:pathLst>
              <a:path w="1958902" h="985550">
                <a:moveTo>
                  <a:pt x="965985" y="490306"/>
                </a:moveTo>
                <a:cubicBezTo>
                  <a:pt x="977027" y="490306"/>
                  <a:pt x="982549" y="504638"/>
                  <a:pt x="982549" y="533302"/>
                </a:cubicBezTo>
                <a:cubicBezTo>
                  <a:pt x="982549" y="562201"/>
                  <a:pt x="977027" y="576650"/>
                  <a:pt x="965985" y="576650"/>
                </a:cubicBezTo>
                <a:cubicBezTo>
                  <a:pt x="955177" y="576650"/>
                  <a:pt x="949773" y="562201"/>
                  <a:pt x="949773" y="533302"/>
                </a:cubicBezTo>
                <a:cubicBezTo>
                  <a:pt x="949773" y="504638"/>
                  <a:pt x="955177" y="490306"/>
                  <a:pt x="965985" y="490306"/>
                </a:cubicBezTo>
                <a:close/>
                <a:moveTo>
                  <a:pt x="965632" y="454359"/>
                </a:moveTo>
                <a:cubicBezTo>
                  <a:pt x="944957" y="454359"/>
                  <a:pt x="929920" y="461231"/>
                  <a:pt x="920522" y="474976"/>
                </a:cubicBezTo>
                <a:cubicBezTo>
                  <a:pt x="911124" y="488720"/>
                  <a:pt x="906425" y="508045"/>
                  <a:pt x="906425" y="532949"/>
                </a:cubicBezTo>
                <a:cubicBezTo>
                  <a:pt x="906425" y="557854"/>
                  <a:pt x="911418" y="577296"/>
                  <a:pt x="921403" y="591276"/>
                </a:cubicBezTo>
                <a:cubicBezTo>
                  <a:pt x="931388" y="605255"/>
                  <a:pt x="946131" y="612245"/>
                  <a:pt x="965632" y="612245"/>
                </a:cubicBezTo>
                <a:cubicBezTo>
                  <a:pt x="986543" y="612245"/>
                  <a:pt x="1001815" y="605255"/>
                  <a:pt x="1011447" y="591276"/>
                </a:cubicBezTo>
                <a:cubicBezTo>
                  <a:pt x="1021080" y="577296"/>
                  <a:pt x="1025897" y="557854"/>
                  <a:pt x="1025897" y="532949"/>
                </a:cubicBezTo>
                <a:cubicBezTo>
                  <a:pt x="1025897" y="508045"/>
                  <a:pt x="1020787" y="488720"/>
                  <a:pt x="1010566" y="474976"/>
                </a:cubicBezTo>
                <a:cubicBezTo>
                  <a:pt x="1000346" y="461231"/>
                  <a:pt x="985368" y="454359"/>
                  <a:pt x="965632" y="454359"/>
                </a:cubicBezTo>
                <a:close/>
                <a:moveTo>
                  <a:pt x="789772" y="389865"/>
                </a:moveTo>
                <a:cubicBezTo>
                  <a:pt x="800815" y="389865"/>
                  <a:pt x="806336" y="404197"/>
                  <a:pt x="806336" y="432861"/>
                </a:cubicBezTo>
                <a:cubicBezTo>
                  <a:pt x="806336" y="461760"/>
                  <a:pt x="800815" y="476209"/>
                  <a:pt x="789772" y="476209"/>
                </a:cubicBezTo>
                <a:cubicBezTo>
                  <a:pt x="778964" y="476209"/>
                  <a:pt x="773561" y="461760"/>
                  <a:pt x="773561" y="432861"/>
                </a:cubicBezTo>
                <a:cubicBezTo>
                  <a:pt x="773561" y="404197"/>
                  <a:pt x="778964" y="389865"/>
                  <a:pt x="789772" y="389865"/>
                </a:cubicBezTo>
                <a:close/>
                <a:moveTo>
                  <a:pt x="134366" y="388808"/>
                </a:moveTo>
                <a:lnTo>
                  <a:pt x="134366" y="430041"/>
                </a:lnTo>
                <a:lnTo>
                  <a:pt x="252076" y="484667"/>
                </a:lnTo>
                <a:lnTo>
                  <a:pt x="134366" y="532949"/>
                </a:lnTo>
                <a:lnTo>
                  <a:pt x="134366" y="574183"/>
                </a:lnTo>
                <a:lnTo>
                  <a:pt x="305292" y="498764"/>
                </a:lnTo>
                <a:lnTo>
                  <a:pt x="305292" y="474094"/>
                </a:lnTo>
                <a:close/>
                <a:moveTo>
                  <a:pt x="926865" y="357442"/>
                </a:moveTo>
                <a:lnTo>
                  <a:pt x="787305" y="609073"/>
                </a:lnTo>
                <a:lnTo>
                  <a:pt x="828539" y="609073"/>
                </a:lnTo>
                <a:lnTo>
                  <a:pt x="968099" y="357442"/>
                </a:lnTo>
                <a:close/>
                <a:moveTo>
                  <a:pt x="550980" y="357442"/>
                </a:moveTo>
                <a:lnTo>
                  <a:pt x="541465" y="485724"/>
                </a:lnTo>
                <a:lnTo>
                  <a:pt x="562610" y="497002"/>
                </a:lnTo>
                <a:cubicBezTo>
                  <a:pt x="567309" y="495827"/>
                  <a:pt x="573183" y="494594"/>
                  <a:pt x="580232" y="493302"/>
                </a:cubicBezTo>
                <a:cubicBezTo>
                  <a:pt x="587280" y="492009"/>
                  <a:pt x="594094" y="491363"/>
                  <a:pt x="600672" y="491363"/>
                </a:cubicBezTo>
                <a:cubicBezTo>
                  <a:pt x="634270" y="491363"/>
                  <a:pt x="651069" y="504051"/>
                  <a:pt x="651069" y="529425"/>
                </a:cubicBezTo>
                <a:cubicBezTo>
                  <a:pt x="651069" y="543052"/>
                  <a:pt x="646899" y="553096"/>
                  <a:pt x="638558" y="559558"/>
                </a:cubicBezTo>
                <a:cubicBezTo>
                  <a:pt x="630217" y="566019"/>
                  <a:pt x="618176" y="569249"/>
                  <a:pt x="602434" y="569249"/>
                </a:cubicBezTo>
                <a:cubicBezTo>
                  <a:pt x="591627" y="569249"/>
                  <a:pt x="580114" y="567663"/>
                  <a:pt x="567897" y="564491"/>
                </a:cubicBezTo>
                <a:cubicBezTo>
                  <a:pt x="555679" y="561320"/>
                  <a:pt x="545224" y="557502"/>
                  <a:pt x="536531" y="553038"/>
                </a:cubicBezTo>
                <a:lnTo>
                  <a:pt x="536531" y="598853"/>
                </a:lnTo>
                <a:cubicBezTo>
                  <a:pt x="545224" y="603317"/>
                  <a:pt x="555386" y="606724"/>
                  <a:pt x="567016" y="609073"/>
                </a:cubicBezTo>
                <a:cubicBezTo>
                  <a:pt x="578646" y="611423"/>
                  <a:pt x="591039" y="612597"/>
                  <a:pt x="604197" y="612597"/>
                </a:cubicBezTo>
                <a:cubicBezTo>
                  <a:pt x="637324" y="612597"/>
                  <a:pt x="662347" y="604785"/>
                  <a:pt x="679263" y="589161"/>
                </a:cubicBezTo>
                <a:cubicBezTo>
                  <a:pt x="696179" y="573537"/>
                  <a:pt x="704638" y="552098"/>
                  <a:pt x="704638" y="524844"/>
                </a:cubicBezTo>
                <a:cubicBezTo>
                  <a:pt x="704638" y="508162"/>
                  <a:pt x="701172" y="494183"/>
                  <a:pt x="694241" y="482905"/>
                </a:cubicBezTo>
                <a:cubicBezTo>
                  <a:pt x="687310" y="471627"/>
                  <a:pt x="677853" y="463052"/>
                  <a:pt x="665871" y="457178"/>
                </a:cubicBezTo>
                <a:cubicBezTo>
                  <a:pt x="653888" y="451304"/>
                  <a:pt x="640261" y="448367"/>
                  <a:pt x="624990" y="448367"/>
                </a:cubicBezTo>
                <a:cubicBezTo>
                  <a:pt x="616766" y="448367"/>
                  <a:pt x="610364" y="448779"/>
                  <a:pt x="605782" y="449601"/>
                </a:cubicBezTo>
                <a:cubicBezTo>
                  <a:pt x="601201" y="450423"/>
                  <a:pt x="596913" y="451187"/>
                  <a:pt x="592919" y="451892"/>
                </a:cubicBezTo>
                <a:lnTo>
                  <a:pt x="597500" y="402552"/>
                </a:lnTo>
                <a:lnTo>
                  <a:pt x="687369" y="402552"/>
                </a:lnTo>
                <a:lnTo>
                  <a:pt x="687369" y="357442"/>
                </a:lnTo>
                <a:close/>
                <a:moveTo>
                  <a:pt x="421088" y="357442"/>
                </a:moveTo>
                <a:lnTo>
                  <a:pt x="340030" y="421936"/>
                </a:lnTo>
                <a:lnTo>
                  <a:pt x="365757" y="454006"/>
                </a:lnTo>
                <a:lnTo>
                  <a:pt x="394656" y="430746"/>
                </a:lnTo>
                <a:cubicBezTo>
                  <a:pt x="397945" y="427927"/>
                  <a:pt x="401528" y="424696"/>
                  <a:pt x="405405" y="421055"/>
                </a:cubicBezTo>
                <a:cubicBezTo>
                  <a:pt x="409282" y="417413"/>
                  <a:pt x="411807" y="414887"/>
                  <a:pt x="412982" y="413477"/>
                </a:cubicBezTo>
                <a:cubicBezTo>
                  <a:pt x="412512" y="420996"/>
                  <a:pt x="412160" y="429748"/>
                  <a:pt x="411925" y="439733"/>
                </a:cubicBezTo>
                <a:cubicBezTo>
                  <a:pt x="411690" y="449718"/>
                  <a:pt x="411572" y="457648"/>
                  <a:pt x="411572" y="463522"/>
                </a:cubicBezTo>
                <a:lnTo>
                  <a:pt x="411572" y="609073"/>
                </a:lnTo>
                <a:lnTo>
                  <a:pt x="464789" y="609073"/>
                </a:lnTo>
                <a:lnTo>
                  <a:pt x="464789" y="357442"/>
                </a:lnTo>
                <a:close/>
                <a:moveTo>
                  <a:pt x="789420" y="353918"/>
                </a:moveTo>
                <a:cubicBezTo>
                  <a:pt x="768744" y="353918"/>
                  <a:pt x="753707" y="360790"/>
                  <a:pt x="744309" y="374534"/>
                </a:cubicBezTo>
                <a:cubicBezTo>
                  <a:pt x="734911" y="388279"/>
                  <a:pt x="730212" y="407604"/>
                  <a:pt x="730212" y="432508"/>
                </a:cubicBezTo>
                <a:cubicBezTo>
                  <a:pt x="730212" y="457413"/>
                  <a:pt x="735205" y="476855"/>
                  <a:pt x="745190" y="490835"/>
                </a:cubicBezTo>
                <a:cubicBezTo>
                  <a:pt x="755176" y="504814"/>
                  <a:pt x="769919" y="511804"/>
                  <a:pt x="789420" y="511804"/>
                </a:cubicBezTo>
                <a:cubicBezTo>
                  <a:pt x="810330" y="511804"/>
                  <a:pt x="825602" y="504814"/>
                  <a:pt x="835235" y="490835"/>
                </a:cubicBezTo>
                <a:cubicBezTo>
                  <a:pt x="844868" y="476855"/>
                  <a:pt x="849684" y="457413"/>
                  <a:pt x="849684" y="432508"/>
                </a:cubicBezTo>
                <a:cubicBezTo>
                  <a:pt x="849684" y="407604"/>
                  <a:pt x="844574" y="388279"/>
                  <a:pt x="834354" y="374534"/>
                </a:cubicBezTo>
                <a:cubicBezTo>
                  <a:pt x="824134" y="360790"/>
                  <a:pt x="809156" y="353918"/>
                  <a:pt x="789420" y="353918"/>
                </a:cubicBezTo>
                <a:close/>
                <a:moveTo>
                  <a:pt x="0" y="0"/>
                </a:moveTo>
                <a:lnTo>
                  <a:pt x="973352" y="0"/>
                </a:lnTo>
                <a:lnTo>
                  <a:pt x="1049537" y="0"/>
                </a:lnTo>
                <a:lnTo>
                  <a:pt x="1466127" y="0"/>
                </a:lnTo>
                <a:cubicBezTo>
                  <a:pt x="1738279" y="0"/>
                  <a:pt x="1958902" y="220623"/>
                  <a:pt x="1958902" y="492775"/>
                </a:cubicBezTo>
                <a:cubicBezTo>
                  <a:pt x="1958902" y="764927"/>
                  <a:pt x="1738279" y="985550"/>
                  <a:pt x="1466127" y="985550"/>
                </a:cubicBezTo>
                <a:lnTo>
                  <a:pt x="1049537" y="985550"/>
                </a:lnTo>
                <a:lnTo>
                  <a:pt x="973352" y="985550"/>
                </a:lnTo>
                <a:lnTo>
                  <a:pt x="0" y="985550"/>
                </a:lnTo>
                <a:close/>
              </a:path>
            </a:pathLst>
          </a:custGeom>
          <a:solidFill>
            <a:srgbClr val="B1D5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40" name="Freeform: Shape 223">
            <a:extLst>
              <a:ext uri="{FF2B5EF4-FFF2-40B4-BE49-F238E27FC236}">
                <a16:creationId xmlns:a16="http://schemas.microsoft.com/office/drawing/2014/main" id="{739C7B6F-C1BB-467A-89C8-667DBA122ED3}"/>
              </a:ext>
            </a:extLst>
          </p:cNvPr>
          <p:cNvSpPr/>
          <p:nvPr/>
        </p:nvSpPr>
        <p:spPr>
          <a:xfrm>
            <a:off x="2081569" y="1474168"/>
            <a:ext cx="793944" cy="735974"/>
          </a:xfrm>
          <a:custGeom>
            <a:avLst/>
            <a:gdLst/>
            <a:ahLst/>
            <a:cxnLst/>
            <a:rect l="l" t="t" r="r" b="b"/>
            <a:pathLst>
              <a:path w="1104761" h="985608">
                <a:moveTo>
                  <a:pt x="329809" y="516444"/>
                </a:moveTo>
                <a:lnTo>
                  <a:pt x="329809" y="559440"/>
                </a:lnTo>
                <a:lnTo>
                  <a:pt x="422144" y="559440"/>
                </a:lnTo>
                <a:lnTo>
                  <a:pt x="422144" y="516444"/>
                </a:lnTo>
                <a:close/>
                <a:moveTo>
                  <a:pt x="880259" y="513625"/>
                </a:moveTo>
                <a:cubicBezTo>
                  <a:pt x="891301" y="513625"/>
                  <a:pt x="896823" y="527957"/>
                  <a:pt x="896823" y="556621"/>
                </a:cubicBezTo>
                <a:cubicBezTo>
                  <a:pt x="896823" y="585520"/>
                  <a:pt x="891301" y="599969"/>
                  <a:pt x="880259" y="599969"/>
                </a:cubicBezTo>
                <a:cubicBezTo>
                  <a:pt x="869451" y="599969"/>
                  <a:pt x="864047" y="585520"/>
                  <a:pt x="864047" y="556621"/>
                </a:cubicBezTo>
                <a:cubicBezTo>
                  <a:pt x="864047" y="527957"/>
                  <a:pt x="869451" y="513625"/>
                  <a:pt x="880259" y="513625"/>
                </a:cubicBezTo>
                <a:close/>
                <a:moveTo>
                  <a:pt x="879906" y="477677"/>
                </a:moveTo>
                <a:cubicBezTo>
                  <a:pt x="859231" y="477677"/>
                  <a:pt x="844194" y="484550"/>
                  <a:pt x="834796" y="498294"/>
                </a:cubicBezTo>
                <a:cubicBezTo>
                  <a:pt x="825398" y="512039"/>
                  <a:pt x="820699" y="531364"/>
                  <a:pt x="820699" y="556268"/>
                </a:cubicBezTo>
                <a:cubicBezTo>
                  <a:pt x="820699" y="581173"/>
                  <a:pt x="825691" y="600615"/>
                  <a:pt x="835677" y="614595"/>
                </a:cubicBezTo>
                <a:cubicBezTo>
                  <a:pt x="845662" y="628574"/>
                  <a:pt x="860405" y="635564"/>
                  <a:pt x="879906" y="635564"/>
                </a:cubicBezTo>
                <a:cubicBezTo>
                  <a:pt x="900817" y="635564"/>
                  <a:pt x="916089" y="628574"/>
                  <a:pt x="925722" y="614595"/>
                </a:cubicBezTo>
                <a:cubicBezTo>
                  <a:pt x="935354" y="600615"/>
                  <a:pt x="940171" y="581173"/>
                  <a:pt x="940171" y="556268"/>
                </a:cubicBezTo>
                <a:cubicBezTo>
                  <a:pt x="940171" y="531364"/>
                  <a:pt x="935061" y="512039"/>
                  <a:pt x="924840" y="498294"/>
                </a:cubicBezTo>
                <a:cubicBezTo>
                  <a:pt x="914620" y="484550"/>
                  <a:pt x="899642" y="477677"/>
                  <a:pt x="879906" y="477677"/>
                </a:cubicBezTo>
                <a:close/>
                <a:moveTo>
                  <a:pt x="219652" y="419880"/>
                </a:moveTo>
                <a:cubicBezTo>
                  <a:pt x="232809" y="419880"/>
                  <a:pt x="241972" y="427163"/>
                  <a:pt x="247141" y="441730"/>
                </a:cubicBezTo>
                <a:cubicBezTo>
                  <a:pt x="252310" y="456297"/>
                  <a:pt x="254895" y="477912"/>
                  <a:pt x="254895" y="506576"/>
                </a:cubicBezTo>
                <a:cubicBezTo>
                  <a:pt x="254895" y="535475"/>
                  <a:pt x="252310" y="557091"/>
                  <a:pt x="247141" y="571423"/>
                </a:cubicBezTo>
                <a:cubicBezTo>
                  <a:pt x="241972" y="585755"/>
                  <a:pt x="232809" y="592920"/>
                  <a:pt x="219652" y="592920"/>
                </a:cubicBezTo>
                <a:cubicBezTo>
                  <a:pt x="206260" y="592920"/>
                  <a:pt x="197097" y="585696"/>
                  <a:pt x="192163" y="571246"/>
                </a:cubicBezTo>
                <a:cubicBezTo>
                  <a:pt x="187229" y="556797"/>
                  <a:pt x="184762" y="535240"/>
                  <a:pt x="184762" y="506576"/>
                </a:cubicBezTo>
                <a:cubicBezTo>
                  <a:pt x="184762" y="477912"/>
                  <a:pt x="187229" y="456297"/>
                  <a:pt x="192163" y="441730"/>
                </a:cubicBezTo>
                <a:cubicBezTo>
                  <a:pt x="197097" y="427163"/>
                  <a:pt x="206260" y="419880"/>
                  <a:pt x="219652" y="419880"/>
                </a:cubicBezTo>
                <a:close/>
                <a:moveTo>
                  <a:pt x="704046" y="413184"/>
                </a:moveTo>
                <a:cubicBezTo>
                  <a:pt x="715089" y="413184"/>
                  <a:pt x="720610" y="427516"/>
                  <a:pt x="720610" y="456180"/>
                </a:cubicBezTo>
                <a:cubicBezTo>
                  <a:pt x="720610" y="485078"/>
                  <a:pt x="715089" y="499528"/>
                  <a:pt x="704046" y="499528"/>
                </a:cubicBezTo>
                <a:cubicBezTo>
                  <a:pt x="693238" y="499528"/>
                  <a:pt x="687835" y="485078"/>
                  <a:pt x="687835" y="456180"/>
                </a:cubicBezTo>
                <a:cubicBezTo>
                  <a:pt x="687835" y="427516"/>
                  <a:pt x="693238" y="413184"/>
                  <a:pt x="704046" y="413184"/>
                </a:cubicBezTo>
                <a:close/>
                <a:moveTo>
                  <a:pt x="841139" y="380761"/>
                </a:moveTo>
                <a:lnTo>
                  <a:pt x="701579" y="632392"/>
                </a:lnTo>
                <a:lnTo>
                  <a:pt x="742813" y="632392"/>
                </a:lnTo>
                <a:lnTo>
                  <a:pt x="882373" y="380761"/>
                </a:lnTo>
                <a:close/>
                <a:moveTo>
                  <a:pt x="465254" y="380761"/>
                </a:moveTo>
                <a:lnTo>
                  <a:pt x="455739" y="509043"/>
                </a:lnTo>
                <a:lnTo>
                  <a:pt x="476884" y="520321"/>
                </a:lnTo>
                <a:cubicBezTo>
                  <a:pt x="481583" y="519146"/>
                  <a:pt x="487457" y="517913"/>
                  <a:pt x="494506" y="516620"/>
                </a:cubicBezTo>
                <a:cubicBezTo>
                  <a:pt x="501554" y="515328"/>
                  <a:pt x="508368" y="514682"/>
                  <a:pt x="514946" y="514682"/>
                </a:cubicBezTo>
                <a:cubicBezTo>
                  <a:pt x="548544" y="514682"/>
                  <a:pt x="565343" y="527369"/>
                  <a:pt x="565343" y="552744"/>
                </a:cubicBezTo>
                <a:cubicBezTo>
                  <a:pt x="565343" y="566371"/>
                  <a:pt x="561173" y="576415"/>
                  <a:pt x="552832" y="582876"/>
                </a:cubicBezTo>
                <a:cubicBezTo>
                  <a:pt x="544491" y="589338"/>
                  <a:pt x="532450" y="592568"/>
                  <a:pt x="516708" y="592568"/>
                </a:cubicBezTo>
                <a:cubicBezTo>
                  <a:pt x="505901" y="592568"/>
                  <a:pt x="494388" y="590982"/>
                  <a:pt x="482171" y="587810"/>
                </a:cubicBezTo>
                <a:cubicBezTo>
                  <a:pt x="469953" y="584638"/>
                  <a:pt x="459498" y="580821"/>
                  <a:pt x="450805" y="576357"/>
                </a:cubicBezTo>
                <a:lnTo>
                  <a:pt x="450805" y="622172"/>
                </a:lnTo>
                <a:cubicBezTo>
                  <a:pt x="459498" y="626636"/>
                  <a:pt x="469660" y="630043"/>
                  <a:pt x="481290" y="632392"/>
                </a:cubicBezTo>
                <a:cubicBezTo>
                  <a:pt x="492920" y="634742"/>
                  <a:pt x="505313" y="635916"/>
                  <a:pt x="518471" y="635916"/>
                </a:cubicBezTo>
                <a:cubicBezTo>
                  <a:pt x="551598" y="635916"/>
                  <a:pt x="576621" y="628104"/>
                  <a:pt x="593537" y="612480"/>
                </a:cubicBezTo>
                <a:cubicBezTo>
                  <a:pt x="610453" y="596856"/>
                  <a:pt x="618912" y="575417"/>
                  <a:pt x="618912" y="548162"/>
                </a:cubicBezTo>
                <a:cubicBezTo>
                  <a:pt x="618912" y="531481"/>
                  <a:pt x="615446" y="517502"/>
                  <a:pt x="608515" y="506224"/>
                </a:cubicBezTo>
                <a:cubicBezTo>
                  <a:pt x="601584" y="494946"/>
                  <a:pt x="592127" y="486371"/>
                  <a:pt x="580145" y="480497"/>
                </a:cubicBezTo>
                <a:cubicBezTo>
                  <a:pt x="568162" y="474623"/>
                  <a:pt x="554535" y="471686"/>
                  <a:pt x="539264" y="471686"/>
                </a:cubicBezTo>
                <a:cubicBezTo>
                  <a:pt x="531040" y="471686"/>
                  <a:pt x="524638" y="472097"/>
                  <a:pt x="520056" y="472920"/>
                </a:cubicBezTo>
                <a:cubicBezTo>
                  <a:pt x="515475" y="473742"/>
                  <a:pt x="511187" y="474506"/>
                  <a:pt x="507193" y="475211"/>
                </a:cubicBezTo>
                <a:lnTo>
                  <a:pt x="511774" y="425871"/>
                </a:lnTo>
                <a:lnTo>
                  <a:pt x="601643" y="425871"/>
                </a:lnTo>
                <a:lnTo>
                  <a:pt x="601643" y="380761"/>
                </a:lnTo>
                <a:close/>
                <a:moveTo>
                  <a:pt x="703694" y="377236"/>
                </a:moveTo>
                <a:cubicBezTo>
                  <a:pt x="683018" y="377236"/>
                  <a:pt x="667981" y="384109"/>
                  <a:pt x="658583" y="397853"/>
                </a:cubicBezTo>
                <a:cubicBezTo>
                  <a:pt x="649185" y="411598"/>
                  <a:pt x="644486" y="430922"/>
                  <a:pt x="644486" y="455827"/>
                </a:cubicBezTo>
                <a:cubicBezTo>
                  <a:pt x="644486" y="480732"/>
                  <a:pt x="649479" y="500174"/>
                  <a:pt x="659464" y="514153"/>
                </a:cubicBezTo>
                <a:cubicBezTo>
                  <a:pt x="669450" y="528133"/>
                  <a:pt x="684193" y="535123"/>
                  <a:pt x="703694" y="535123"/>
                </a:cubicBezTo>
                <a:cubicBezTo>
                  <a:pt x="724604" y="535123"/>
                  <a:pt x="739876" y="528133"/>
                  <a:pt x="749509" y="514153"/>
                </a:cubicBezTo>
                <a:cubicBezTo>
                  <a:pt x="759142" y="500174"/>
                  <a:pt x="763958" y="480732"/>
                  <a:pt x="763958" y="455827"/>
                </a:cubicBezTo>
                <a:cubicBezTo>
                  <a:pt x="763958" y="430922"/>
                  <a:pt x="758848" y="411598"/>
                  <a:pt x="748628" y="397853"/>
                </a:cubicBezTo>
                <a:cubicBezTo>
                  <a:pt x="738408" y="384109"/>
                  <a:pt x="723429" y="377236"/>
                  <a:pt x="703694" y="377236"/>
                </a:cubicBezTo>
                <a:close/>
                <a:moveTo>
                  <a:pt x="219652" y="376884"/>
                </a:moveTo>
                <a:cubicBezTo>
                  <a:pt x="198272" y="376884"/>
                  <a:pt x="181120" y="382053"/>
                  <a:pt x="168198" y="392391"/>
                </a:cubicBezTo>
                <a:cubicBezTo>
                  <a:pt x="155276" y="402728"/>
                  <a:pt x="145995" y="417589"/>
                  <a:pt x="140357" y="436972"/>
                </a:cubicBezTo>
                <a:cubicBezTo>
                  <a:pt x="134718" y="456356"/>
                  <a:pt x="131898" y="479557"/>
                  <a:pt x="131898" y="506576"/>
                </a:cubicBezTo>
                <a:cubicBezTo>
                  <a:pt x="131898" y="547223"/>
                  <a:pt x="138947" y="578941"/>
                  <a:pt x="153044" y="601731"/>
                </a:cubicBezTo>
                <a:cubicBezTo>
                  <a:pt x="167141" y="624521"/>
                  <a:pt x="189344" y="635916"/>
                  <a:pt x="219652" y="635916"/>
                </a:cubicBezTo>
                <a:cubicBezTo>
                  <a:pt x="241033" y="635916"/>
                  <a:pt x="258184" y="630747"/>
                  <a:pt x="271106" y="620410"/>
                </a:cubicBezTo>
                <a:cubicBezTo>
                  <a:pt x="284028" y="610072"/>
                  <a:pt x="293368" y="595270"/>
                  <a:pt x="299124" y="576004"/>
                </a:cubicBezTo>
                <a:cubicBezTo>
                  <a:pt x="304880" y="556738"/>
                  <a:pt x="307758" y="533596"/>
                  <a:pt x="307758" y="506576"/>
                </a:cubicBezTo>
                <a:cubicBezTo>
                  <a:pt x="307758" y="465695"/>
                  <a:pt x="300592" y="433859"/>
                  <a:pt x="286261" y="411069"/>
                </a:cubicBezTo>
                <a:cubicBezTo>
                  <a:pt x="271929" y="388279"/>
                  <a:pt x="249726" y="376884"/>
                  <a:pt x="219652" y="376884"/>
                </a:cubicBezTo>
                <a:close/>
                <a:moveTo>
                  <a:pt x="0" y="0"/>
                </a:moveTo>
                <a:lnTo>
                  <a:pt x="238423" y="0"/>
                </a:lnTo>
                <a:lnTo>
                  <a:pt x="238423" y="58"/>
                </a:lnTo>
                <a:lnTo>
                  <a:pt x="611986" y="58"/>
                </a:lnTo>
                <a:cubicBezTo>
                  <a:pt x="884138" y="58"/>
                  <a:pt x="1104761" y="220681"/>
                  <a:pt x="1104761" y="492833"/>
                </a:cubicBezTo>
                <a:cubicBezTo>
                  <a:pt x="1104761" y="764985"/>
                  <a:pt x="884138" y="985608"/>
                  <a:pt x="611986" y="985608"/>
                </a:cubicBezTo>
                <a:lnTo>
                  <a:pt x="119211" y="985608"/>
                </a:lnTo>
                <a:lnTo>
                  <a:pt x="119211" y="985550"/>
                </a:lnTo>
                <a:lnTo>
                  <a:pt x="0" y="985550"/>
                </a:lnTo>
                <a:close/>
              </a:path>
            </a:pathLst>
          </a:custGeom>
          <a:solidFill>
            <a:srgbClr val="AAD3D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41" name="TextBox 40">
            <a:extLst>
              <a:ext uri="{FF2B5EF4-FFF2-40B4-BE49-F238E27FC236}">
                <a16:creationId xmlns:a16="http://schemas.microsoft.com/office/drawing/2014/main" id="{1231401B-1C91-4A71-BBF6-43E5B4393DB4}"/>
              </a:ext>
            </a:extLst>
          </p:cNvPr>
          <p:cNvSpPr txBox="1"/>
          <p:nvPr/>
        </p:nvSpPr>
        <p:spPr>
          <a:xfrm>
            <a:off x="4601263" y="2390525"/>
            <a:ext cx="2452429" cy="531520"/>
          </a:xfrm>
          <a:prstGeom prst="rect">
            <a:avLst/>
          </a:prstGeom>
          <a:noFill/>
        </p:spPr>
        <p:txBody>
          <a:bodyPr wrap="square" numCol="1" anchor="ctr">
            <a:spAutoFit/>
          </a:bodyPr>
          <a:lstStyle/>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Prevention of T2D</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Dyslipidemia</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endParaRPr kumimoji="0" lang="en-US"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42" name="TextBox 41">
            <a:extLst>
              <a:ext uri="{FF2B5EF4-FFF2-40B4-BE49-F238E27FC236}">
                <a16:creationId xmlns:a16="http://schemas.microsoft.com/office/drawing/2014/main" id="{10C6882F-D491-40AA-867D-F1FB15A42106}"/>
              </a:ext>
            </a:extLst>
          </p:cNvPr>
          <p:cNvSpPr txBox="1"/>
          <p:nvPr/>
        </p:nvSpPr>
        <p:spPr>
          <a:xfrm>
            <a:off x="1776683" y="2370946"/>
            <a:ext cx="1290418" cy="539697"/>
          </a:xfrm>
          <a:prstGeom prst="rect">
            <a:avLst/>
          </a:prstGeom>
          <a:solidFill>
            <a:srgbClr val="F8DCE5"/>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EEA7BF">
                    <a:lumMod val="75000"/>
                  </a:srgbClr>
                </a:solidFill>
                <a:effectLst/>
                <a:uLnTx/>
                <a:uFillTx/>
                <a:latin typeface="Apis For Office"/>
                <a:ea typeface="+mn-ea"/>
                <a:cs typeface="+mn-cs"/>
              </a:rPr>
              <a:t>5–10%</a:t>
            </a:r>
            <a:endParaRPr kumimoji="0" lang="en-GB" sz="2800" b="1"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44" name="TextBox 43">
            <a:extLst>
              <a:ext uri="{FF2B5EF4-FFF2-40B4-BE49-F238E27FC236}">
                <a16:creationId xmlns:a16="http://schemas.microsoft.com/office/drawing/2014/main" id="{35BC222D-ED11-4976-83C4-C8DF5EECCB1E}"/>
              </a:ext>
            </a:extLst>
          </p:cNvPr>
          <p:cNvSpPr txBox="1"/>
          <p:nvPr/>
        </p:nvSpPr>
        <p:spPr>
          <a:xfrm>
            <a:off x="1776683" y="3930964"/>
            <a:ext cx="1427055" cy="734732"/>
          </a:xfrm>
          <a:prstGeom prst="rect">
            <a:avLst/>
          </a:prstGeom>
          <a:solidFill>
            <a:srgbClr val="B1D5F2"/>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1965"/>
                </a:solidFill>
                <a:effectLst/>
                <a:uLnTx/>
                <a:uFillTx/>
                <a:latin typeface="Apis For Office"/>
                <a:ea typeface="+mn-ea"/>
                <a:cs typeface="+mn-cs"/>
              </a:rPr>
              <a:t>15–20%</a:t>
            </a:r>
            <a:endParaRPr kumimoji="0" lang="en-GB" sz="2800" b="1"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45" name="Freeform: Shape 222">
            <a:extLst>
              <a:ext uri="{FF2B5EF4-FFF2-40B4-BE49-F238E27FC236}">
                <a16:creationId xmlns:a16="http://schemas.microsoft.com/office/drawing/2014/main" id="{5944CD36-B36C-4339-98D7-00F4C97FB8A5}"/>
              </a:ext>
            </a:extLst>
          </p:cNvPr>
          <p:cNvSpPr/>
          <p:nvPr/>
        </p:nvSpPr>
        <p:spPr>
          <a:xfrm>
            <a:off x="2811017" y="4746749"/>
            <a:ext cx="1281961" cy="733560"/>
          </a:xfrm>
          <a:custGeom>
            <a:avLst/>
            <a:gdLst/>
            <a:ahLst/>
            <a:cxnLst/>
            <a:rect l="l" t="t" r="r" b="b"/>
            <a:pathLst>
              <a:path w="1958902" h="985550">
                <a:moveTo>
                  <a:pt x="965985" y="490306"/>
                </a:moveTo>
                <a:cubicBezTo>
                  <a:pt x="977027" y="490306"/>
                  <a:pt x="982549" y="504638"/>
                  <a:pt x="982549" y="533302"/>
                </a:cubicBezTo>
                <a:cubicBezTo>
                  <a:pt x="982549" y="562201"/>
                  <a:pt x="977027" y="576650"/>
                  <a:pt x="965985" y="576650"/>
                </a:cubicBezTo>
                <a:cubicBezTo>
                  <a:pt x="955177" y="576650"/>
                  <a:pt x="949773" y="562201"/>
                  <a:pt x="949773" y="533302"/>
                </a:cubicBezTo>
                <a:cubicBezTo>
                  <a:pt x="949773" y="504638"/>
                  <a:pt x="955177" y="490306"/>
                  <a:pt x="965985" y="490306"/>
                </a:cubicBezTo>
                <a:close/>
                <a:moveTo>
                  <a:pt x="965632" y="454359"/>
                </a:moveTo>
                <a:cubicBezTo>
                  <a:pt x="944957" y="454359"/>
                  <a:pt x="929920" y="461231"/>
                  <a:pt x="920522" y="474976"/>
                </a:cubicBezTo>
                <a:cubicBezTo>
                  <a:pt x="911124" y="488720"/>
                  <a:pt x="906425" y="508045"/>
                  <a:pt x="906425" y="532949"/>
                </a:cubicBezTo>
                <a:cubicBezTo>
                  <a:pt x="906425" y="557854"/>
                  <a:pt x="911418" y="577296"/>
                  <a:pt x="921403" y="591276"/>
                </a:cubicBezTo>
                <a:cubicBezTo>
                  <a:pt x="931388" y="605255"/>
                  <a:pt x="946131" y="612245"/>
                  <a:pt x="965632" y="612245"/>
                </a:cubicBezTo>
                <a:cubicBezTo>
                  <a:pt x="986543" y="612245"/>
                  <a:pt x="1001815" y="605255"/>
                  <a:pt x="1011447" y="591276"/>
                </a:cubicBezTo>
                <a:cubicBezTo>
                  <a:pt x="1021080" y="577296"/>
                  <a:pt x="1025897" y="557854"/>
                  <a:pt x="1025897" y="532949"/>
                </a:cubicBezTo>
                <a:cubicBezTo>
                  <a:pt x="1025897" y="508045"/>
                  <a:pt x="1020787" y="488720"/>
                  <a:pt x="1010566" y="474976"/>
                </a:cubicBezTo>
                <a:cubicBezTo>
                  <a:pt x="1000346" y="461231"/>
                  <a:pt x="985368" y="454359"/>
                  <a:pt x="965632" y="454359"/>
                </a:cubicBezTo>
                <a:close/>
                <a:moveTo>
                  <a:pt x="789772" y="389865"/>
                </a:moveTo>
                <a:cubicBezTo>
                  <a:pt x="800815" y="389865"/>
                  <a:pt x="806336" y="404197"/>
                  <a:pt x="806336" y="432861"/>
                </a:cubicBezTo>
                <a:cubicBezTo>
                  <a:pt x="806336" y="461760"/>
                  <a:pt x="800815" y="476209"/>
                  <a:pt x="789772" y="476209"/>
                </a:cubicBezTo>
                <a:cubicBezTo>
                  <a:pt x="778964" y="476209"/>
                  <a:pt x="773561" y="461760"/>
                  <a:pt x="773561" y="432861"/>
                </a:cubicBezTo>
                <a:cubicBezTo>
                  <a:pt x="773561" y="404197"/>
                  <a:pt x="778964" y="389865"/>
                  <a:pt x="789772" y="389865"/>
                </a:cubicBezTo>
                <a:close/>
                <a:moveTo>
                  <a:pt x="134366" y="388808"/>
                </a:moveTo>
                <a:lnTo>
                  <a:pt x="134366" y="430041"/>
                </a:lnTo>
                <a:lnTo>
                  <a:pt x="252076" y="484667"/>
                </a:lnTo>
                <a:lnTo>
                  <a:pt x="134366" y="532949"/>
                </a:lnTo>
                <a:lnTo>
                  <a:pt x="134366" y="574183"/>
                </a:lnTo>
                <a:lnTo>
                  <a:pt x="305292" y="498764"/>
                </a:lnTo>
                <a:lnTo>
                  <a:pt x="305292" y="474094"/>
                </a:lnTo>
                <a:close/>
                <a:moveTo>
                  <a:pt x="926865" y="357442"/>
                </a:moveTo>
                <a:lnTo>
                  <a:pt x="787305" y="609073"/>
                </a:lnTo>
                <a:lnTo>
                  <a:pt x="828539" y="609073"/>
                </a:lnTo>
                <a:lnTo>
                  <a:pt x="968099" y="357442"/>
                </a:lnTo>
                <a:close/>
                <a:moveTo>
                  <a:pt x="550980" y="357442"/>
                </a:moveTo>
                <a:lnTo>
                  <a:pt x="541465" y="485724"/>
                </a:lnTo>
                <a:lnTo>
                  <a:pt x="562610" y="497002"/>
                </a:lnTo>
                <a:cubicBezTo>
                  <a:pt x="567309" y="495827"/>
                  <a:pt x="573183" y="494594"/>
                  <a:pt x="580232" y="493302"/>
                </a:cubicBezTo>
                <a:cubicBezTo>
                  <a:pt x="587280" y="492009"/>
                  <a:pt x="594094" y="491363"/>
                  <a:pt x="600672" y="491363"/>
                </a:cubicBezTo>
                <a:cubicBezTo>
                  <a:pt x="634270" y="491363"/>
                  <a:pt x="651069" y="504051"/>
                  <a:pt x="651069" y="529425"/>
                </a:cubicBezTo>
                <a:cubicBezTo>
                  <a:pt x="651069" y="543052"/>
                  <a:pt x="646899" y="553096"/>
                  <a:pt x="638558" y="559558"/>
                </a:cubicBezTo>
                <a:cubicBezTo>
                  <a:pt x="630217" y="566019"/>
                  <a:pt x="618176" y="569249"/>
                  <a:pt x="602434" y="569249"/>
                </a:cubicBezTo>
                <a:cubicBezTo>
                  <a:pt x="591627" y="569249"/>
                  <a:pt x="580114" y="567663"/>
                  <a:pt x="567897" y="564491"/>
                </a:cubicBezTo>
                <a:cubicBezTo>
                  <a:pt x="555679" y="561320"/>
                  <a:pt x="545224" y="557502"/>
                  <a:pt x="536531" y="553038"/>
                </a:cubicBezTo>
                <a:lnTo>
                  <a:pt x="536531" y="598853"/>
                </a:lnTo>
                <a:cubicBezTo>
                  <a:pt x="545224" y="603317"/>
                  <a:pt x="555386" y="606724"/>
                  <a:pt x="567016" y="609073"/>
                </a:cubicBezTo>
                <a:cubicBezTo>
                  <a:pt x="578646" y="611423"/>
                  <a:pt x="591039" y="612597"/>
                  <a:pt x="604197" y="612597"/>
                </a:cubicBezTo>
                <a:cubicBezTo>
                  <a:pt x="637324" y="612597"/>
                  <a:pt x="662347" y="604785"/>
                  <a:pt x="679263" y="589161"/>
                </a:cubicBezTo>
                <a:cubicBezTo>
                  <a:pt x="696179" y="573537"/>
                  <a:pt x="704638" y="552098"/>
                  <a:pt x="704638" y="524844"/>
                </a:cubicBezTo>
                <a:cubicBezTo>
                  <a:pt x="704638" y="508162"/>
                  <a:pt x="701172" y="494183"/>
                  <a:pt x="694241" y="482905"/>
                </a:cubicBezTo>
                <a:cubicBezTo>
                  <a:pt x="687310" y="471627"/>
                  <a:pt x="677853" y="463052"/>
                  <a:pt x="665871" y="457178"/>
                </a:cubicBezTo>
                <a:cubicBezTo>
                  <a:pt x="653888" y="451304"/>
                  <a:pt x="640261" y="448367"/>
                  <a:pt x="624990" y="448367"/>
                </a:cubicBezTo>
                <a:cubicBezTo>
                  <a:pt x="616766" y="448367"/>
                  <a:pt x="610364" y="448779"/>
                  <a:pt x="605782" y="449601"/>
                </a:cubicBezTo>
                <a:cubicBezTo>
                  <a:pt x="601201" y="450423"/>
                  <a:pt x="596913" y="451187"/>
                  <a:pt x="592919" y="451892"/>
                </a:cubicBezTo>
                <a:lnTo>
                  <a:pt x="597500" y="402552"/>
                </a:lnTo>
                <a:lnTo>
                  <a:pt x="687369" y="402552"/>
                </a:lnTo>
                <a:lnTo>
                  <a:pt x="687369" y="357442"/>
                </a:lnTo>
                <a:close/>
                <a:moveTo>
                  <a:pt x="421088" y="357442"/>
                </a:moveTo>
                <a:lnTo>
                  <a:pt x="340030" y="421936"/>
                </a:lnTo>
                <a:lnTo>
                  <a:pt x="365757" y="454006"/>
                </a:lnTo>
                <a:lnTo>
                  <a:pt x="394656" y="430746"/>
                </a:lnTo>
                <a:cubicBezTo>
                  <a:pt x="397945" y="427927"/>
                  <a:pt x="401528" y="424696"/>
                  <a:pt x="405405" y="421055"/>
                </a:cubicBezTo>
                <a:cubicBezTo>
                  <a:pt x="409282" y="417413"/>
                  <a:pt x="411807" y="414887"/>
                  <a:pt x="412982" y="413477"/>
                </a:cubicBezTo>
                <a:cubicBezTo>
                  <a:pt x="412512" y="420996"/>
                  <a:pt x="412160" y="429748"/>
                  <a:pt x="411925" y="439733"/>
                </a:cubicBezTo>
                <a:cubicBezTo>
                  <a:pt x="411690" y="449718"/>
                  <a:pt x="411572" y="457648"/>
                  <a:pt x="411572" y="463522"/>
                </a:cubicBezTo>
                <a:lnTo>
                  <a:pt x="411572" y="609073"/>
                </a:lnTo>
                <a:lnTo>
                  <a:pt x="464789" y="609073"/>
                </a:lnTo>
                <a:lnTo>
                  <a:pt x="464789" y="357442"/>
                </a:lnTo>
                <a:close/>
                <a:moveTo>
                  <a:pt x="789420" y="353918"/>
                </a:moveTo>
                <a:cubicBezTo>
                  <a:pt x="768744" y="353918"/>
                  <a:pt x="753707" y="360790"/>
                  <a:pt x="744309" y="374534"/>
                </a:cubicBezTo>
                <a:cubicBezTo>
                  <a:pt x="734911" y="388279"/>
                  <a:pt x="730212" y="407604"/>
                  <a:pt x="730212" y="432508"/>
                </a:cubicBezTo>
                <a:cubicBezTo>
                  <a:pt x="730212" y="457413"/>
                  <a:pt x="735205" y="476855"/>
                  <a:pt x="745190" y="490835"/>
                </a:cubicBezTo>
                <a:cubicBezTo>
                  <a:pt x="755176" y="504814"/>
                  <a:pt x="769919" y="511804"/>
                  <a:pt x="789420" y="511804"/>
                </a:cubicBezTo>
                <a:cubicBezTo>
                  <a:pt x="810330" y="511804"/>
                  <a:pt x="825602" y="504814"/>
                  <a:pt x="835235" y="490835"/>
                </a:cubicBezTo>
                <a:cubicBezTo>
                  <a:pt x="844868" y="476855"/>
                  <a:pt x="849684" y="457413"/>
                  <a:pt x="849684" y="432508"/>
                </a:cubicBezTo>
                <a:cubicBezTo>
                  <a:pt x="849684" y="407604"/>
                  <a:pt x="844574" y="388279"/>
                  <a:pt x="834354" y="374534"/>
                </a:cubicBezTo>
                <a:cubicBezTo>
                  <a:pt x="824134" y="360790"/>
                  <a:pt x="809156" y="353918"/>
                  <a:pt x="789420" y="353918"/>
                </a:cubicBezTo>
                <a:close/>
                <a:moveTo>
                  <a:pt x="0" y="0"/>
                </a:moveTo>
                <a:lnTo>
                  <a:pt x="973352" y="0"/>
                </a:lnTo>
                <a:lnTo>
                  <a:pt x="1049537" y="0"/>
                </a:lnTo>
                <a:lnTo>
                  <a:pt x="1466127" y="0"/>
                </a:lnTo>
                <a:cubicBezTo>
                  <a:pt x="1738279" y="0"/>
                  <a:pt x="1958902" y="220623"/>
                  <a:pt x="1958902" y="492775"/>
                </a:cubicBezTo>
                <a:cubicBezTo>
                  <a:pt x="1958902" y="764927"/>
                  <a:pt x="1738279" y="985550"/>
                  <a:pt x="1466127" y="985550"/>
                </a:cubicBezTo>
                <a:lnTo>
                  <a:pt x="1049537" y="985550"/>
                </a:lnTo>
                <a:lnTo>
                  <a:pt x="973352" y="985550"/>
                </a:lnTo>
                <a:lnTo>
                  <a:pt x="0" y="985550"/>
                </a:lnTo>
                <a:close/>
              </a:path>
            </a:pathLst>
          </a:custGeom>
          <a:solidFill>
            <a:srgbClr val="99BD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err="1">
              <a:ln>
                <a:noFill/>
              </a:ln>
              <a:solidFill>
                <a:srgbClr val="001965"/>
              </a:solidFill>
              <a:effectLst/>
              <a:uLnTx/>
              <a:uFillTx/>
              <a:latin typeface="Apis For Office"/>
              <a:ea typeface="+mn-ea"/>
              <a:cs typeface="+mn-cs"/>
            </a:endParaRPr>
          </a:p>
        </p:txBody>
      </p:sp>
      <p:sp>
        <p:nvSpPr>
          <p:cNvPr id="47" name="TextBox 46">
            <a:extLst>
              <a:ext uri="{FF2B5EF4-FFF2-40B4-BE49-F238E27FC236}">
                <a16:creationId xmlns:a16="http://schemas.microsoft.com/office/drawing/2014/main" id="{3DC53B2A-8A7D-480B-8284-6CAB05C47D88}"/>
              </a:ext>
            </a:extLst>
          </p:cNvPr>
          <p:cNvSpPr txBox="1"/>
          <p:nvPr/>
        </p:nvSpPr>
        <p:spPr>
          <a:xfrm>
            <a:off x="1776683" y="4746161"/>
            <a:ext cx="1854940" cy="734734"/>
          </a:xfrm>
          <a:prstGeom prst="rect">
            <a:avLst/>
          </a:prstGeom>
          <a:solidFill>
            <a:srgbClr val="99BDED"/>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5AD2">
                    <a:lumMod val="50000"/>
                  </a:srgbClr>
                </a:solidFill>
                <a:effectLst/>
                <a:uLnTx/>
                <a:uFillTx/>
                <a:latin typeface="Apis For Office"/>
                <a:ea typeface="+mn-ea"/>
                <a:cs typeface="+mn-cs"/>
              </a:rPr>
              <a:t> &gt;20%      </a:t>
            </a:r>
            <a:endParaRPr kumimoji="0" lang="en-GB" sz="2800" b="1" i="0" u="none" strike="noStrike" kern="1200" cap="none" spc="0" normalizeH="0" baseline="0" noProof="0" dirty="0">
              <a:ln>
                <a:noFill/>
              </a:ln>
              <a:solidFill>
                <a:srgbClr val="005AD2">
                  <a:lumMod val="50000"/>
                </a:srgbClr>
              </a:solidFill>
              <a:effectLst/>
              <a:uLnTx/>
              <a:uFillTx/>
              <a:latin typeface="Apis For Office"/>
              <a:ea typeface="+mn-ea"/>
              <a:cs typeface="+mn-cs"/>
            </a:endParaRPr>
          </a:p>
        </p:txBody>
      </p:sp>
      <p:sp>
        <p:nvSpPr>
          <p:cNvPr id="48" name="TextBox 47">
            <a:extLst>
              <a:ext uri="{FF2B5EF4-FFF2-40B4-BE49-F238E27FC236}">
                <a16:creationId xmlns:a16="http://schemas.microsoft.com/office/drawing/2014/main" id="{71D14F88-9F9C-4B72-A05C-092544CEAE9A}"/>
              </a:ext>
            </a:extLst>
          </p:cNvPr>
          <p:cNvSpPr txBox="1"/>
          <p:nvPr/>
        </p:nvSpPr>
        <p:spPr>
          <a:xfrm>
            <a:off x="4634276" y="4565138"/>
            <a:ext cx="2694960" cy="909163"/>
          </a:xfrm>
          <a:prstGeom prst="rect">
            <a:avLst/>
          </a:prstGeom>
          <a:noFill/>
        </p:spPr>
        <p:txBody>
          <a:bodyPr wrap="square" numCol="1" anchor="ctr">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HFpEF</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6</a:t>
            </a: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Advanced T2D remission</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7,8*</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6213" marR="0" lvl="0" indent="-176213" algn="l" defTabSz="91437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Postural instability</a:t>
            </a:r>
            <a:r>
              <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9</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49" name="TextBox 48">
            <a:extLst>
              <a:ext uri="{FF2B5EF4-FFF2-40B4-BE49-F238E27FC236}">
                <a16:creationId xmlns:a16="http://schemas.microsoft.com/office/drawing/2014/main" id="{BC981A75-D33C-43E2-B570-C5858EC86E3E}"/>
              </a:ext>
            </a:extLst>
          </p:cNvPr>
          <p:cNvSpPr txBox="1"/>
          <p:nvPr/>
        </p:nvSpPr>
        <p:spPr>
          <a:xfrm>
            <a:off x="1776683" y="1472498"/>
            <a:ext cx="712550" cy="734732"/>
          </a:xfrm>
          <a:prstGeom prst="rect">
            <a:avLst/>
          </a:prstGeom>
          <a:solidFill>
            <a:srgbClr val="AAD3D1"/>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50" name="TextBox 49">
            <a:extLst>
              <a:ext uri="{FF2B5EF4-FFF2-40B4-BE49-F238E27FC236}">
                <a16:creationId xmlns:a16="http://schemas.microsoft.com/office/drawing/2014/main" id="{2EAE9220-2CA7-4F7A-B4D6-51A4E293A49E}"/>
              </a:ext>
            </a:extLst>
          </p:cNvPr>
          <p:cNvSpPr txBox="1"/>
          <p:nvPr/>
        </p:nvSpPr>
        <p:spPr>
          <a:xfrm>
            <a:off x="1776683" y="1684304"/>
            <a:ext cx="1024209" cy="305166"/>
          </a:xfrm>
          <a:prstGeom prst="rect">
            <a:avLst/>
          </a:prstGeom>
          <a:solidFill>
            <a:srgbClr val="AAD3D1"/>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2A918B"/>
                </a:solidFill>
                <a:effectLst/>
                <a:uLnTx/>
                <a:uFillTx/>
                <a:latin typeface="Apis For Office"/>
                <a:ea typeface="+mn-ea"/>
                <a:cs typeface="+mn-cs"/>
              </a:rPr>
              <a:t>0–5%</a:t>
            </a:r>
            <a:endParaRPr kumimoji="0" lang="en-GB" sz="2800" b="1" i="0" u="none" strike="noStrike" kern="1200" cap="none" spc="0" normalizeH="0" baseline="0" noProof="0" dirty="0">
              <a:ln>
                <a:noFill/>
              </a:ln>
              <a:solidFill>
                <a:srgbClr val="2A918B"/>
              </a:solidFill>
              <a:effectLst/>
              <a:uLnTx/>
              <a:uFillTx/>
              <a:latin typeface="Apis For Office"/>
              <a:ea typeface="+mn-ea"/>
              <a:cs typeface="+mn-cs"/>
            </a:endParaRPr>
          </a:p>
        </p:txBody>
      </p:sp>
      <p:grpSp>
        <p:nvGrpSpPr>
          <p:cNvPr id="2" name="Group 1">
            <a:extLst>
              <a:ext uri="{FF2B5EF4-FFF2-40B4-BE49-F238E27FC236}">
                <a16:creationId xmlns:a16="http://schemas.microsoft.com/office/drawing/2014/main" id="{791C1E8F-16E1-476B-8A8A-B84FC59BB4EC}"/>
              </a:ext>
            </a:extLst>
          </p:cNvPr>
          <p:cNvGrpSpPr/>
          <p:nvPr/>
        </p:nvGrpSpPr>
        <p:grpSpPr>
          <a:xfrm>
            <a:off x="2026479" y="3117586"/>
            <a:ext cx="1494911" cy="735974"/>
            <a:chOff x="2011239" y="3117586"/>
            <a:chExt cx="1494911" cy="735974"/>
          </a:xfrm>
        </p:grpSpPr>
        <p:sp>
          <p:nvSpPr>
            <p:cNvPr id="38" name="Freeform: Shape 221">
              <a:extLst>
                <a:ext uri="{FF2B5EF4-FFF2-40B4-BE49-F238E27FC236}">
                  <a16:creationId xmlns:a16="http://schemas.microsoft.com/office/drawing/2014/main" id="{7737B06A-0523-4B67-AE47-4D4C35CDC986}"/>
                </a:ext>
              </a:extLst>
            </p:cNvPr>
            <p:cNvSpPr/>
            <p:nvPr/>
          </p:nvSpPr>
          <p:spPr>
            <a:xfrm>
              <a:off x="2412515" y="3117586"/>
              <a:ext cx="1093635" cy="735974"/>
            </a:xfrm>
            <a:custGeom>
              <a:avLst/>
              <a:gdLst/>
              <a:ahLst/>
              <a:cxnLst/>
              <a:rect l="l" t="t" r="r" b="b"/>
              <a:pathLst>
                <a:path w="1627485" h="985550">
                  <a:moveTo>
                    <a:pt x="529832" y="517271"/>
                  </a:moveTo>
                  <a:lnTo>
                    <a:pt x="529832" y="560267"/>
                  </a:lnTo>
                  <a:lnTo>
                    <a:pt x="622167" y="560267"/>
                  </a:lnTo>
                  <a:lnTo>
                    <a:pt x="622167" y="517271"/>
                  </a:lnTo>
                  <a:close/>
                  <a:moveTo>
                    <a:pt x="1280307" y="514452"/>
                  </a:moveTo>
                  <a:cubicBezTo>
                    <a:pt x="1291349" y="514452"/>
                    <a:pt x="1296871" y="528784"/>
                    <a:pt x="1296871" y="557448"/>
                  </a:cubicBezTo>
                  <a:cubicBezTo>
                    <a:pt x="1296871" y="586347"/>
                    <a:pt x="1291349" y="600796"/>
                    <a:pt x="1280307" y="600796"/>
                  </a:cubicBezTo>
                  <a:cubicBezTo>
                    <a:pt x="1269499" y="600796"/>
                    <a:pt x="1264095" y="586347"/>
                    <a:pt x="1264095" y="557448"/>
                  </a:cubicBezTo>
                  <a:cubicBezTo>
                    <a:pt x="1264095" y="528784"/>
                    <a:pt x="1269499" y="514452"/>
                    <a:pt x="1280307" y="514452"/>
                  </a:cubicBezTo>
                  <a:close/>
                  <a:moveTo>
                    <a:pt x="1279954" y="478505"/>
                  </a:moveTo>
                  <a:cubicBezTo>
                    <a:pt x="1259279" y="478505"/>
                    <a:pt x="1244242" y="485377"/>
                    <a:pt x="1234844" y="499121"/>
                  </a:cubicBezTo>
                  <a:cubicBezTo>
                    <a:pt x="1225446" y="512866"/>
                    <a:pt x="1220747" y="532191"/>
                    <a:pt x="1220747" y="557095"/>
                  </a:cubicBezTo>
                  <a:cubicBezTo>
                    <a:pt x="1220747" y="582000"/>
                    <a:pt x="1225740" y="601442"/>
                    <a:pt x="1235725" y="615422"/>
                  </a:cubicBezTo>
                  <a:cubicBezTo>
                    <a:pt x="1245710" y="629401"/>
                    <a:pt x="1260453" y="636391"/>
                    <a:pt x="1279954" y="636391"/>
                  </a:cubicBezTo>
                  <a:cubicBezTo>
                    <a:pt x="1300865" y="636391"/>
                    <a:pt x="1316137" y="629401"/>
                    <a:pt x="1325770" y="615422"/>
                  </a:cubicBezTo>
                  <a:cubicBezTo>
                    <a:pt x="1335402" y="601442"/>
                    <a:pt x="1340219" y="582000"/>
                    <a:pt x="1340219" y="557095"/>
                  </a:cubicBezTo>
                  <a:cubicBezTo>
                    <a:pt x="1340219" y="532191"/>
                    <a:pt x="1335109" y="512866"/>
                    <a:pt x="1324889" y="499121"/>
                  </a:cubicBezTo>
                  <a:cubicBezTo>
                    <a:pt x="1314668" y="485377"/>
                    <a:pt x="1299690" y="478505"/>
                    <a:pt x="1279954" y="478505"/>
                  </a:cubicBezTo>
                  <a:close/>
                  <a:moveTo>
                    <a:pt x="419675" y="420707"/>
                  </a:moveTo>
                  <a:cubicBezTo>
                    <a:pt x="432832" y="420707"/>
                    <a:pt x="441995" y="427990"/>
                    <a:pt x="447164" y="442557"/>
                  </a:cubicBezTo>
                  <a:cubicBezTo>
                    <a:pt x="452333" y="457124"/>
                    <a:pt x="454918" y="478739"/>
                    <a:pt x="454918" y="507403"/>
                  </a:cubicBezTo>
                  <a:cubicBezTo>
                    <a:pt x="454918" y="536302"/>
                    <a:pt x="452333" y="557918"/>
                    <a:pt x="447164" y="572250"/>
                  </a:cubicBezTo>
                  <a:cubicBezTo>
                    <a:pt x="441995" y="586582"/>
                    <a:pt x="432832" y="593748"/>
                    <a:pt x="419675" y="593748"/>
                  </a:cubicBezTo>
                  <a:cubicBezTo>
                    <a:pt x="406283" y="593748"/>
                    <a:pt x="397120" y="586523"/>
                    <a:pt x="392186" y="572073"/>
                  </a:cubicBezTo>
                  <a:cubicBezTo>
                    <a:pt x="387252" y="557624"/>
                    <a:pt x="384785" y="536067"/>
                    <a:pt x="384785" y="507403"/>
                  </a:cubicBezTo>
                  <a:cubicBezTo>
                    <a:pt x="384785" y="478739"/>
                    <a:pt x="387252" y="457124"/>
                    <a:pt x="392186" y="442557"/>
                  </a:cubicBezTo>
                  <a:cubicBezTo>
                    <a:pt x="397120" y="427990"/>
                    <a:pt x="406283" y="420707"/>
                    <a:pt x="419675" y="420707"/>
                  </a:cubicBezTo>
                  <a:close/>
                  <a:moveTo>
                    <a:pt x="1104094" y="414011"/>
                  </a:moveTo>
                  <a:cubicBezTo>
                    <a:pt x="1115137" y="414011"/>
                    <a:pt x="1120658" y="428343"/>
                    <a:pt x="1120658" y="457007"/>
                  </a:cubicBezTo>
                  <a:cubicBezTo>
                    <a:pt x="1120658" y="485905"/>
                    <a:pt x="1115137" y="500355"/>
                    <a:pt x="1104094" y="500355"/>
                  </a:cubicBezTo>
                  <a:cubicBezTo>
                    <a:pt x="1093286" y="500355"/>
                    <a:pt x="1087883" y="485905"/>
                    <a:pt x="1087883" y="457007"/>
                  </a:cubicBezTo>
                  <a:cubicBezTo>
                    <a:pt x="1087883" y="428343"/>
                    <a:pt x="1093286" y="414011"/>
                    <a:pt x="1104094" y="414011"/>
                  </a:cubicBezTo>
                  <a:close/>
                  <a:moveTo>
                    <a:pt x="1241188" y="381588"/>
                  </a:moveTo>
                  <a:lnTo>
                    <a:pt x="1101627" y="633219"/>
                  </a:lnTo>
                  <a:lnTo>
                    <a:pt x="1142861" y="633219"/>
                  </a:lnTo>
                  <a:lnTo>
                    <a:pt x="1282421" y="381588"/>
                  </a:lnTo>
                  <a:close/>
                  <a:moveTo>
                    <a:pt x="865302" y="381588"/>
                  </a:moveTo>
                  <a:lnTo>
                    <a:pt x="855787" y="509870"/>
                  </a:lnTo>
                  <a:lnTo>
                    <a:pt x="876932" y="521148"/>
                  </a:lnTo>
                  <a:cubicBezTo>
                    <a:pt x="881631" y="519973"/>
                    <a:pt x="887505" y="518740"/>
                    <a:pt x="894554" y="517448"/>
                  </a:cubicBezTo>
                  <a:cubicBezTo>
                    <a:pt x="901602" y="516155"/>
                    <a:pt x="908416" y="515509"/>
                    <a:pt x="914994" y="515509"/>
                  </a:cubicBezTo>
                  <a:cubicBezTo>
                    <a:pt x="948592" y="515509"/>
                    <a:pt x="965391" y="528196"/>
                    <a:pt x="965391" y="553571"/>
                  </a:cubicBezTo>
                  <a:cubicBezTo>
                    <a:pt x="965391" y="567198"/>
                    <a:pt x="961221" y="577242"/>
                    <a:pt x="952880" y="583703"/>
                  </a:cubicBezTo>
                  <a:cubicBezTo>
                    <a:pt x="944539" y="590165"/>
                    <a:pt x="932498" y="593395"/>
                    <a:pt x="916756" y="593395"/>
                  </a:cubicBezTo>
                  <a:cubicBezTo>
                    <a:pt x="905949" y="593395"/>
                    <a:pt x="894436" y="591809"/>
                    <a:pt x="882219" y="588637"/>
                  </a:cubicBezTo>
                  <a:cubicBezTo>
                    <a:pt x="870001" y="585466"/>
                    <a:pt x="859546" y="581648"/>
                    <a:pt x="850853" y="577184"/>
                  </a:cubicBezTo>
                  <a:lnTo>
                    <a:pt x="850853" y="622999"/>
                  </a:lnTo>
                  <a:cubicBezTo>
                    <a:pt x="859546" y="627463"/>
                    <a:pt x="869708" y="630870"/>
                    <a:pt x="881338" y="633219"/>
                  </a:cubicBezTo>
                  <a:cubicBezTo>
                    <a:pt x="892968" y="635569"/>
                    <a:pt x="905361" y="636743"/>
                    <a:pt x="918519" y="636743"/>
                  </a:cubicBezTo>
                  <a:cubicBezTo>
                    <a:pt x="951647" y="636743"/>
                    <a:pt x="976669" y="628931"/>
                    <a:pt x="993585" y="613307"/>
                  </a:cubicBezTo>
                  <a:cubicBezTo>
                    <a:pt x="1010501" y="597683"/>
                    <a:pt x="1018960" y="576244"/>
                    <a:pt x="1018960" y="548990"/>
                  </a:cubicBezTo>
                  <a:cubicBezTo>
                    <a:pt x="1018960" y="532308"/>
                    <a:pt x="1015494" y="518329"/>
                    <a:pt x="1008563" y="507051"/>
                  </a:cubicBezTo>
                  <a:cubicBezTo>
                    <a:pt x="1001632" y="495773"/>
                    <a:pt x="992175" y="487198"/>
                    <a:pt x="980193" y="481324"/>
                  </a:cubicBezTo>
                  <a:cubicBezTo>
                    <a:pt x="968211" y="475450"/>
                    <a:pt x="954583" y="472513"/>
                    <a:pt x="939312" y="472513"/>
                  </a:cubicBezTo>
                  <a:cubicBezTo>
                    <a:pt x="931088" y="472513"/>
                    <a:pt x="924686" y="472924"/>
                    <a:pt x="920105" y="473747"/>
                  </a:cubicBezTo>
                  <a:cubicBezTo>
                    <a:pt x="915523" y="474569"/>
                    <a:pt x="911235" y="475333"/>
                    <a:pt x="907241" y="476038"/>
                  </a:cubicBezTo>
                  <a:lnTo>
                    <a:pt x="911823" y="426698"/>
                  </a:lnTo>
                  <a:lnTo>
                    <a:pt x="1001691" y="426698"/>
                  </a:lnTo>
                  <a:lnTo>
                    <a:pt x="1001691" y="381588"/>
                  </a:lnTo>
                  <a:close/>
                  <a:moveTo>
                    <a:pt x="735410" y="381588"/>
                  </a:moveTo>
                  <a:lnTo>
                    <a:pt x="654352" y="446081"/>
                  </a:lnTo>
                  <a:lnTo>
                    <a:pt x="680079" y="478152"/>
                  </a:lnTo>
                  <a:lnTo>
                    <a:pt x="708978" y="454892"/>
                  </a:lnTo>
                  <a:cubicBezTo>
                    <a:pt x="712267" y="452073"/>
                    <a:pt x="715850" y="448842"/>
                    <a:pt x="719727" y="445200"/>
                  </a:cubicBezTo>
                  <a:cubicBezTo>
                    <a:pt x="723604" y="441559"/>
                    <a:pt x="726129" y="439033"/>
                    <a:pt x="727304" y="437623"/>
                  </a:cubicBezTo>
                  <a:cubicBezTo>
                    <a:pt x="726834" y="445142"/>
                    <a:pt x="726482" y="453894"/>
                    <a:pt x="726247" y="463879"/>
                  </a:cubicBezTo>
                  <a:cubicBezTo>
                    <a:pt x="726012" y="473864"/>
                    <a:pt x="725894" y="481794"/>
                    <a:pt x="725894" y="487668"/>
                  </a:cubicBezTo>
                  <a:lnTo>
                    <a:pt x="725894" y="633219"/>
                  </a:lnTo>
                  <a:lnTo>
                    <a:pt x="779111" y="633219"/>
                  </a:lnTo>
                  <a:lnTo>
                    <a:pt x="779111" y="381588"/>
                  </a:lnTo>
                  <a:close/>
                  <a:moveTo>
                    <a:pt x="221060" y="381588"/>
                  </a:moveTo>
                  <a:lnTo>
                    <a:pt x="140002" y="446081"/>
                  </a:lnTo>
                  <a:lnTo>
                    <a:pt x="165729" y="478152"/>
                  </a:lnTo>
                  <a:lnTo>
                    <a:pt x="194628" y="454892"/>
                  </a:lnTo>
                  <a:cubicBezTo>
                    <a:pt x="197917" y="452073"/>
                    <a:pt x="201500" y="448842"/>
                    <a:pt x="205377" y="445200"/>
                  </a:cubicBezTo>
                  <a:cubicBezTo>
                    <a:pt x="209254" y="441559"/>
                    <a:pt x="211779" y="439033"/>
                    <a:pt x="212954" y="437623"/>
                  </a:cubicBezTo>
                  <a:cubicBezTo>
                    <a:pt x="212484" y="445142"/>
                    <a:pt x="212132" y="453894"/>
                    <a:pt x="211897" y="463879"/>
                  </a:cubicBezTo>
                  <a:cubicBezTo>
                    <a:pt x="211662" y="473864"/>
                    <a:pt x="211544" y="481794"/>
                    <a:pt x="211544" y="487668"/>
                  </a:cubicBezTo>
                  <a:lnTo>
                    <a:pt x="211544" y="633219"/>
                  </a:lnTo>
                  <a:lnTo>
                    <a:pt x="264761" y="633219"/>
                  </a:lnTo>
                  <a:lnTo>
                    <a:pt x="264761" y="381588"/>
                  </a:lnTo>
                  <a:close/>
                  <a:moveTo>
                    <a:pt x="1103742" y="378063"/>
                  </a:moveTo>
                  <a:cubicBezTo>
                    <a:pt x="1083066" y="378063"/>
                    <a:pt x="1068029" y="384936"/>
                    <a:pt x="1058631" y="398680"/>
                  </a:cubicBezTo>
                  <a:cubicBezTo>
                    <a:pt x="1049233" y="412425"/>
                    <a:pt x="1044534" y="431750"/>
                    <a:pt x="1044534" y="456654"/>
                  </a:cubicBezTo>
                  <a:cubicBezTo>
                    <a:pt x="1044534" y="481559"/>
                    <a:pt x="1049527" y="501001"/>
                    <a:pt x="1059512" y="514981"/>
                  </a:cubicBezTo>
                  <a:cubicBezTo>
                    <a:pt x="1069498" y="528960"/>
                    <a:pt x="1084241" y="535950"/>
                    <a:pt x="1103742" y="535950"/>
                  </a:cubicBezTo>
                  <a:cubicBezTo>
                    <a:pt x="1124652" y="535950"/>
                    <a:pt x="1139924" y="528960"/>
                    <a:pt x="1149557" y="514981"/>
                  </a:cubicBezTo>
                  <a:cubicBezTo>
                    <a:pt x="1159190" y="501001"/>
                    <a:pt x="1164006" y="481559"/>
                    <a:pt x="1164006" y="456654"/>
                  </a:cubicBezTo>
                  <a:cubicBezTo>
                    <a:pt x="1164006" y="431750"/>
                    <a:pt x="1158896" y="412425"/>
                    <a:pt x="1148676" y="398680"/>
                  </a:cubicBezTo>
                  <a:cubicBezTo>
                    <a:pt x="1138456" y="384936"/>
                    <a:pt x="1123478" y="378063"/>
                    <a:pt x="1103742" y="378063"/>
                  </a:cubicBezTo>
                  <a:close/>
                  <a:moveTo>
                    <a:pt x="419675" y="377711"/>
                  </a:moveTo>
                  <a:cubicBezTo>
                    <a:pt x="398295" y="377711"/>
                    <a:pt x="381143" y="382880"/>
                    <a:pt x="368221" y="393218"/>
                  </a:cubicBezTo>
                  <a:cubicBezTo>
                    <a:pt x="355299" y="403555"/>
                    <a:pt x="346018" y="418416"/>
                    <a:pt x="340380" y="437799"/>
                  </a:cubicBezTo>
                  <a:cubicBezTo>
                    <a:pt x="334741" y="457183"/>
                    <a:pt x="331921" y="480384"/>
                    <a:pt x="331921" y="507403"/>
                  </a:cubicBezTo>
                  <a:cubicBezTo>
                    <a:pt x="331921" y="548050"/>
                    <a:pt x="338970" y="579768"/>
                    <a:pt x="353067" y="602558"/>
                  </a:cubicBezTo>
                  <a:cubicBezTo>
                    <a:pt x="367164" y="625348"/>
                    <a:pt x="389367" y="636743"/>
                    <a:pt x="419675" y="636743"/>
                  </a:cubicBezTo>
                  <a:cubicBezTo>
                    <a:pt x="441056" y="636743"/>
                    <a:pt x="458207" y="631575"/>
                    <a:pt x="471129" y="621237"/>
                  </a:cubicBezTo>
                  <a:cubicBezTo>
                    <a:pt x="484052" y="610899"/>
                    <a:pt x="493391" y="596097"/>
                    <a:pt x="499147" y="576831"/>
                  </a:cubicBezTo>
                  <a:cubicBezTo>
                    <a:pt x="504903" y="557565"/>
                    <a:pt x="507781" y="534423"/>
                    <a:pt x="507781" y="507403"/>
                  </a:cubicBezTo>
                  <a:cubicBezTo>
                    <a:pt x="507781" y="466522"/>
                    <a:pt x="500615" y="434686"/>
                    <a:pt x="486284" y="411896"/>
                  </a:cubicBezTo>
                  <a:cubicBezTo>
                    <a:pt x="471952" y="389106"/>
                    <a:pt x="449749" y="377711"/>
                    <a:pt x="419675" y="377711"/>
                  </a:cubicBezTo>
                  <a:close/>
                  <a:moveTo>
                    <a:pt x="0" y="0"/>
                  </a:moveTo>
                  <a:lnTo>
                    <a:pt x="641935" y="0"/>
                  </a:lnTo>
                  <a:lnTo>
                    <a:pt x="746915" y="0"/>
                  </a:lnTo>
                  <a:lnTo>
                    <a:pt x="1134710" y="0"/>
                  </a:lnTo>
                  <a:cubicBezTo>
                    <a:pt x="1406862" y="0"/>
                    <a:pt x="1627485" y="220623"/>
                    <a:pt x="1627485" y="492775"/>
                  </a:cubicBezTo>
                  <a:cubicBezTo>
                    <a:pt x="1627485" y="764927"/>
                    <a:pt x="1406862" y="985550"/>
                    <a:pt x="1134710" y="985550"/>
                  </a:cubicBezTo>
                  <a:lnTo>
                    <a:pt x="746915" y="985550"/>
                  </a:lnTo>
                  <a:lnTo>
                    <a:pt x="641935" y="985550"/>
                  </a:lnTo>
                  <a:lnTo>
                    <a:pt x="0" y="985550"/>
                  </a:lnTo>
                  <a:close/>
                </a:path>
              </a:pathLst>
            </a:custGeom>
            <a:solidFill>
              <a:srgbClr val="D4D7D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27" name="TextBox 26">
              <a:extLst>
                <a:ext uri="{FF2B5EF4-FFF2-40B4-BE49-F238E27FC236}">
                  <a16:creationId xmlns:a16="http://schemas.microsoft.com/office/drawing/2014/main" id="{41C89366-A0FA-4F46-8EB7-4862E19EEA37}"/>
                </a:ext>
              </a:extLst>
            </p:cNvPr>
            <p:cNvSpPr txBox="1"/>
            <p:nvPr/>
          </p:nvSpPr>
          <p:spPr>
            <a:xfrm>
              <a:off x="2011239" y="3252399"/>
              <a:ext cx="1313587" cy="452181"/>
            </a:xfrm>
            <a:prstGeom prst="rect">
              <a:avLst/>
            </a:prstGeom>
            <a:solidFill>
              <a:srgbClr val="D4D7DC"/>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rgbClr val="939AA7">
                    <a:lumMod val="50000"/>
                  </a:srgbClr>
                </a:solidFill>
                <a:effectLst/>
                <a:uLnTx/>
                <a:uFillTx/>
                <a:latin typeface="Apis For Office"/>
                <a:ea typeface="+mn-ea"/>
                <a:cs typeface="+mn-cs"/>
              </a:endParaRPr>
            </a:p>
          </p:txBody>
        </p:sp>
      </p:grpSp>
      <p:sp>
        <p:nvSpPr>
          <p:cNvPr id="52" name="TextBox 51">
            <a:extLst>
              <a:ext uri="{FF2B5EF4-FFF2-40B4-BE49-F238E27FC236}">
                <a16:creationId xmlns:a16="http://schemas.microsoft.com/office/drawing/2014/main" id="{15540143-972D-4E77-87EB-EBC9BB7FAF55}"/>
              </a:ext>
            </a:extLst>
          </p:cNvPr>
          <p:cNvSpPr txBox="1"/>
          <p:nvPr/>
        </p:nvSpPr>
        <p:spPr>
          <a:xfrm>
            <a:off x="1774895" y="3115506"/>
            <a:ext cx="1407291" cy="734732"/>
          </a:xfrm>
          <a:prstGeom prst="rect">
            <a:avLst/>
          </a:prstGeom>
          <a:solidFill>
            <a:srgbClr val="D4D7DC"/>
          </a:solidFill>
        </p:spPr>
        <p:txBody>
          <a:bodyPr wrap="square" lIns="36000" tIns="0" rIns="0" bIns="0" rtlCol="0" anchor="ctr" anchorCtr="0">
            <a:no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939AA7">
                    <a:lumMod val="50000"/>
                  </a:srgbClr>
                </a:solidFill>
                <a:effectLst/>
                <a:uLnTx/>
                <a:uFillTx/>
                <a:latin typeface="Apis For Office"/>
                <a:ea typeface="+mn-ea"/>
                <a:cs typeface="+mn-cs"/>
              </a:rPr>
              <a:t>10–15%</a:t>
            </a:r>
            <a:endParaRPr kumimoji="0" lang="en-GB" sz="2800" b="1" i="0" u="none" strike="noStrike" kern="1200" cap="none" spc="0" normalizeH="0" baseline="0" noProof="0" dirty="0">
              <a:ln>
                <a:noFill/>
              </a:ln>
              <a:solidFill>
                <a:srgbClr val="939AA7">
                  <a:lumMod val="50000"/>
                </a:srgbClr>
              </a:solidFill>
              <a:effectLst/>
              <a:uLnTx/>
              <a:uFillTx/>
              <a:latin typeface="Apis For Office"/>
              <a:ea typeface="+mn-ea"/>
              <a:cs typeface="+mn-cs"/>
            </a:endParaRPr>
          </a:p>
        </p:txBody>
      </p:sp>
    </p:spTree>
    <p:extLst>
      <p:ext uri="{BB962C8B-B14F-4D97-AF65-F5344CB8AC3E}">
        <p14:creationId xmlns:p14="http://schemas.microsoft.com/office/powerpoint/2010/main" val="36928196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460A1C2F-64AC-9B8E-4D4B-52FAF745313E}"/>
              </a:ext>
            </a:extLst>
          </p:cNvPr>
          <p:cNvSpPr/>
          <p:nvPr/>
        </p:nvSpPr>
        <p:spPr>
          <a:xfrm>
            <a:off x="466796" y="1220848"/>
            <a:ext cx="6434796" cy="4786619"/>
          </a:xfrm>
          <a:prstGeom prst="rect">
            <a:avLst/>
          </a:prstGeom>
          <a:solidFill>
            <a:srgbClr val="D8EAF8">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1965"/>
              </a:solidFill>
              <a:effectLst/>
              <a:uLnTx/>
              <a:uFillTx/>
              <a:latin typeface="Apis For Office"/>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0" name="TextBox 79">
            <a:extLst>
              <a:ext uri="{FF2B5EF4-FFF2-40B4-BE49-F238E27FC236}">
                <a16:creationId xmlns:a16="http://schemas.microsoft.com/office/drawing/2014/main" id="{E35BE811-349C-4E8C-B660-060517D3BAF0}"/>
              </a:ext>
            </a:extLst>
          </p:cNvPr>
          <p:cNvSpPr txBox="1"/>
          <p:nvPr/>
        </p:nvSpPr>
        <p:spPr>
          <a:xfrm>
            <a:off x="895930" y="1142778"/>
            <a:ext cx="5698210" cy="287115"/>
          </a:xfrm>
          <a:prstGeom prst="rect">
            <a:avLst/>
          </a:prstGeom>
          <a:noFill/>
        </p:spPr>
        <p:txBody>
          <a:bodyPr wrap="squar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6" name="Rectangle 65">
            <a:extLst>
              <a:ext uri="{FF2B5EF4-FFF2-40B4-BE49-F238E27FC236}">
                <a16:creationId xmlns:a16="http://schemas.microsoft.com/office/drawing/2014/main" id="{DB3483FF-8BEA-A12F-A1CA-248B448D9FC6}"/>
              </a:ext>
            </a:extLst>
          </p:cNvPr>
          <p:cNvSpPr/>
          <p:nvPr/>
        </p:nvSpPr>
        <p:spPr>
          <a:xfrm>
            <a:off x="1324053" y="1624813"/>
            <a:ext cx="5270087" cy="72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36000" rIns="72000" bIns="36000" rtlCol="0" anchor="ct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2A918B">
                    <a:lumMod val="75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Medical nutrition therapy</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2A918B">
                    <a:lumMod val="75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Physical activity</a:t>
            </a:r>
            <a:endParaRPr kumimoji="0" lang="en-GB" sz="1200" b="0" i="0" u="none" strike="noStrike" kern="1200" cap="none" spc="0" normalizeH="0" baseline="0" noProof="0" dirty="0">
              <a:ln>
                <a:noFill/>
              </a:ln>
              <a:solidFill>
                <a:srgbClr val="2A918B">
                  <a:lumMod val="75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102" name="TextBox 101">
            <a:extLst>
              <a:ext uri="{FF2B5EF4-FFF2-40B4-BE49-F238E27FC236}">
                <a16:creationId xmlns:a16="http://schemas.microsoft.com/office/drawing/2014/main" id="{47A134D5-951E-7BE5-817E-10DB562F3AE2}"/>
              </a:ext>
            </a:extLst>
          </p:cNvPr>
          <p:cNvSpPr txBox="1"/>
          <p:nvPr/>
        </p:nvSpPr>
        <p:spPr>
          <a:xfrm>
            <a:off x="2453694" y="1334716"/>
            <a:ext cx="2803653" cy="274562"/>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A918B"/>
                </a:solidFill>
                <a:effectLst/>
                <a:uLnTx/>
                <a:uFillTx/>
                <a:latin typeface="Apis For Office"/>
                <a:ea typeface="Apis For Office Light" panose="020B0404010101010104" pitchFamily="34" charset="0"/>
                <a:cs typeface="Apis For Office Light" panose="020B0404010101010104" pitchFamily="34" charset="0"/>
              </a:rPr>
              <a:t>Lifestyle</a:t>
            </a:r>
            <a:r>
              <a:rPr kumimoji="0" lang="en-US" sz="1600" b="1" i="0" u="none" strike="noStrike" kern="1200" cap="none" spc="0" normalizeH="0" baseline="0" noProof="0" dirty="0">
                <a:ln>
                  <a:noFill/>
                </a:ln>
                <a:solidFill>
                  <a:srgbClr val="2A918B"/>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 </a:t>
            </a:r>
            <a:r>
              <a:rPr kumimoji="0" lang="en-US" sz="1600" b="1" i="0" u="none" strike="noStrike" kern="1200" cap="none" spc="0" normalizeH="0" baseline="0" noProof="0" dirty="0">
                <a:ln>
                  <a:noFill/>
                </a:ln>
                <a:solidFill>
                  <a:srgbClr val="2A918B"/>
                </a:solidFill>
                <a:effectLst/>
                <a:uLnTx/>
                <a:uFillTx/>
                <a:latin typeface="Apis For Office"/>
                <a:ea typeface="Apis For Office Light" panose="020B0404010101010104" pitchFamily="34" charset="0"/>
                <a:cs typeface="Apis For Office Light" panose="020B0404010101010104" pitchFamily="34" charset="0"/>
              </a:rPr>
              <a:t>recommendations</a:t>
            </a:r>
            <a:endParaRPr kumimoji="0" lang="en-GB" sz="1600" b="1" i="0" u="none" strike="noStrike" kern="1200" cap="none" spc="0" normalizeH="0" baseline="0" noProof="0" dirty="0">
              <a:ln>
                <a:noFill/>
              </a:ln>
              <a:solidFill>
                <a:srgbClr val="2A918B"/>
              </a:solidFill>
              <a:effectLst/>
              <a:uLnTx/>
              <a:uFillTx/>
              <a:latin typeface="Apis For Office"/>
              <a:ea typeface="Apis For Office Light" panose="020B0404010101010104" pitchFamily="34" charset="0"/>
              <a:cs typeface="Apis For Office Light" panose="020B0404010101010104" pitchFamily="34" charset="0"/>
            </a:endParaRPr>
          </a:p>
        </p:txBody>
      </p:sp>
      <p:sp>
        <p:nvSpPr>
          <p:cNvPr id="64" name="Rectangle 63">
            <a:extLst>
              <a:ext uri="{FF2B5EF4-FFF2-40B4-BE49-F238E27FC236}">
                <a16:creationId xmlns:a16="http://schemas.microsoft.com/office/drawing/2014/main" id="{5CD5BE7F-20FC-D6A6-4E66-BA22FE5E1D63}"/>
              </a:ext>
            </a:extLst>
          </p:cNvPr>
          <p:cNvSpPr/>
          <p:nvPr/>
        </p:nvSpPr>
        <p:spPr>
          <a:xfrm>
            <a:off x="1313420" y="5101588"/>
            <a:ext cx="5280720" cy="720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36000" rIns="72000" bIns="36000" rtlCol="0" anchor="ct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a:ln>
                  <a:noFill/>
                </a:ln>
                <a:solidFill>
                  <a:srgbClr val="EEA7BF">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Endoscopic procedures: </a:t>
            </a:r>
            <a:r>
              <a:rPr kumimoji="0" lang="en-US" sz="1200" b="1" i="0" u="none" strike="noStrike" kern="1200" cap="none" spc="0" normalizeH="0" baseline="0" noProof="0">
                <a:ln>
                  <a:noFill/>
                </a:ln>
                <a:solidFill>
                  <a:srgbClr val="EEA7BF">
                    <a:lumMod val="50000"/>
                  </a:srgbClr>
                </a:solidFill>
                <a:effectLst/>
                <a:uLnTx/>
                <a:uFillTx/>
                <a:latin typeface="Apis For Office"/>
                <a:ea typeface="Apis For Office Light" panose="020B0404010101010104" pitchFamily="34" charset="0"/>
                <a:cs typeface="Apis For Office Light" panose="020B0404010101010104" pitchFamily="34" charset="0"/>
              </a:rPr>
              <a:t>~</a:t>
            </a:r>
            <a:r>
              <a:rPr kumimoji="0" lang="en-CA" sz="1200" b="0" i="0" u="none" strike="noStrike" kern="1200" cap="none" spc="0" normalizeH="0" baseline="0" noProof="0">
                <a:ln>
                  <a:noFill/>
                </a:ln>
                <a:solidFill>
                  <a:srgbClr val="EEA7BF">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2-20% weight loss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a:ln>
                  <a:noFill/>
                </a:ln>
                <a:solidFill>
                  <a:srgbClr val="EEA7BF">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Bariatric surgery: </a:t>
            </a:r>
            <a:r>
              <a:rPr kumimoji="0" lang="en-US" sz="1200" b="0" i="0" u="none" strike="noStrike" kern="1200" cap="none" spc="0" normalizeH="0" baseline="0" noProof="0">
                <a:ln>
                  <a:noFill/>
                </a:ln>
                <a:solidFill>
                  <a:srgbClr val="EEA7BF">
                    <a:lumMod val="50000"/>
                  </a:srgbClr>
                </a:solidFill>
                <a:effectLst/>
                <a:uLnTx/>
                <a:uFillTx/>
                <a:latin typeface="Apis For Office"/>
                <a:ea typeface="Apis For Office Light" panose="020B0404010101010104" pitchFamily="34" charset="0"/>
                <a:cs typeface="Apis For Office Light" panose="020B0404010101010104" pitchFamily="34" charset="0"/>
              </a:rPr>
              <a:t>~</a:t>
            </a:r>
            <a:r>
              <a:rPr kumimoji="0" lang="en-CA" sz="1200" b="0" i="0" u="none" strike="noStrike" kern="1200" cap="none" spc="0" normalizeH="0" baseline="0" noProof="0">
                <a:ln>
                  <a:noFill/>
                </a:ln>
                <a:solidFill>
                  <a:srgbClr val="EEA7BF">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20-30% weight loss </a:t>
            </a:r>
          </a:p>
        </p:txBody>
      </p:sp>
      <p:sp>
        <p:nvSpPr>
          <p:cNvPr id="103" name="TextBox 102">
            <a:extLst>
              <a:ext uri="{FF2B5EF4-FFF2-40B4-BE49-F238E27FC236}">
                <a16:creationId xmlns:a16="http://schemas.microsoft.com/office/drawing/2014/main" id="{89FCD319-7203-FF57-DE38-4E78113B8673}"/>
              </a:ext>
            </a:extLst>
          </p:cNvPr>
          <p:cNvSpPr txBox="1"/>
          <p:nvPr/>
        </p:nvSpPr>
        <p:spPr>
          <a:xfrm>
            <a:off x="949275" y="4746386"/>
            <a:ext cx="5812490" cy="274562"/>
          </a:xfrm>
          <a:prstGeom prst="rect">
            <a:avLst/>
          </a:prstGeom>
          <a:noFill/>
        </p:spPr>
        <p:txBody>
          <a:bodyPr wrap="non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EA7BF">
                    <a:lumMod val="50000"/>
                  </a:srgbClr>
                </a:solidFill>
                <a:effectLst/>
                <a:uLnTx/>
                <a:uFillTx/>
                <a:latin typeface="Apis For Office"/>
                <a:ea typeface="Apis For Office Light" panose="020B0404010101010104" pitchFamily="34" charset="0"/>
                <a:cs typeface="Apis For Office Light" panose="020B0404010101010104" pitchFamily="34" charset="0"/>
              </a:rPr>
              <a:t>Endoscopic / Surgical interventions: ~12‒30% weight loss</a:t>
            </a:r>
            <a:endParaRPr kumimoji="0" lang="en-GB" sz="1600" b="1" i="0" u="none" strike="noStrike" kern="1200" cap="none" spc="0" normalizeH="0" baseline="0" noProof="0">
              <a:ln>
                <a:noFill/>
              </a:ln>
              <a:solidFill>
                <a:srgbClr val="EEA7BF">
                  <a:lumMod val="50000"/>
                </a:srgbClr>
              </a:solidFill>
              <a:effectLst/>
              <a:uLnTx/>
              <a:uFillTx/>
              <a:latin typeface="Apis For Office"/>
              <a:ea typeface="Apis For Office Light" panose="020B0404010101010104" pitchFamily="34" charset="0"/>
              <a:cs typeface="Apis For Office Light" panose="020B0404010101010104" pitchFamily="34" charset="0"/>
            </a:endParaRPr>
          </a:p>
        </p:txBody>
      </p:sp>
      <p:sp>
        <p:nvSpPr>
          <p:cNvPr id="104" name="TextBox 103">
            <a:extLst>
              <a:ext uri="{FF2B5EF4-FFF2-40B4-BE49-F238E27FC236}">
                <a16:creationId xmlns:a16="http://schemas.microsoft.com/office/drawing/2014/main" id="{AA6C3DC7-D923-0DB5-1057-6753F6E7F1AD}"/>
              </a:ext>
            </a:extLst>
          </p:cNvPr>
          <p:cNvSpPr txBox="1"/>
          <p:nvPr/>
        </p:nvSpPr>
        <p:spPr>
          <a:xfrm>
            <a:off x="1907872" y="3619405"/>
            <a:ext cx="3941785" cy="274562"/>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a:ea typeface="Apis For Office Light" panose="020B0404010101010104" pitchFamily="34" charset="0"/>
                <a:cs typeface="Apis For Office Light" panose="020B0404010101010104" pitchFamily="34" charset="0"/>
              </a:rPr>
              <a:t>Pharmacotherapy: ~5‒15% weight loss</a:t>
            </a:r>
            <a:endParaRPr kumimoji="0" lang="en-GB" sz="1600" b="1" i="0" u="none" strike="noStrike" kern="1200" cap="none" spc="0" normalizeH="0" baseline="0" noProof="0">
              <a:ln>
                <a:noFill/>
              </a:ln>
              <a:solidFill>
                <a:srgbClr val="001965"/>
              </a:solidFill>
              <a:effectLst/>
              <a:uLnTx/>
              <a:uFillTx/>
              <a:latin typeface="Apis For Office"/>
              <a:ea typeface="Apis For Office Light" panose="020B0404010101010104" pitchFamily="34" charset="0"/>
              <a:cs typeface="Apis For Office Light" panose="020B0404010101010104" pitchFamily="34" charset="0"/>
            </a:endParaRPr>
          </a:p>
        </p:txBody>
      </p:sp>
      <p:grpSp>
        <p:nvGrpSpPr>
          <p:cNvPr id="10" name="Group 9">
            <a:extLst>
              <a:ext uri="{FF2B5EF4-FFF2-40B4-BE49-F238E27FC236}">
                <a16:creationId xmlns:a16="http://schemas.microsoft.com/office/drawing/2014/main" id="{346D3BB3-154F-4B3E-BE38-447C862D8F68}"/>
              </a:ext>
            </a:extLst>
          </p:cNvPr>
          <p:cNvGrpSpPr/>
          <p:nvPr/>
        </p:nvGrpSpPr>
        <p:grpSpPr>
          <a:xfrm>
            <a:off x="734718" y="5022553"/>
            <a:ext cx="878070" cy="878070"/>
            <a:chOff x="887118" y="4912795"/>
            <a:chExt cx="987828" cy="987828"/>
          </a:xfrm>
        </p:grpSpPr>
        <p:grpSp>
          <p:nvGrpSpPr>
            <p:cNvPr id="3" name="Group 2">
              <a:extLst>
                <a:ext uri="{FF2B5EF4-FFF2-40B4-BE49-F238E27FC236}">
                  <a16:creationId xmlns:a16="http://schemas.microsoft.com/office/drawing/2014/main" id="{670F3629-CE7A-4A77-87D0-575F42F4EEEB}"/>
                </a:ext>
              </a:extLst>
            </p:cNvPr>
            <p:cNvGrpSpPr/>
            <p:nvPr/>
          </p:nvGrpSpPr>
          <p:grpSpPr>
            <a:xfrm>
              <a:off x="887118" y="4912795"/>
              <a:ext cx="987828" cy="987828"/>
              <a:chOff x="887118" y="4912795"/>
              <a:chExt cx="987828" cy="987828"/>
            </a:xfrm>
          </p:grpSpPr>
          <p:sp>
            <p:nvSpPr>
              <p:cNvPr id="65" name="Oval 64">
                <a:extLst>
                  <a:ext uri="{FF2B5EF4-FFF2-40B4-BE49-F238E27FC236}">
                    <a16:creationId xmlns:a16="http://schemas.microsoft.com/office/drawing/2014/main" id="{216CA9DD-B037-1123-7438-BC22EE30B071}"/>
                  </a:ext>
                </a:extLst>
              </p:cNvPr>
              <p:cNvSpPr/>
              <p:nvPr/>
            </p:nvSpPr>
            <p:spPr>
              <a:xfrm>
                <a:off x="887118" y="4912795"/>
                <a:ext cx="987828" cy="987828"/>
              </a:xfrm>
              <a:prstGeom prst="ellipse">
                <a:avLst/>
              </a:prstGeom>
              <a:solidFill>
                <a:srgbClr val="F8DCE5"/>
              </a:solidFill>
              <a:ln w="76200">
                <a:solidFill>
                  <a:srgbClr val="E9F3F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84" name="Freeform 1179">
                <a:extLst>
                  <a:ext uri="{FF2B5EF4-FFF2-40B4-BE49-F238E27FC236}">
                    <a16:creationId xmlns:a16="http://schemas.microsoft.com/office/drawing/2014/main" id="{77A24CC8-35F1-1499-F7B7-FA92B4E8E05E}"/>
                  </a:ext>
                </a:extLst>
              </p:cNvPr>
              <p:cNvSpPr>
                <a:spLocks/>
              </p:cNvSpPr>
              <p:nvPr/>
            </p:nvSpPr>
            <p:spPr bwMode="auto">
              <a:xfrm>
                <a:off x="1145776" y="5413501"/>
                <a:ext cx="210031" cy="185322"/>
              </a:xfrm>
              <a:custGeom>
                <a:avLst/>
                <a:gdLst>
                  <a:gd name="T0" fmla="*/ 123 w 123"/>
                  <a:gd name="T1" fmla="*/ 30 h 107"/>
                  <a:gd name="T2" fmla="*/ 96 w 123"/>
                  <a:gd name="T3" fmla="*/ 57 h 107"/>
                  <a:gd name="T4" fmla="*/ 0 w 123"/>
                  <a:gd name="T5" fmla="*/ 91 h 107"/>
                  <a:gd name="T6" fmla="*/ 0 w 123"/>
                  <a:gd name="T7" fmla="*/ 91 h 107"/>
                  <a:gd name="T8" fmla="*/ 92 w 123"/>
                  <a:gd name="T9" fmla="*/ 0 h 107"/>
                  <a:gd name="T10" fmla="*/ 123 w 123"/>
                  <a:gd name="T11" fmla="*/ 30 h 107"/>
                </a:gdLst>
                <a:ahLst/>
                <a:cxnLst>
                  <a:cxn ang="0">
                    <a:pos x="T0" y="T1"/>
                  </a:cxn>
                  <a:cxn ang="0">
                    <a:pos x="T2" y="T3"/>
                  </a:cxn>
                  <a:cxn ang="0">
                    <a:pos x="T4" y="T5"/>
                  </a:cxn>
                  <a:cxn ang="0">
                    <a:pos x="T6" y="T7"/>
                  </a:cxn>
                  <a:cxn ang="0">
                    <a:pos x="T8" y="T9"/>
                  </a:cxn>
                  <a:cxn ang="0">
                    <a:pos x="T10" y="T11"/>
                  </a:cxn>
                </a:cxnLst>
                <a:rect l="0" t="0" r="r" b="b"/>
                <a:pathLst>
                  <a:path w="123" h="107">
                    <a:moveTo>
                      <a:pt x="123" y="30"/>
                    </a:moveTo>
                    <a:cubicBezTo>
                      <a:pt x="96" y="57"/>
                      <a:pt x="96" y="57"/>
                      <a:pt x="96" y="57"/>
                    </a:cubicBezTo>
                    <a:cubicBezTo>
                      <a:pt x="50" y="102"/>
                      <a:pt x="17" y="107"/>
                      <a:pt x="0" y="91"/>
                    </a:cubicBezTo>
                    <a:cubicBezTo>
                      <a:pt x="0" y="91"/>
                      <a:pt x="0" y="91"/>
                      <a:pt x="0" y="91"/>
                    </a:cubicBezTo>
                    <a:cubicBezTo>
                      <a:pt x="92" y="0"/>
                      <a:pt x="92" y="0"/>
                      <a:pt x="92" y="0"/>
                    </a:cubicBezTo>
                    <a:lnTo>
                      <a:pt x="123" y="30"/>
                    </a:lnTo>
                    <a:close/>
                  </a:path>
                </a:pathLst>
              </a:cu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8" name="Freeform 1180">
                <a:extLst>
                  <a:ext uri="{FF2B5EF4-FFF2-40B4-BE49-F238E27FC236}">
                    <a16:creationId xmlns:a16="http://schemas.microsoft.com/office/drawing/2014/main" id="{87B3B220-7CA2-D09D-CAD9-FA27F15CD780}"/>
                  </a:ext>
                </a:extLst>
              </p:cNvPr>
              <p:cNvSpPr>
                <a:spLocks/>
              </p:cNvSpPr>
              <p:nvPr/>
            </p:nvSpPr>
            <p:spPr bwMode="auto">
              <a:xfrm>
                <a:off x="1316684" y="5401146"/>
                <a:ext cx="51479" cy="53537"/>
              </a:xfrm>
              <a:custGeom>
                <a:avLst/>
                <a:gdLst>
                  <a:gd name="T0" fmla="*/ 13 w 25"/>
                  <a:gd name="T1" fmla="*/ 26 h 26"/>
                  <a:gd name="T2" fmla="*/ 25 w 25"/>
                  <a:gd name="T3" fmla="*/ 12 h 26"/>
                  <a:gd name="T4" fmla="*/ 13 w 25"/>
                  <a:gd name="T5" fmla="*/ 0 h 26"/>
                  <a:gd name="T6" fmla="*/ 0 w 25"/>
                  <a:gd name="T7" fmla="*/ 12 h 26"/>
                  <a:gd name="T8" fmla="*/ 13 w 25"/>
                  <a:gd name="T9" fmla="*/ 26 h 26"/>
                </a:gdLst>
                <a:ahLst/>
                <a:cxnLst>
                  <a:cxn ang="0">
                    <a:pos x="T0" y="T1"/>
                  </a:cxn>
                  <a:cxn ang="0">
                    <a:pos x="T2" y="T3"/>
                  </a:cxn>
                  <a:cxn ang="0">
                    <a:pos x="T4" y="T5"/>
                  </a:cxn>
                  <a:cxn ang="0">
                    <a:pos x="T6" y="T7"/>
                  </a:cxn>
                  <a:cxn ang="0">
                    <a:pos x="T8" y="T9"/>
                  </a:cxn>
                </a:cxnLst>
                <a:rect l="0" t="0" r="r" b="b"/>
                <a:pathLst>
                  <a:path w="25" h="26">
                    <a:moveTo>
                      <a:pt x="13" y="26"/>
                    </a:moveTo>
                    <a:lnTo>
                      <a:pt x="25" y="12"/>
                    </a:lnTo>
                    <a:lnTo>
                      <a:pt x="13" y="0"/>
                    </a:lnTo>
                    <a:lnTo>
                      <a:pt x="0" y="12"/>
                    </a:lnTo>
                    <a:lnTo>
                      <a:pt x="13" y="26"/>
                    </a:lnTo>
                    <a:close/>
                  </a:path>
                </a:pathLst>
              </a:cu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9" name="Freeform 1181">
                <a:extLst>
                  <a:ext uri="{FF2B5EF4-FFF2-40B4-BE49-F238E27FC236}">
                    <a16:creationId xmlns:a16="http://schemas.microsoft.com/office/drawing/2014/main" id="{2ED9F2E0-DD85-FD3B-ADA5-382E3B97CC0E}"/>
                  </a:ext>
                </a:extLst>
              </p:cNvPr>
              <p:cNvSpPr>
                <a:spLocks/>
              </p:cNvSpPr>
              <p:nvPr/>
            </p:nvSpPr>
            <p:spPr bwMode="auto">
              <a:xfrm>
                <a:off x="1324921" y="5230239"/>
                <a:ext cx="216209" cy="216210"/>
              </a:xfrm>
              <a:custGeom>
                <a:avLst/>
                <a:gdLst>
                  <a:gd name="T0" fmla="*/ 105 w 105"/>
                  <a:gd name="T1" fmla="*/ 33 h 105"/>
                  <a:gd name="T2" fmla="*/ 31 w 105"/>
                  <a:gd name="T3" fmla="*/ 105 h 105"/>
                  <a:gd name="T4" fmla="*/ 0 w 105"/>
                  <a:gd name="T5" fmla="*/ 74 h 105"/>
                  <a:gd name="T6" fmla="*/ 73 w 105"/>
                  <a:gd name="T7" fmla="*/ 0 h 105"/>
                  <a:gd name="T8" fmla="*/ 105 w 105"/>
                  <a:gd name="T9" fmla="*/ 33 h 105"/>
                </a:gdLst>
                <a:ahLst/>
                <a:cxnLst>
                  <a:cxn ang="0">
                    <a:pos x="T0" y="T1"/>
                  </a:cxn>
                  <a:cxn ang="0">
                    <a:pos x="T2" y="T3"/>
                  </a:cxn>
                  <a:cxn ang="0">
                    <a:pos x="T4" y="T5"/>
                  </a:cxn>
                  <a:cxn ang="0">
                    <a:pos x="T6" y="T7"/>
                  </a:cxn>
                  <a:cxn ang="0">
                    <a:pos x="T8" y="T9"/>
                  </a:cxn>
                </a:cxnLst>
                <a:rect l="0" t="0" r="r" b="b"/>
                <a:pathLst>
                  <a:path w="105" h="105">
                    <a:moveTo>
                      <a:pt x="105" y="33"/>
                    </a:moveTo>
                    <a:lnTo>
                      <a:pt x="31" y="105"/>
                    </a:lnTo>
                    <a:lnTo>
                      <a:pt x="0" y="74"/>
                    </a:lnTo>
                    <a:lnTo>
                      <a:pt x="73" y="0"/>
                    </a:lnTo>
                    <a:lnTo>
                      <a:pt x="105" y="33"/>
                    </a:lnTo>
                    <a:close/>
                  </a:path>
                </a:pathLst>
              </a:cu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0" name="Line 1182">
                <a:extLst>
                  <a:ext uri="{FF2B5EF4-FFF2-40B4-BE49-F238E27FC236}">
                    <a16:creationId xmlns:a16="http://schemas.microsoft.com/office/drawing/2014/main" id="{C3AAF039-0E93-87B8-D2A2-B340A3CBFED0}"/>
                  </a:ext>
                </a:extLst>
              </p:cNvPr>
              <p:cNvSpPr>
                <a:spLocks noChangeShapeType="1"/>
              </p:cNvSpPr>
              <p:nvPr/>
            </p:nvSpPr>
            <p:spPr bwMode="auto">
              <a:xfrm flipV="1">
                <a:off x="1211668" y="5452625"/>
                <a:ext cx="92661" cy="92662"/>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1" name="Line 1183">
                <a:extLst>
                  <a:ext uri="{FF2B5EF4-FFF2-40B4-BE49-F238E27FC236}">
                    <a16:creationId xmlns:a16="http://schemas.microsoft.com/office/drawing/2014/main" id="{629BB06A-486E-5BB1-5117-810C0FDDCB78}"/>
                  </a:ext>
                </a:extLst>
              </p:cNvPr>
              <p:cNvSpPr>
                <a:spLocks noChangeShapeType="1"/>
              </p:cNvSpPr>
              <p:nvPr/>
            </p:nvSpPr>
            <p:spPr bwMode="auto">
              <a:xfrm>
                <a:off x="1248732" y="5584410"/>
                <a:ext cx="26769" cy="0"/>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5" name="Line 1184">
                <a:extLst>
                  <a:ext uri="{FF2B5EF4-FFF2-40B4-BE49-F238E27FC236}">
                    <a16:creationId xmlns:a16="http://schemas.microsoft.com/office/drawing/2014/main" id="{B00D0BF5-E206-030C-9071-89D102D27108}"/>
                  </a:ext>
                </a:extLst>
              </p:cNvPr>
              <p:cNvSpPr>
                <a:spLocks noChangeShapeType="1"/>
              </p:cNvSpPr>
              <p:nvPr/>
            </p:nvSpPr>
            <p:spPr bwMode="auto">
              <a:xfrm>
                <a:off x="1304330" y="5584410"/>
                <a:ext cx="26769" cy="0"/>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6" name="Line 1185">
                <a:extLst>
                  <a:ext uri="{FF2B5EF4-FFF2-40B4-BE49-F238E27FC236}">
                    <a16:creationId xmlns:a16="http://schemas.microsoft.com/office/drawing/2014/main" id="{4FC96364-AA5D-1A9B-AEF8-B6A34CD1FF87}"/>
                  </a:ext>
                </a:extLst>
              </p:cNvPr>
              <p:cNvSpPr>
                <a:spLocks noChangeShapeType="1"/>
              </p:cNvSpPr>
              <p:nvPr/>
            </p:nvSpPr>
            <p:spPr bwMode="auto">
              <a:xfrm>
                <a:off x="1357867" y="5584410"/>
                <a:ext cx="28828" cy="0"/>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7" name="Line 1186">
                <a:extLst>
                  <a:ext uri="{FF2B5EF4-FFF2-40B4-BE49-F238E27FC236}">
                    <a16:creationId xmlns:a16="http://schemas.microsoft.com/office/drawing/2014/main" id="{BCC6C1E8-67BC-9964-1ACD-F7BE3712CE7E}"/>
                  </a:ext>
                </a:extLst>
              </p:cNvPr>
              <p:cNvSpPr>
                <a:spLocks noChangeShapeType="1"/>
              </p:cNvSpPr>
              <p:nvPr/>
            </p:nvSpPr>
            <p:spPr bwMode="auto">
              <a:xfrm>
                <a:off x="1413463" y="5584410"/>
                <a:ext cx="26769" cy="0"/>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99" name="Line 1187">
                <a:extLst>
                  <a:ext uri="{FF2B5EF4-FFF2-40B4-BE49-F238E27FC236}">
                    <a16:creationId xmlns:a16="http://schemas.microsoft.com/office/drawing/2014/main" id="{81006A91-BDCA-C7CD-A634-4BE2E7DA08E8}"/>
                  </a:ext>
                </a:extLst>
              </p:cNvPr>
              <p:cNvSpPr>
                <a:spLocks noChangeShapeType="1"/>
              </p:cNvSpPr>
              <p:nvPr/>
            </p:nvSpPr>
            <p:spPr bwMode="auto">
              <a:xfrm>
                <a:off x="1469060" y="5584410"/>
                <a:ext cx="26769" cy="0"/>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100" name="Line 1188">
                <a:extLst>
                  <a:ext uri="{FF2B5EF4-FFF2-40B4-BE49-F238E27FC236}">
                    <a16:creationId xmlns:a16="http://schemas.microsoft.com/office/drawing/2014/main" id="{B9538DC7-BFE1-7528-D826-0D179E81C806}"/>
                  </a:ext>
                </a:extLst>
              </p:cNvPr>
              <p:cNvSpPr>
                <a:spLocks noChangeShapeType="1"/>
              </p:cNvSpPr>
              <p:nvPr/>
            </p:nvSpPr>
            <p:spPr bwMode="auto">
              <a:xfrm>
                <a:off x="1522597" y="5584410"/>
                <a:ext cx="28828" cy="0"/>
              </a:xfrm>
              <a:prstGeom prst="line">
                <a:avLst/>
              </a:prstGeom>
              <a:noFill/>
              <a:ln w="11113"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grpSp>
        <p:sp>
          <p:nvSpPr>
            <p:cNvPr id="13" name="Block Arc 12">
              <a:extLst>
                <a:ext uri="{FF2B5EF4-FFF2-40B4-BE49-F238E27FC236}">
                  <a16:creationId xmlns:a16="http://schemas.microsoft.com/office/drawing/2014/main" id="{27191456-A6BC-55D5-D9C2-0771693592D5}"/>
                </a:ext>
              </a:extLst>
            </p:cNvPr>
            <p:cNvSpPr/>
            <p:nvPr/>
          </p:nvSpPr>
          <p:spPr>
            <a:xfrm rot="13691775" flipH="1">
              <a:off x="1019201" y="5040060"/>
              <a:ext cx="726990" cy="732708"/>
            </a:xfrm>
            <a:prstGeom prst="blockArc">
              <a:avLst>
                <a:gd name="adj1" fmla="val 11382498"/>
                <a:gd name="adj2" fmla="val 21058651"/>
                <a:gd name="adj3" fmla="val 0"/>
              </a:avLst>
            </a:prstGeom>
            <a:ln w="19050">
              <a:solidFill>
                <a:schemeClr val="accent4">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sp>
          <p:nvSpPr>
            <p:cNvPr id="16" name="Block Arc 15">
              <a:extLst>
                <a:ext uri="{FF2B5EF4-FFF2-40B4-BE49-F238E27FC236}">
                  <a16:creationId xmlns:a16="http://schemas.microsoft.com/office/drawing/2014/main" id="{8A98167F-29B0-B44E-534C-AB9F9BFA6C03}"/>
                </a:ext>
              </a:extLst>
            </p:cNvPr>
            <p:cNvSpPr/>
            <p:nvPr/>
          </p:nvSpPr>
          <p:spPr>
            <a:xfrm rot="13691775" flipV="1">
              <a:off x="1011854" y="5048421"/>
              <a:ext cx="726990" cy="732708"/>
            </a:xfrm>
            <a:prstGeom prst="blockArc">
              <a:avLst>
                <a:gd name="adj1" fmla="val 11382498"/>
                <a:gd name="adj2" fmla="val 21058651"/>
                <a:gd name="adj3" fmla="val 0"/>
              </a:avLst>
            </a:prstGeom>
            <a:ln w="19050" cap="rnd">
              <a:solidFill>
                <a:schemeClr val="accent4">
                  <a:lumMod val="75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grpSp>
      <p:sp>
        <p:nvSpPr>
          <p:cNvPr id="73" name="Rectangle 72">
            <a:extLst>
              <a:ext uri="{FF2B5EF4-FFF2-40B4-BE49-F238E27FC236}">
                <a16:creationId xmlns:a16="http://schemas.microsoft.com/office/drawing/2014/main" id="{8225B9A5-89DA-1105-B420-3673EB4EE431}"/>
              </a:ext>
            </a:extLst>
          </p:cNvPr>
          <p:cNvSpPr/>
          <p:nvPr/>
        </p:nvSpPr>
        <p:spPr>
          <a:xfrm>
            <a:off x="1377204" y="3882091"/>
            <a:ext cx="5216936" cy="72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108000" rIns="72000" bIns="36000" rtlCol="0" anchor="t"/>
          <a:lstStyle/>
          <a:p>
            <a:pPr marL="171450" marR="0" lvl="0" indent="-171450" algn="l"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GB" sz="1200" b="0" i="0" u="sng" strike="noStrike" kern="1200" cap="none" spc="0" normalizeH="0" baseline="0" noProof="0" err="1">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101" name="Rectangle 100">
            <a:extLst>
              <a:ext uri="{FF2B5EF4-FFF2-40B4-BE49-F238E27FC236}">
                <a16:creationId xmlns:a16="http://schemas.microsoft.com/office/drawing/2014/main" id="{57A375B4-604F-A2BA-DF77-8ABC03149FD1}"/>
              </a:ext>
            </a:extLst>
          </p:cNvPr>
          <p:cNvSpPr/>
          <p:nvPr/>
        </p:nvSpPr>
        <p:spPr>
          <a:xfrm>
            <a:off x="1325514" y="3858361"/>
            <a:ext cx="5592596" cy="767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48000" tIns="108000" rIns="72000" bIns="36000" numCol="2" rtlCol="0" anchor="ctr" anchorCtr="0"/>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Naltrexone/bupropion</a:t>
            </a:r>
            <a:r>
              <a:rPr kumimoji="0" lang="en-GB" sz="1200" b="0" i="0" u="none" strike="noStrike" kern="1200" cap="none" spc="0" normalizeH="0" baseline="30000" noProof="0" dirty="0">
                <a:ln>
                  <a:noFill/>
                </a:ln>
                <a:solidFill>
                  <a:srgbClr val="002060"/>
                </a:solidFill>
                <a:effectLst/>
                <a:uLnTx/>
                <a:uFillTx/>
                <a:latin typeface="Apis For Office"/>
                <a:ea typeface="+mn-ea"/>
                <a:cs typeface="+mn-cs"/>
              </a:rPr>
              <a:t>*†</a:t>
            </a:r>
            <a:endPar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Phentermine</a:t>
            </a:r>
            <a:r>
              <a:rPr kumimoji="0" lang="en-GB" sz="1200" b="0" i="0" u="none" strike="noStrike" kern="1200" cap="none" spc="0" normalizeH="0" baseline="30000" noProof="0" dirty="0">
                <a:ln>
                  <a:noFill/>
                </a:ln>
                <a:solidFill>
                  <a:srgbClr val="002060"/>
                </a:solidFill>
                <a:effectLst/>
                <a:uLnTx/>
                <a:uFillTx/>
                <a:latin typeface="Apis For Office"/>
                <a:ea typeface="+mn-ea"/>
                <a:cs typeface="+mn-cs"/>
              </a:rPr>
              <a:t>†</a:t>
            </a:r>
            <a:endPar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Orlistat</a:t>
            </a:r>
            <a:r>
              <a:rPr kumimoji="0" lang="en-GB" sz="1200" b="0" i="0" u="none" strike="noStrike" kern="1200" cap="none" spc="0" normalizeH="0" baseline="30000" noProof="0" dirty="0">
                <a:ln>
                  <a:noFill/>
                </a:ln>
                <a:solidFill>
                  <a:srgbClr val="002060"/>
                </a:solidFill>
                <a:effectLst/>
                <a:uLnTx/>
                <a:uFillTx/>
                <a:latin typeface="Apis For Office"/>
                <a:ea typeface="+mn-ea"/>
                <a:cs typeface="+mn-cs"/>
              </a:rPr>
              <a:t>*†</a:t>
            </a:r>
            <a:endPar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Li</a:t>
            </a:r>
            <a:r>
              <a:rPr kumimoji="0" lang="en-CA" sz="1200" b="0" i="0" u="none" strike="noStrike" kern="1200" cap="none" spc="0" normalizeH="0" baseline="0" noProof="0" dirty="0" err="1">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raglutide</a:t>
            </a:r>
            <a:r>
              <a:rPr kumimoji="0" lang="en-CA"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 3.0mg</a:t>
            </a:r>
            <a:r>
              <a:rPr kumimoji="0" lang="en-GB" sz="1200" b="0" i="0" u="none" strike="noStrike" kern="1200" cap="none" spc="0" normalizeH="0" baseline="30000" noProof="0" dirty="0">
                <a:ln>
                  <a:noFill/>
                </a:ln>
                <a:solidFill>
                  <a:srgbClr val="002060"/>
                </a:solidFill>
                <a:effectLst/>
                <a:uLnTx/>
                <a:uFillTx/>
                <a:latin typeface="Apis For Office"/>
                <a:ea typeface="+mn-ea"/>
                <a:cs typeface="+mn-cs"/>
              </a:rPr>
              <a:t>*</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060"/>
                </a:solidFill>
                <a:effectLst/>
                <a:uLnTx/>
                <a:uFillTx/>
                <a:latin typeface="Apis For Office"/>
                <a:ea typeface="+mn-ea"/>
                <a:cs typeface="+mn-cs"/>
              </a:rPr>
              <a:t>Semaglutide 2.4</a:t>
            </a:r>
            <a:r>
              <a:rPr kumimoji="0" lang="en-GB" sz="1200" b="0" i="0" u="none" strike="noStrike" kern="1200" cap="none" spc="0" normalizeH="0" baseline="30000" noProof="0" dirty="0">
                <a:ln>
                  <a:noFill/>
                </a:ln>
                <a:solidFill>
                  <a:srgbClr val="002060"/>
                </a:solidFill>
                <a:effectLst/>
                <a:uLnTx/>
                <a:uFillTx/>
                <a:latin typeface="Apis For Office"/>
                <a:ea typeface="+mn-ea"/>
                <a:cs typeface="+mn-cs"/>
              </a:rPr>
              <a:t>† </a:t>
            </a:r>
            <a:endParaRPr kumimoji="0" lang="en-CA" sz="1200" b="0" i="0" u="none" strike="noStrike" kern="1200" cap="none" spc="0" normalizeH="0" baseline="3000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001965"/>
                </a:solidFill>
                <a:latin typeface="Apis For Office Light" panose="020B0404010101010104" pitchFamily="34" charset="0"/>
                <a:ea typeface="Apis For Office Light" panose="020B0404010101010104" pitchFamily="34" charset="0"/>
                <a:cs typeface="Apis For Office Light" panose="020B0404010101010104" pitchFamily="34" charset="0"/>
              </a:rPr>
              <a:t>Tirzepatide </a:t>
            </a:r>
            <a:endParaRPr kumimoji="0" lang="en-GB" sz="12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grpSp>
        <p:nvGrpSpPr>
          <p:cNvPr id="5" name="Group 4">
            <a:extLst>
              <a:ext uri="{FF2B5EF4-FFF2-40B4-BE49-F238E27FC236}">
                <a16:creationId xmlns:a16="http://schemas.microsoft.com/office/drawing/2014/main" id="{CD0A8F71-B28F-4668-96E2-54EDE1841542}"/>
              </a:ext>
            </a:extLst>
          </p:cNvPr>
          <p:cNvGrpSpPr/>
          <p:nvPr/>
        </p:nvGrpSpPr>
        <p:grpSpPr>
          <a:xfrm>
            <a:off x="734718" y="3803056"/>
            <a:ext cx="878070" cy="878070"/>
            <a:chOff x="887118" y="3693298"/>
            <a:chExt cx="987828" cy="987828"/>
          </a:xfrm>
        </p:grpSpPr>
        <p:sp>
          <p:nvSpPr>
            <p:cNvPr id="74" name="Oval 73">
              <a:extLst>
                <a:ext uri="{FF2B5EF4-FFF2-40B4-BE49-F238E27FC236}">
                  <a16:creationId xmlns:a16="http://schemas.microsoft.com/office/drawing/2014/main" id="{CD2F0929-141C-DFA6-2473-01D9A675D44C}"/>
                </a:ext>
              </a:extLst>
            </p:cNvPr>
            <p:cNvSpPr/>
            <p:nvPr/>
          </p:nvSpPr>
          <p:spPr>
            <a:xfrm>
              <a:off x="887118" y="3693298"/>
              <a:ext cx="987828" cy="987828"/>
            </a:xfrm>
            <a:prstGeom prst="ellipse">
              <a:avLst/>
            </a:prstGeom>
            <a:solidFill>
              <a:srgbClr val="B1D5F2"/>
            </a:solidFill>
            <a:ln w="76200">
              <a:solidFill>
                <a:srgbClr val="E9F3F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78" name="Freeform 70">
              <a:extLst>
                <a:ext uri="{FF2B5EF4-FFF2-40B4-BE49-F238E27FC236}">
                  <a16:creationId xmlns:a16="http://schemas.microsoft.com/office/drawing/2014/main" id="{A96D50A5-18BB-8F08-C072-4AA2F44E9215}"/>
                </a:ext>
              </a:extLst>
            </p:cNvPr>
            <p:cNvSpPr>
              <a:spLocks noEditPoints="1"/>
            </p:cNvSpPr>
            <p:nvPr/>
          </p:nvSpPr>
          <p:spPr bwMode="auto">
            <a:xfrm>
              <a:off x="1184688" y="3978721"/>
              <a:ext cx="409366" cy="411235"/>
            </a:xfrm>
            <a:custGeom>
              <a:avLst/>
              <a:gdLst>
                <a:gd name="T0" fmla="*/ 22 w 91"/>
                <a:gd name="T1" fmla="*/ 22 h 91"/>
                <a:gd name="T2" fmla="*/ 32 w 91"/>
                <a:gd name="T3" fmla="*/ 32 h 91"/>
                <a:gd name="T4" fmla="*/ 57 w 91"/>
                <a:gd name="T5" fmla="*/ 33 h 91"/>
                <a:gd name="T6" fmla="*/ 59 w 91"/>
                <a:gd name="T7" fmla="*/ 31 h 91"/>
                <a:gd name="T8" fmla="*/ 59 w 91"/>
                <a:gd name="T9" fmla="*/ 6 h 91"/>
                <a:gd name="T10" fmla="*/ 35 w 91"/>
                <a:gd name="T11" fmla="*/ 6 h 91"/>
                <a:gd name="T12" fmla="*/ 6 w 91"/>
                <a:gd name="T13" fmla="*/ 35 h 91"/>
                <a:gd name="T14" fmla="*/ 6 w 91"/>
                <a:gd name="T15" fmla="*/ 59 h 91"/>
                <a:gd name="T16" fmla="*/ 31 w 91"/>
                <a:gd name="T17" fmla="*/ 59 h 91"/>
                <a:gd name="T18" fmla="*/ 33 w 91"/>
                <a:gd name="T19" fmla="*/ 57 h 91"/>
                <a:gd name="T20" fmla="*/ 48 w 91"/>
                <a:gd name="T21" fmla="*/ 69 h 91"/>
                <a:gd name="T22" fmla="*/ 69 w 91"/>
                <a:gd name="T23" fmla="*/ 48 h 91"/>
                <a:gd name="T24" fmla="*/ 32 w 91"/>
                <a:gd name="T25" fmla="*/ 32 h 91"/>
                <a:gd name="T26" fmla="*/ 32 w 91"/>
                <a:gd name="T27" fmla="*/ 32 h 91"/>
                <a:gd name="T28" fmla="*/ 56 w 91"/>
                <a:gd name="T29" fmla="*/ 32 h 91"/>
                <a:gd name="T30" fmla="*/ 84 w 91"/>
                <a:gd name="T31" fmla="*/ 60 h 91"/>
                <a:gd name="T32" fmla="*/ 84 w 91"/>
                <a:gd name="T33" fmla="*/ 85 h 91"/>
                <a:gd name="T34" fmla="*/ 84 w 91"/>
                <a:gd name="T35" fmla="*/ 85 h 91"/>
                <a:gd name="T36" fmla="*/ 60 w 91"/>
                <a:gd name="T37" fmla="*/ 85 h 91"/>
                <a:gd name="T38" fmla="*/ 32 w 91"/>
                <a:gd name="T39" fmla="*/ 56 h 91"/>
                <a:gd name="T40" fmla="*/ 32 w 91"/>
                <a:gd name="T41" fmla="*/ 3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91">
                  <a:moveTo>
                    <a:pt x="22" y="22"/>
                  </a:moveTo>
                  <a:cubicBezTo>
                    <a:pt x="32" y="32"/>
                    <a:pt x="32" y="32"/>
                    <a:pt x="32" y="32"/>
                  </a:cubicBezTo>
                  <a:moveTo>
                    <a:pt x="57" y="33"/>
                  </a:moveTo>
                  <a:cubicBezTo>
                    <a:pt x="59" y="31"/>
                    <a:pt x="59" y="31"/>
                    <a:pt x="59" y="31"/>
                  </a:cubicBezTo>
                  <a:cubicBezTo>
                    <a:pt x="66" y="24"/>
                    <a:pt x="66" y="13"/>
                    <a:pt x="59" y="6"/>
                  </a:cubicBezTo>
                  <a:cubicBezTo>
                    <a:pt x="52" y="0"/>
                    <a:pt x="41" y="0"/>
                    <a:pt x="35" y="6"/>
                  </a:cubicBezTo>
                  <a:cubicBezTo>
                    <a:pt x="6" y="35"/>
                    <a:pt x="6" y="35"/>
                    <a:pt x="6" y="35"/>
                  </a:cubicBezTo>
                  <a:cubicBezTo>
                    <a:pt x="0" y="41"/>
                    <a:pt x="0" y="52"/>
                    <a:pt x="6" y="59"/>
                  </a:cubicBezTo>
                  <a:cubicBezTo>
                    <a:pt x="13" y="66"/>
                    <a:pt x="24" y="66"/>
                    <a:pt x="31" y="59"/>
                  </a:cubicBezTo>
                  <a:cubicBezTo>
                    <a:pt x="33" y="57"/>
                    <a:pt x="33" y="57"/>
                    <a:pt x="33" y="57"/>
                  </a:cubicBezTo>
                  <a:moveTo>
                    <a:pt x="48" y="69"/>
                  </a:moveTo>
                  <a:cubicBezTo>
                    <a:pt x="69" y="48"/>
                    <a:pt x="69" y="48"/>
                    <a:pt x="69" y="48"/>
                  </a:cubicBezTo>
                  <a:moveTo>
                    <a:pt x="32" y="32"/>
                  </a:moveTo>
                  <a:cubicBezTo>
                    <a:pt x="32" y="32"/>
                    <a:pt x="32" y="32"/>
                    <a:pt x="32" y="32"/>
                  </a:cubicBezTo>
                  <a:cubicBezTo>
                    <a:pt x="39" y="25"/>
                    <a:pt x="50" y="25"/>
                    <a:pt x="56" y="32"/>
                  </a:cubicBezTo>
                  <a:cubicBezTo>
                    <a:pt x="84" y="60"/>
                    <a:pt x="84" y="60"/>
                    <a:pt x="84" y="60"/>
                  </a:cubicBezTo>
                  <a:cubicBezTo>
                    <a:pt x="91" y="67"/>
                    <a:pt x="91" y="78"/>
                    <a:pt x="84" y="85"/>
                  </a:cubicBezTo>
                  <a:cubicBezTo>
                    <a:pt x="84" y="85"/>
                    <a:pt x="84" y="85"/>
                    <a:pt x="84" y="85"/>
                  </a:cubicBezTo>
                  <a:cubicBezTo>
                    <a:pt x="78" y="91"/>
                    <a:pt x="67" y="91"/>
                    <a:pt x="60" y="85"/>
                  </a:cubicBezTo>
                  <a:cubicBezTo>
                    <a:pt x="32" y="56"/>
                    <a:pt x="32" y="56"/>
                    <a:pt x="32" y="56"/>
                  </a:cubicBezTo>
                  <a:cubicBezTo>
                    <a:pt x="25" y="50"/>
                    <a:pt x="25" y="39"/>
                    <a:pt x="32" y="32"/>
                  </a:cubicBezTo>
                  <a:close/>
                </a:path>
              </a:pathLst>
            </a:custGeom>
            <a:noFill/>
            <a:ln w="19050" cap="rnd">
              <a:solidFill>
                <a:srgbClr val="3B97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20" name="Block Arc 19">
              <a:extLst>
                <a:ext uri="{FF2B5EF4-FFF2-40B4-BE49-F238E27FC236}">
                  <a16:creationId xmlns:a16="http://schemas.microsoft.com/office/drawing/2014/main" id="{2C1D86B0-D80C-CF1E-0BF6-029F96CEDBC0}"/>
                </a:ext>
              </a:extLst>
            </p:cNvPr>
            <p:cNvSpPr/>
            <p:nvPr/>
          </p:nvSpPr>
          <p:spPr>
            <a:xfrm rot="13691775" flipH="1">
              <a:off x="1019201" y="3817607"/>
              <a:ext cx="726990" cy="732708"/>
            </a:xfrm>
            <a:prstGeom prst="blockArc">
              <a:avLst>
                <a:gd name="adj1" fmla="val 11382498"/>
                <a:gd name="adj2" fmla="val 21058651"/>
                <a:gd name="adj3" fmla="val 0"/>
              </a:avLst>
            </a:prstGeom>
            <a:ln w="19050">
              <a:solidFill>
                <a:srgbClr val="3B97DE"/>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sp>
          <p:nvSpPr>
            <p:cNvPr id="21" name="Block Arc 20">
              <a:extLst>
                <a:ext uri="{FF2B5EF4-FFF2-40B4-BE49-F238E27FC236}">
                  <a16:creationId xmlns:a16="http://schemas.microsoft.com/office/drawing/2014/main" id="{EA58B9D8-3582-FF34-3AD3-90829F87F106}"/>
                </a:ext>
              </a:extLst>
            </p:cNvPr>
            <p:cNvSpPr/>
            <p:nvPr/>
          </p:nvSpPr>
          <p:spPr>
            <a:xfrm rot="13691775" flipV="1">
              <a:off x="1011854" y="3825968"/>
              <a:ext cx="726990" cy="732708"/>
            </a:xfrm>
            <a:prstGeom prst="blockArc">
              <a:avLst>
                <a:gd name="adj1" fmla="val 11382498"/>
                <a:gd name="adj2" fmla="val 21058651"/>
                <a:gd name="adj3" fmla="val 0"/>
              </a:avLst>
            </a:prstGeom>
            <a:ln w="19050" cap="rnd">
              <a:solidFill>
                <a:srgbClr val="3B97DE"/>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grpSp>
      <p:grpSp>
        <p:nvGrpSpPr>
          <p:cNvPr id="8" name="Group 7">
            <a:extLst>
              <a:ext uri="{FF2B5EF4-FFF2-40B4-BE49-F238E27FC236}">
                <a16:creationId xmlns:a16="http://schemas.microsoft.com/office/drawing/2014/main" id="{ACD1A50F-88EC-4997-96D3-E9B82AE645EC}"/>
              </a:ext>
            </a:extLst>
          </p:cNvPr>
          <p:cNvGrpSpPr/>
          <p:nvPr/>
        </p:nvGrpSpPr>
        <p:grpSpPr>
          <a:xfrm>
            <a:off x="734718" y="1545778"/>
            <a:ext cx="878070" cy="878070"/>
            <a:chOff x="887118" y="1436020"/>
            <a:chExt cx="987828" cy="987828"/>
          </a:xfrm>
        </p:grpSpPr>
        <p:sp>
          <p:nvSpPr>
            <p:cNvPr id="67" name="Oval 66">
              <a:extLst>
                <a:ext uri="{FF2B5EF4-FFF2-40B4-BE49-F238E27FC236}">
                  <a16:creationId xmlns:a16="http://schemas.microsoft.com/office/drawing/2014/main" id="{84CBFF6D-179D-F66A-C4BC-603C0A403CF0}"/>
                </a:ext>
              </a:extLst>
            </p:cNvPr>
            <p:cNvSpPr/>
            <p:nvPr/>
          </p:nvSpPr>
          <p:spPr>
            <a:xfrm>
              <a:off x="887118" y="1436020"/>
              <a:ext cx="987828" cy="987828"/>
            </a:xfrm>
            <a:prstGeom prst="ellipse">
              <a:avLst/>
            </a:prstGeom>
            <a:solidFill>
              <a:srgbClr val="AAD3D1"/>
            </a:solidFill>
            <a:ln w="76200">
              <a:solidFill>
                <a:srgbClr val="E9F3F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70" name="Freeform 169">
              <a:extLst>
                <a:ext uri="{FF2B5EF4-FFF2-40B4-BE49-F238E27FC236}">
                  <a16:creationId xmlns:a16="http://schemas.microsoft.com/office/drawing/2014/main" id="{5A8B4458-4C54-F3BB-4A3C-7985F83D42DE}"/>
                </a:ext>
              </a:extLst>
            </p:cNvPr>
            <p:cNvSpPr>
              <a:spLocks noEditPoints="1"/>
            </p:cNvSpPr>
            <p:nvPr/>
          </p:nvSpPr>
          <p:spPr bwMode="auto">
            <a:xfrm>
              <a:off x="1167460" y="1740666"/>
              <a:ext cx="427145" cy="405463"/>
            </a:xfrm>
            <a:custGeom>
              <a:avLst/>
              <a:gdLst>
                <a:gd name="T0" fmla="*/ 118 w 166"/>
                <a:gd name="T1" fmla="*/ 13 h 157"/>
                <a:gd name="T2" fmla="*/ 104 w 166"/>
                <a:gd name="T3" fmla="*/ 27 h 157"/>
                <a:gd name="T4" fmla="*/ 91 w 166"/>
                <a:gd name="T5" fmla="*/ 13 h 157"/>
                <a:gd name="T6" fmla="*/ 104 w 166"/>
                <a:gd name="T7" fmla="*/ 0 h 157"/>
                <a:gd name="T8" fmla="*/ 118 w 166"/>
                <a:gd name="T9" fmla="*/ 13 h 157"/>
                <a:gd name="T10" fmla="*/ 146 w 166"/>
                <a:gd name="T11" fmla="*/ 70 h 157"/>
                <a:gd name="T12" fmla="*/ 109 w 166"/>
                <a:gd name="T13" fmla="*/ 57 h 157"/>
                <a:gd name="T14" fmla="*/ 88 w 166"/>
                <a:gd name="T15" fmla="*/ 28 h 157"/>
                <a:gd name="T16" fmla="*/ 52 w 166"/>
                <a:gd name="T17" fmla="*/ 73 h 157"/>
                <a:gd name="T18" fmla="*/ 92 w 166"/>
                <a:gd name="T19" fmla="*/ 104 h 157"/>
                <a:gd name="T20" fmla="*/ 86 w 166"/>
                <a:gd name="T21" fmla="*/ 145 h 157"/>
                <a:gd name="T22" fmla="*/ 62 w 166"/>
                <a:gd name="T23" fmla="*/ 126 h 157"/>
                <a:gd name="T24" fmla="*/ 31 w 166"/>
                <a:gd name="T25" fmla="*/ 157 h 157"/>
                <a:gd name="T26" fmla="*/ 0 w 166"/>
                <a:gd name="T27" fmla="*/ 126 h 157"/>
                <a:gd name="T28" fmla="*/ 31 w 166"/>
                <a:gd name="T29" fmla="*/ 95 h 157"/>
                <a:gd name="T30" fmla="*/ 62 w 166"/>
                <a:gd name="T31" fmla="*/ 126 h 157"/>
                <a:gd name="T32" fmla="*/ 166 w 166"/>
                <a:gd name="T33" fmla="*/ 126 h 157"/>
                <a:gd name="T34" fmla="*/ 135 w 166"/>
                <a:gd name="T35" fmla="*/ 157 h 157"/>
                <a:gd name="T36" fmla="*/ 104 w 166"/>
                <a:gd name="T37" fmla="*/ 126 h 157"/>
                <a:gd name="T38" fmla="*/ 135 w 166"/>
                <a:gd name="T39" fmla="*/ 95 h 157"/>
                <a:gd name="T40" fmla="*/ 166 w 166"/>
                <a:gd name="T41" fmla="*/ 12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157">
                  <a:moveTo>
                    <a:pt x="118" y="13"/>
                  </a:moveTo>
                  <a:cubicBezTo>
                    <a:pt x="118" y="21"/>
                    <a:pt x="112" y="27"/>
                    <a:pt x="104" y="27"/>
                  </a:cubicBezTo>
                  <a:cubicBezTo>
                    <a:pt x="97" y="27"/>
                    <a:pt x="91" y="21"/>
                    <a:pt x="91" y="13"/>
                  </a:cubicBezTo>
                  <a:cubicBezTo>
                    <a:pt x="91" y="6"/>
                    <a:pt x="97" y="0"/>
                    <a:pt x="104" y="0"/>
                  </a:cubicBezTo>
                  <a:cubicBezTo>
                    <a:pt x="112" y="0"/>
                    <a:pt x="118" y="6"/>
                    <a:pt x="118" y="13"/>
                  </a:cubicBezTo>
                  <a:close/>
                  <a:moveTo>
                    <a:pt x="146" y="70"/>
                  </a:moveTo>
                  <a:cubicBezTo>
                    <a:pt x="109" y="57"/>
                    <a:pt x="109" y="57"/>
                    <a:pt x="109" y="57"/>
                  </a:cubicBezTo>
                  <a:cubicBezTo>
                    <a:pt x="88" y="28"/>
                    <a:pt x="88" y="28"/>
                    <a:pt x="88" y="28"/>
                  </a:cubicBezTo>
                  <a:cubicBezTo>
                    <a:pt x="88" y="28"/>
                    <a:pt x="55" y="45"/>
                    <a:pt x="52" y="73"/>
                  </a:cubicBezTo>
                  <a:cubicBezTo>
                    <a:pt x="49" y="96"/>
                    <a:pt x="95" y="100"/>
                    <a:pt x="92" y="104"/>
                  </a:cubicBezTo>
                  <a:cubicBezTo>
                    <a:pt x="86" y="145"/>
                    <a:pt x="86" y="145"/>
                    <a:pt x="86" y="145"/>
                  </a:cubicBezTo>
                  <a:moveTo>
                    <a:pt x="62" y="126"/>
                  </a:moveTo>
                  <a:cubicBezTo>
                    <a:pt x="62" y="143"/>
                    <a:pt x="48" y="157"/>
                    <a:pt x="31" y="157"/>
                  </a:cubicBezTo>
                  <a:cubicBezTo>
                    <a:pt x="14" y="157"/>
                    <a:pt x="0" y="143"/>
                    <a:pt x="0" y="126"/>
                  </a:cubicBezTo>
                  <a:cubicBezTo>
                    <a:pt x="0" y="109"/>
                    <a:pt x="14" y="95"/>
                    <a:pt x="31" y="95"/>
                  </a:cubicBezTo>
                  <a:cubicBezTo>
                    <a:pt x="48" y="95"/>
                    <a:pt x="62" y="109"/>
                    <a:pt x="62" y="126"/>
                  </a:cubicBezTo>
                  <a:close/>
                  <a:moveTo>
                    <a:pt x="166" y="126"/>
                  </a:moveTo>
                  <a:cubicBezTo>
                    <a:pt x="166" y="143"/>
                    <a:pt x="152" y="157"/>
                    <a:pt x="135" y="157"/>
                  </a:cubicBezTo>
                  <a:cubicBezTo>
                    <a:pt x="117" y="157"/>
                    <a:pt x="104" y="143"/>
                    <a:pt x="104" y="126"/>
                  </a:cubicBezTo>
                  <a:cubicBezTo>
                    <a:pt x="104" y="109"/>
                    <a:pt x="117" y="95"/>
                    <a:pt x="135" y="95"/>
                  </a:cubicBezTo>
                  <a:cubicBezTo>
                    <a:pt x="152" y="95"/>
                    <a:pt x="166" y="109"/>
                    <a:pt x="166" y="126"/>
                  </a:cubicBezTo>
                  <a:close/>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23" name="Block Arc 22">
              <a:extLst>
                <a:ext uri="{FF2B5EF4-FFF2-40B4-BE49-F238E27FC236}">
                  <a16:creationId xmlns:a16="http://schemas.microsoft.com/office/drawing/2014/main" id="{EBB00849-0EEB-12BB-3D5A-7760BF9F4037}"/>
                </a:ext>
              </a:extLst>
            </p:cNvPr>
            <p:cNvSpPr/>
            <p:nvPr/>
          </p:nvSpPr>
          <p:spPr>
            <a:xfrm rot="13691775" flipH="1">
              <a:off x="1016025" y="1561744"/>
              <a:ext cx="726990" cy="732708"/>
            </a:xfrm>
            <a:prstGeom prst="blockArc">
              <a:avLst>
                <a:gd name="adj1" fmla="val 11382498"/>
                <a:gd name="adj2" fmla="val 21058651"/>
                <a:gd name="adj3" fmla="val 0"/>
              </a:avLst>
            </a:prstGeom>
            <a:ln w="19050">
              <a:solidFill>
                <a:srgbClr val="2A918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sp>
          <p:nvSpPr>
            <p:cNvPr id="24" name="Block Arc 23">
              <a:extLst>
                <a:ext uri="{FF2B5EF4-FFF2-40B4-BE49-F238E27FC236}">
                  <a16:creationId xmlns:a16="http://schemas.microsoft.com/office/drawing/2014/main" id="{26D44576-40A8-820F-54B9-E26BF2514DCA}"/>
                </a:ext>
              </a:extLst>
            </p:cNvPr>
            <p:cNvSpPr/>
            <p:nvPr/>
          </p:nvSpPr>
          <p:spPr>
            <a:xfrm rot="13691775" flipV="1">
              <a:off x="1008678" y="1570105"/>
              <a:ext cx="726990" cy="732708"/>
            </a:xfrm>
            <a:prstGeom prst="blockArc">
              <a:avLst>
                <a:gd name="adj1" fmla="val 11382498"/>
                <a:gd name="adj2" fmla="val 21058651"/>
                <a:gd name="adj3" fmla="val 0"/>
              </a:avLst>
            </a:prstGeom>
            <a:ln w="19050" cap="rnd">
              <a:solidFill>
                <a:srgbClr val="2A918B"/>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grpSp>
      <p:sp>
        <p:nvSpPr>
          <p:cNvPr id="63" name="TextBox 62">
            <a:extLst>
              <a:ext uri="{FF2B5EF4-FFF2-40B4-BE49-F238E27FC236}">
                <a16:creationId xmlns:a16="http://schemas.microsoft.com/office/drawing/2014/main" id="{9BA6C6DE-4A53-4A57-9CAB-E5590E7910B4}"/>
              </a:ext>
            </a:extLst>
          </p:cNvPr>
          <p:cNvSpPr txBox="1"/>
          <p:nvPr/>
        </p:nvSpPr>
        <p:spPr>
          <a:xfrm>
            <a:off x="743530" y="2269823"/>
            <a:ext cx="5698210" cy="287115"/>
          </a:xfrm>
          <a:prstGeom prst="rect">
            <a:avLst/>
          </a:prstGeom>
          <a:noFill/>
        </p:spPr>
        <p:txBody>
          <a:bodyPr wrap="squar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8" name="Rectangle 67">
            <a:extLst>
              <a:ext uri="{FF2B5EF4-FFF2-40B4-BE49-F238E27FC236}">
                <a16:creationId xmlns:a16="http://schemas.microsoft.com/office/drawing/2014/main" id="{DF1D0ED1-9630-43DC-A4F0-32D687358883}"/>
              </a:ext>
            </a:extLst>
          </p:cNvPr>
          <p:cNvSpPr/>
          <p:nvPr/>
        </p:nvSpPr>
        <p:spPr>
          <a:xfrm>
            <a:off x="1324053" y="2751858"/>
            <a:ext cx="5270087" cy="72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36000" rIns="72000" bIns="36000" rtlCol="0" anchor="ct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a:ln>
                  <a:noFill/>
                </a:ln>
                <a:solidFill>
                  <a:srgbClr val="939AA7">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Behavior modification</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a:ln>
                  <a:noFill/>
                </a:ln>
                <a:solidFill>
                  <a:srgbClr val="939AA7">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Cognitive behavioral therapy</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a:ln>
                  <a:noFill/>
                </a:ln>
                <a:solidFill>
                  <a:srgbClr val="939AA7">
                    <a:lumMod val="50000"/>
                  </a:srgbClr>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Counselling</a:t>
            </a:r>
          </a:p>
        </p:txBody>
      </p:sp>
      <p:sp>
        <p:nvSpPr>
          <p:cNvPr id="72" name="TextBox 71">
            <a:extLst>
              <a:ext uri="{FF2B5EF4-FFF2-40B4-BE49-F238E27FC236}">
                <a16:creationId xmlns:a16="http://schemas.microsoft.com/office/drawing/2014/main" id="{FCF1728C-74D8-4B03-8552-3CD0EEE5B740}"/>
              </a:ext>
            </a:extLst>
          </p:cNvPr>
          <p:cNvSpPr txBox="1"/>
          <p:nvPr/>
        </p:nvSpPr>
        <p:spPr>
          <a:xfrm>
            <a:off x="1567233" y="2487161"/>
            <a:ext cx="4425892" cy="274562"/>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939AA7">
                    <a:lumMod val="50000"/>
                  </a:srgbClr>
                </a:solidFill>
                <a:effectLst/>
                <a:uLnTx/>
                <a:uFillTx/>
                <a:latin typeface="Apis For Office"/>
                <a:ea typeface="Apis For Office Light" panose="020B0404010101010104" pitchFamily="34" charset="0"/>
                <a:cs typeface="Apis For Office Light" panose="020B0404010101010104" pitchFamily="34" charset="0"/>
              </a:rPr>
              <a:t>Behavioral interventions: ~5% weight loss</a:t>
            </a:r>
            <a:endParaRPr kumimoji="0" lang="en-GB" sz="1600" b="1" i="0" u="none" strike="noStrike" kern="1200" cap="none" spc="0" normalizeH="0" baseline="0" noProof="0">
              <a:ln>
                <a:noFill/>
              </a:ln>
              <a:solidFill>
                <a:srgbClr val="939AA7">
                  <a:lumMod val="50000"/>
                </a:srgbClr>
              </a:solidFill>
              <a:effectLst/>
              <a:uLnTx/>
              <a:uFillTx/>
              <a:latin typeface="Apis For Office"/>
              <a:ea typeface="Apis For Office Light" panose="020B0404010101010104" pitchFamily="34" charset="0"/>
              <a:cs typeface="Apis For Office Light" panose="020B0404010101010104" pitchFamily="34" charset="0"/>
            </a:endParaRPr>
          </a:p>
        </p:txBody>
      </p:sp>
      <p:grpSp>
        <p:nvGrpSpPr>
          <p:cNvPr id="11" name="Group 10">
            <a:extLst>
              <a:ext uri="{FF2B5EF4-FFF2-40B4-BE49-F238E27FC236}">
                <a16:creationId xmlns:a16="http://schemas.microsoft.com/office/drawing/2014/main" id="{04BC4637-790F-494F-8217-3FEBE13392AA}"/>
              </a:ext>
            </a:extLst>
          </p:cNvPr>
          <p:cNvGrpSpPr/>
          <p:nvPr/>
        </p:nvGrpSpPr>
        <p:grpSpPr>
          <a:xfrm>
            <a:off x="734718" y="2672823"/>
            <a:ext cx="878070" cy="878070"/>
            <a:chOff x="887118" y="2563065"/>
            <a:chExt cx="987828" cy="987828"/>
          </a:xfrm>
        </p:grpSpPr>
        <p:sp>
          <p:nvSpPr>
            <p:cNvPr id="69" name="Oval 68">
              <a:extLst>
                <a:ext uri="{FF2B5EF4-FFF2-40B4-BE49-F238E27FC236}">
                  <a16:creationId xmlns:a16="http://schemas.microsoft.com/office/drawing/2014/main" id="{9386C817-7E03-4B1E-BCFF-B4CCB9710A54}"/>
                </a:ext>
              </a:extLst>
            </p:cNvPr>
            <p:cNvSpPr/>
            <p:nvPr/>
          </p:nvSpPr>
          <p:spPr>
            <a:xfrm>
              <a:off x="887118" y="2563065"/>
              <a:ext cx="987828" cy="987828"/>
            </a:xfrm>
            <a:prstGeom prst="ellipse">
              <a:avLst/>
            </a:prstGeom>
            <a:solidFill>
              <a:srgbClr val="D4D7DC"/>
            </a:solidFill>
            <a:ln w="76200">
              <a:solidFill>
                <a:srgbClr val="E9F3F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75" name="Block Arc 74">
              <a:extLst>
                <a:ext uri="{FF2B5EF4-FFF2-40B4-BE49-F238E27FC236}">
                  <a16:creationId xmlns:a16="http://schemas.microsoft.com/office/drawing/2014/main" id="{34E495E8-59E8-4A60-A208-A82C8E47D693}"/>
                </a:ext>
              </a:extLst>
            </p:cNvPr>
            <p:cNvSpPr/>
            <p:nvPr/>
          </p:nvSpPr>
          <p:spPr>
            <a:xfrm rot="13691775" flipH="1">
              <a:off x="1016025" y="2688789"/>
              <a:ext cx="726990" cy="732708"/>
            </a:xfrm>
            <a:prstGeom prst="blockArc">
              <a:avLst>
                <a:gd name="adj1" fmla="val 11382498"/>
                <a:gd name="adj2" fmla="val 21058651"/>
                <a:gd name="adj3" fmla="val 0"/>
              </a:avLst>
            </a:prstGeom>
            <a:ln w="1905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sp>
          <p:nvSpPr>
            <p:cNvPr id="76" name="Block Arc 75">
              <a:extLst>
                <a:ext uri="{FF2B5EF4-FFF2-40B4-BE49-F238E27FC236}">
                  <a16:creationId xmlns:a16="http://schemas.microsoft.com/office/drawing/2014/main" id="{F77DA453-1E91-4780-8112-9A49B33F6737}"/>
                </a:ext>
              </a:extLst>
            </p:cNvPr>
            <p:cNvSpPr/>
            <p:nvPr/>
          </p:nvSpPr>
          <p:spPr>
            <a:xfrm rot="13691775" flipV="1">
              <a:off x="1008678" y="2697150"/>
              <a:ext cx="726990" cy="732708"/>
            </a:xfrm>
            <a:prstGeom prst="blockArc">
              <a:avLst>
                <a:gd name="adj1" fmla="val 11382498"/>
                <a:gd name="adj2" fmla="val 21058651"/>
                <a:gd name="adj3" fmla="val 0"/>
              </a:avLst>
            </a:prstGeom>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grpSp>
          <p:nvGrpSpPr>
            <p:cNvPr id="77" name="Group 12">
              <a:extLst>
                <a:ext uri="{FF2B5EF4-FFF2-40B4-BE49-F238E27FC236}">
                  <a16:creationId xmlns:a16="http://schemas.microsoft.com/office/drawing/2014/main" id="{552C0590-8EA4-45B5-B216-CFDF5F6AAD5C}"/>
                </a:ext>
              </a:extLst>
            </p:cNvPr>
            <p:cNvGrpSpPr>
              <a:grpSpLocks noChangeAspect="1"/>
            </p:cNvGrpSpPr>
            <p:nvPr/>
          </p:nvGrpSpPr>
          <p:grpSpPr bwMode="auto">
            <a:xfrm>
              <a:off x="1111149" y="2854316"/>
              <a:ext cx="519364" cy="439499"/>
              <a:chOff x="1788" y="696"/>
              <a:chExt cx="2185" cy="1849"/>
            </a:xfrm>
            <a:solidFill>
              <a:schemeClr val="accent6"/>
            </a:solidFill>
          </p:grpSpPr>
          <p:sp>
            <p:nvSpPr>
              <p:cNvPr id="79" name="Freeform 13">
                <a:extLst>
                  <a:ext uri="{FF2B5EF4-FFF2-40B4-BE49-F238E27FC236}">
                    <a16:creationId xmlns:a16="http://schemas.microsoft.com/office/drawing/2014/main" id="{30A7E669-7C34-4AA0-BD46-A4966C3B3ADD}"/>
                  </a:ext>
                </a:extLst>
              </p:cNvPr>
              <p:cNvSpPr>
                <a:spLocks noEditPoints="1"/>
              </p:cNvSpPr>
              <p:nvPr/>
            </p:nvSpPr>
            <p:spPr bwMode="auto">
              <a:xfrm>
                <a:off x="1788" y="696"/>
                <a:ext cx="2185" cy="1849"/>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1" name="Freeform 14">
                <a:extLst>
                  <a:ext uri="{FF2B5EF4-FFF2-40B4-BE49-F238E27FC236}">
                    <a16:creationId xmlns:a16="http://schemas.microsoft.com/office/drawing/2014/main" id="{342FC39E-54EE-4A1E-97D0-CD2D15958790}"/>
                  </a:ext>
                </a:extLst>
              </p:cNvPr>
              <p:cNvSpPr>
                <a:spLocks/>
              </p:cNvSpPr>
              <p:nvPr/>
            </p:nvSpPr>
            <p:spPr bwMode="auto">
              <a:xfrm>
                <a:off x="2141" y="1030"/>
                <a:ext cx="1472" cy="883"/>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grpSp>
      </p:grpSp>
      <p:grpSp>
        <p:nvGrpSpPr>
          <p:cNvPr id="9" name="Group 8">
            <a:extLst>
              <a:ext uri="{FF2B5EF4-FFF2-40B4-BE49-F238E27FC236}">
                <a16:creationId xmlns:a16="http://schemas.microsoft.com/office/drawing/2014/main" id="{E65009F5-A171-A92F-B4BD-7BF91FB958DA}"/>
              </a:ext>
            </a:extLst>
          </p:cNvPr>
          <p:cNvGrpSpPr/>
          <p:nvPr/>
        </p:nvGrpSpPr>
        <p:grpSpPr>
          <a:xfrm>
            <a:off x="7345467" y="471543"/>
            <a:ext cx="4561200" cy="5512689"/>
            <a:chOff x="7130249" y="678013"/>
            <a:chExt cx="4561200" cy="5512689"/>
          </a:xfrm>
        </p:grpSpPr>
        <p:grpSp>
          <p:nvGrpSpPr>
            <p:cNvPr id="15" name="Group 14">
              <a:extLst>
                <a:ext uri="{FF2B5EF4-FFF2-40B4-BE49-F238E27FC236}">
                  <a16:creationId xmlns:a16="http://schemas.microsoft.com/office/drawing/2014/main" id="{15E635FD-20E0-34F7-92AA-DEE16B22C3B8}"/>
                </a:ext>
              </a:extLst>
            </p:cNvPr>
            <p:cNvGrpSpPr/>
            <p:nvPr/>
          </p:nvGrpSpPr>
          <p:grpSpPr>
            <a:xfrm>
              <a:off x="7130249" y="678013"/>
              <a:ext cx="4561200" cy="5512689"/>
              <a:chOff x="7167747" y="666130"/>
              <a:chExt cx="4561200" cy="5512689"/>
            </a:xfrm>
          </p:grpSpPr>
          <p:grpSp>
            <p:nvGrpSpPr>
              <p:cNvPr id="870" name="Group 869">
                <a:extLst>
                  <a:ext uri="{FF2B5EF4-FFF2-40B4-BE49-F238E27FC236}">
                    <a16:creationId xmlns:a16="http://schemas.microsoft.com/office/drawing/2014/main" id="{0956DEAC-4D65-01EE-F543-D88FE7A8BA04}"/>
                  </a:ext>
                </a:extLst>
              </p:cNvPr>
              <p:cNvGrpSpPr/>
              <p:nvPr/>
            </p:nvGrpSpPr>
            <p:grpSpPr>
              <a:xfrm>
                <a:off x="7167747" y="666130"/>
                <a:ext cx="4561200" cy="5498512"/>
                <a:chOff x="9246610" y="2530246"/>
                <a:chExt cx="3599578" cy="4742731"/>
              </a:xfrm>
            </p:grpSpPr>
            <p:sp>
              <p:nvSpPr>
                <p:cNvPr id="871" name="Rectangle 870">
                  <a:extLst>
                    <a:ext uri="{FF2B5EF4-FFF2-40B4-BE49-F238E27FC236}">
                      <a16:creationId xmlns:a16="http://schemas.microsoft.com/office/drawing/2014/main" id="{FB68591E-2721-BDB0-CED9-E105411080DA}"/>
                    </a:ext>
                  </a:extLst>
                </p:cNvPr>
                <p:cNvSpPr/>
                <p:nvPr/>
              </p:nvSpPr>
              <p:spPr>
                <a:xfrm>
                  <a:off x="9246610" y="2530246"/>
                  <a:ext cx="3599578" cy="4742731"/>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873" name="TextBox 872">
                  <a:extLst>
                    <a:ext uri="{FF2B5EF4-FFF2-40B4-BE49-F238E27FC236}">
                      <a16:creationId xmlns:a16="http://schemas.microsoft.com/office/drawing/2014/main" id="{24F307D3-4CFA-CF0E-2EA6-2BDA0C7C6FE4}"/>
                    </a:ext>
                  </a:extLst>
                </p:cNvPr>
                <p:cNvSpPr txBox="1"/>
                <p:nvPr/>
              </p:nvSpPr>
              <p:spPr>
                <a:xfrm>
                  <a:off x="9473076" y="2806861"/>
                  <a:ext cx="3204659" cy="822963"/>
                </a:xfrm>
                <a:prstGeom prst="rect">
                  <a:avLst/>
                </a:prstGeom>
                <a:noFill/>
              </p:spPr>
              <p:txBody>
                <a:bodyPr wrap="square">
                  <a:spAutoFit/>
                </a:bodyPr>
                <a:lstStyle>
                  <a:defPPr>
                    <a:defRPr lang="en-US"/>
                  </a:defPPr>
                  <a:lvl1pPr>
                    <a:defRPr sz="2800" b="1">
                      <a:solidFill>
                        <a:srgbClr val="001965"/>
                      </a:solidFill>
                      <a:latin typeface="+mj-lt"/>
                      <a:ea typeface="Apis For Office Light" panose="020B0404010101010104" pitchFamily="34" charset="0"/>
                      <a:cs typeface="Apis For Office Light" panose="020B04040101010101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The approach to </a:t>
                  </a:r>
                  <a:br>
                    <a:rPr kumimoji="0" lang="en-US" sz="2800" b="1"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br>
                  <a:r>
                    <a:rPr kumimoji="0" lang="en-US" sz="2800" b="1"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obesity management</a:t>
                  </a:r>
                </a:p>
              </p:txBody>
            </p:sp>
          </p:grpSp>
          <p:grpSp>
            <p:nvGrpSpPr>
              <p:cNvPr id="85" name="Group 84">
                <a:extLst>
                  <a:ext uri="{FF2B5EF4-FFF2-40B4-BE49-F238E27FC236}">
                    <a16:creationId xmlns:a16="http://schemas.microsoft.com/office/drawing/2014/main" id="{C6F4A70F-91DE-0B45-9B0E-CD3EEFB38CEA}"/>
                  </a:ext>
                </a:extLst>
              </p:cNvPr>
              <p:cNvGrpSpPr/>
              <p:nvPr/>
            </p:nvGrpSpPr>
            <p:grpSpPr>
              <a:xfrm>
                <a:off x="7168507" y="5446133"/>
                <a:ext cx="2164167" cy="732686"/>
                <a:chOff x="7223454" y="5611641"/>
                <a:chExt cx="1899598" cy="732686"/>
              </a:xfrm>
            </p:grpSpPr>
            <p:sp>
              <p:nvSpPr>
                <p:cNvPr id="86" name="Rectangle 85">
                  <a:extLst>
                    <a:ext uri="{FF2B5EF4-FFF2-40B4-BE49-F238E27FC236}">
                      <a16:creationId xmlns:a16="http://schemas.microsoft.com/office/drawing/2014/main" id="{F6420820-90E7-B941-2A01-42A1110BEEF9}"/>
                    </a:ext>
                  </a:extLst>
                </p:cNvPr>
                <p:cNvSpPr/>
                <p:nvPr/>
              </p:nvSpPr>
              <p:spPr>
                <a:xfrm>
                  <a:off x="7223454" y="5611641"/>
                  <a:ext cx="1899598" cy="732686"/>
                </a:xfrm>
                <a:prstGeom prst="rect">
                  <a:avLst/>
                </a:prstGeom>
                <a:solidFill>
                  <a:srgbClr val="D4D7D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87" name="Rectangle 86">
                  <a:extLst>
                    <a:ext uri="{FF2B5EF4-FFF2-40B4-BE49-F238E27FC236}">
                      <a16:creationId xmlns:a16="http://schemas.microsoft.com/office/drawing/2014/main" id="{29C73855-4120-139C-6707-564E24634F87}"/>
                    </a:ext>
                  </a:extLst>
                </p:cNvPr>
                <p:cNvSpPr/>
                <p:nvPr/>
              </p:nvSpPr>
              <p:spPr>
                <a:xfrm>
                  <a:off x="7767468" y="5776376"/>
                  <a:ext cx="1288546" cy="41297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Diet &amp; exercise alone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lt;5% weight loss</a:t>
                  </a:r>
                  <a:r>
                    <a:rPr kumimoji="0" lang="da-DK" sz="900" b="0" i="0" u="none" strike="noStrike" kern="1200" cap="none" spc="0" normalizeH="0" baseline="3000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2</a:t>
                  </a:r>
                  <a:endParaRPr kumimoji="0" lang="da-DK" sz="9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grpSp>
          <p:grpSp>
            <p:nvGrpSpPr>
              <p:cNvPr id="92" name="Group 91">
                <a:extLst>
                  <a:ext uri="{FF2B5EF4-FFF2-40B4-BE49-F238E27FC236}">
                    <a16:creationId xmlns:a16="http://schemas.microsoft.com/office/drawing/2014/main" id="{CB4BFE6B-87A3-AE2A-CB88-37001B6DF384}"/>
                  </a:ext>
                </a:extLst>
              </p:cNvPr>
              <p:cNvGrpSpPr/>
              <p:nvPr/>
            </p:nvGrpSpPr>
            <p:grpSpPr>
              <a:xfrm>
                <a:off x="9364851" y="5446133"/>
                <a:ext cx="2164170" cy="732686"/>
                <a:chOff x="7184870" y="5611641"/>
                <a:chExt cx="1899598" cy="732686"/>
              </a:xfrm>
            </p:grpSpPr>
            <p:sp>
              <p:nvSpPr>
                <p:cNvPr id="93" name="Rectangle 92">
                  <a:extLst>
                    <a:ext uri="{FF2B5EF4-FFF2-40B4-BE49-F238E27FC236}">
                      <a16:creationId xmlns:a16="http://schemas.microsoft.com/office/drawing/2014/main" id="{D20B4181-66F9-F38F-032C-AC434189D04F}"/>
                    </a:ext>
                  </a:extLst>
                </p:cNvPr>
                <p:cNvSpPr/>
                <p:nvPr/>
              </p:nvSpPr>
              <p:spPr>
                <a:xfrm>
                  <a:off x="7184870" y="5611641"/>
                  <a:ext cx="1899598" cy="732686"/>
                </a:xfrm>
                <a:prstGeom prst="rect">
                  <a:avLst/>
                </a:prstGeom>
                <a:solidFill>
                  <a:srgbClr val="D4D7D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94" name="Rectangle 93">
                  <a:extLst>
                    <a:ext uri="{FF2B5EF4-FFF2-40B4-BE49-F238E27FC236}">
                      <a16:creationId xmlns:a16="http://schemas.microsoft.com/office/drawing/2014/main" id="{5A967F8A-BDF2-F12C-D331-F8D2A9A7C159}"/>
                    </a:ext>
                  </a:extLst>
                </p:cNvPr>
                <p:cNvSpPr/>
                <p:nvPr/>
              </p:nvSpPr>
              <p:spPr>
                <a:xfrm>
                  <a:off x="7631963" y="5776376"/>
                  <a:ext cx="1402608" cy="41297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New generation pharmacotherap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5--17% weight loss</a:t>
                  </a:r>
                  <a:r>
                    <a:rPr kumimoji="0" lang="da-DK" sz="900" b="0" i="0" u="none" strike="noStrike" kern="1200" cap="none" spc="0" normalizeH="0" baseline="3000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3-7</a:t>
                  </a:r>
                  <a:endParaRPr kumimoji="0" lang="da-DK" sz="900" b="0" i="0" u="none" strike="noStrike" kern="1200" cap="none" spc="0" normalizeH="0" baseline="0" noProof="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grpSp>
          <p:pic>
            <p:nvPicPr>
              <p:cNvPr id="232" name="Graphic 231">
                <a:extLst>
                  <a:ext uri="{FF2B5EF4-FFF2-40B4-BE49-F238E27FC236}">
                    <a16:creationId xmlns:a16="http://schemas.microsoft.com/office/drawing/2014/main" id="{FCDAE35B-3A0F-1EFA-C60D-9F10C78C66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54164" y="5550782"/>
                <a:ext cx="566829" cy="541579"/>
              </a:xfrm>
              <a:prstGeom prst="rect">
                <a:avLst/>
              </a:prstGeom>
            </p:spPr>
          </p:pic>
          <p:pic>
            <p:nvPicPr>
              <p:cNvPr id="233" name="Graphic 232">
                <a:extLst>
                  <a:ext uri="{FF2B5EF4-FFF2-40B4-BE49-F238E27FC236}">
                    <a16:creationId xmlns:a16="http://schemas.microsoft.com/office/drawing/2014/main" id="{02143251-B392-47C2-3056-A339F661ED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27974" y="5545161"/>
                <a:ext cx="555217" cy="530482"/>
              </a:xfrm>
              <a:prstGeom prst="rect">
                <a:avLst/>
              </a:prstGeom>
            </p:spPr>
          </p:pic>
        </p:grpSp>
        <p:sp>
          <p:nvSpPr>
            <p:cNvPr id="4" name="TextBox 3">
              <a:extLst>
                <a:ext uri="{FF2B5EF4-FFF2-40B4-BE49-F238E27FC236}">
                  <a16:creationId xmlns:a16="http://schemas.microsoft.com/office/drawing/2014/main" id="{6F2F601B-85BA-4C57-8975-AFEFB07E5536}"/>
                </a:ext>
              </a:extLst>
            </p:cNvPr>
            <p:cNvSpPr txBox="1"/>
            <p:nvPr/>
          </p:nvSpPr>
          <p:spPr>
            <a:xfrm>
              <a:off x="7459673" y="2310014"/>
              <a:ext cx="3861051" cy="2638286"/>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Lifestyle changes are a foundation for any chronic disease management.</a:t>
              </a: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1965"/>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However, as with other chronic diseases like hypertension or diabetes, pharmacotherapy is needed to address the biology of obesity and is intended as part of a long-term treatment strategy.</a:t>
              </a: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1965"/>
                </a:solidFill>
                <a:effectLst/>
                <a:uLnTx/>
                <a:uFillTx/>
                <a:latin typeface="Apis For Office"/>
                <a:ea typeface="Apis For Office Light" panose="020B0404010101010104" pitchFamily="34" charset="0"/>
                <a:cs typeface="Apis For Office Light" panose="020B0404010101010104" pitchFamily="34" charset="0"/>
              </a:endParaRPr>
            </a:p>
          </p:txBody>
        </p:sp>
      </p:grpSp>
      <p:sp>
        <p:nvSpPr>
          <p:cNvPr id="98" name="Rectangle 97">
            <a:extLst>
              <a:ext uri="{FF2B5EF4-FFF2-40B4-BE49-F238E27FC236}">
                <a16:creationId xmlns:a16="http://schemas.microsoft.com/office/drawing/2014/main" id="{F246FDF8-EB83-7600-DCDC-2F8EDADDD80C}"/>
              </a:ext>
            </a:extLst>
          </p:cNvPr>
          <p:cNvSpPr/>
          <p:nvPr/>
        </p:nvSpPr>
        <p:spPr>
          <a:xfrm>
            <a:off x="456921" y="477101"/>
            <a:ext cx="6437761" cy="74374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What are the pillars of obesity management</a:t>
            </a:r>
            <a:r>
              <a:rPr kumimoji="0" lang="en-US" sz="1800" b="0" i="0" u="none" strike="noStrike" kern="1200" cap="none" spc="0" normalizeH="0" baseline="30000" noProof="0" dirty="0">
                <a:ln>
                  <a:noFill/>
                </a:ln>
                <a:solidFill>
                  <a:srgbClr val="FFFFFF"/>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1</a:t>
            </a:r>
            <a:r>
              <a:rPr kumimoji="0" lang="en-US" sz="1800" b="0" i="0" u="none" strike="noStrike" kern="1200" cap="none" spc="0" normalizeH="0" baseline="0" noProof="0" dirty="0">
                <a:ln>
                  <a:noFill/>
                </a:ln>
                <a:solidFill>
                  <a:srgbClr val="FFFFFF"/>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a:t>
            </a:r>
          </a:p>
        </p:txBody>
      </p:sp>
      <p:sp>
        <p:nvSpPr>
          <p:cNvPr id="878" name="Rectangle 877">
            <a:extLst>
              <a:ext uri="{FF2B5EF4-FFF2-40B4-BE49-F238E27FC236}">
                <a16:creationId xmlns:a16="http://schemas.microsoft.com/office/drawing/2014/main" id="{C8F7A86F-B70A-F819-5AC4-F8D74F9A6B61}"/>
              </a:ext>
            </a:extLst>
          </p:cNvPr>
          <p:cNvSpPr/>
          <p:nvPr/>
        </p:nvSpPr>
        <p:spPr>
          <a:xfrm rot="16200000">
            <a:off x="9188154" y="2981029"/>
            <a:ext cx="5507773" cy="49991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rPr>
              <a:t>Three-tiered approach</a:t>
            </a:r>
            <a:endParaRPr kumimoji="0" lang="en-GB" sz="1800" b="0" i="0" u="none" strike="noStrike" kern="1200" cap="none" spc="0" normalizeH="0" baseline="0" noProof="0">
              <a:ln>
                <a:noFill/>
              </a:ln>
              <a:solidFill>
                <a:srgbClr val="FFFFFF"/>
              </a:solidFill>
              <a:effectLst/>
              <a:uLnTx/>
              <a:uFillTx/>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7" name="Text Placeholder 6">
            <a:extLst>
              <a:ext uri="{FF2B5EF4-FFF2-40B4-BE49-F238E27FC236}">
                <a16:creationId xmlns:a16="http://schemas.microsoft.com/office/drawing/2014/main" id="{AAC34DE7-31FD-CB23-13A0-7DB66B32DC0A}"/>
              </a:ext>
            </a:extLst>
          </p:cNvPr>
          <p:cNvSpPr>
            <a:spLocks noGrp="1"/>
          </p:cNvSpPr>
          <p:nvPr>
            <p:ph type="body" sz="quarter" idx="13"/>
          </p:nvPr>
        </p:nvSpPr>
        <p:spPr/>
        <p:txBody>
          <a:bodyPr/>
          <a:lstStyle/>
          <a:p>
            <a:endParaRPr lang="en-GB" dirty="0"/>
          </a:p>
          <a:p>
            <a:br>
              <a:rPr lang="en-GB" dirty="0"/>
            </a:br>
            <a:r>
              <a:rPr lang="en-GB" dirty="0"/>
              <a:t>Adapted from Horn DB et al. Postgrad Med. 2022;134:359–75. Approved in the EU* and US† 1. Horn DB et al. Postgrad Med. 2022;134:359–75; 2.</a:t>
            </a:r>
            <a:r>
              <a:rPr lang="da-DK" dirty="0"/>
              <a:t> Wadden TA et al. N Engl J Med. 2005;353:2111</a:t>
            </a:r>
            <a:r>
              <a:rPr lang="en-GB" dirty="0"/>
              <a:t>–</a:t>
            </a:r>
            <a:r>
              <a:rPr lang="da-DK" dirty="0"/>
              <a:t>20; </a:t>
            </a:r>
            <a:br>
              <a:rPr lang="da-DK" dirty="0"/>
            </a:br>
            <a:r>
              <a:rPr lang="da-DK" dirty="0"/>
              <a:t>3. Wilding JPH et al. N Engl J Med. 2021;384:989</a:t>
            </a:r>
            <a:r>
              <a:rPr lang="en-GB" dirty="0"/>
              <a:t>–</a:t>
            </a:r>
            <a:r>
              <a:rPr lang="da-DK" dirty="0"/>
              <a:t>1002; </a:t>
            </a:r>
            <a:r>
              <a:rPr lang="en-GB" dirty="0"/>
              <a:t>4. Torgerson JS et al. Diabetes Care. 2004;27:155–61; 5. Apovian C et al. Obesity. 2013;21:935–43; 6. Pi-</a:t>
            </a:r>
            <a:r>
              <a:rPr lang="en-GB" dirty="0" err="1"/>
              <a:t>Sunyer</a:t>
            </a:r>
            <a:r>
              <a:rPr lang="en-GB" dirty="0"/>
              <a:t> X et al. N Engl J Med. 2015;373:11‒22; 7. Allison DB et al. Obesity. 2012;20:330–42; 8. Wharton S et al. CMAJ. 2020;192:E875-91. </a:t>
            </a:r>
          </a:p>
        </p:txBody>
      </p:sp>
    </p:spTree>
    <p:extLst>
      <p:ext uri="{BB962C8B-B14F-4D97-AF65-F5344CB8AC3E}">
        <p14:creationId xmlns:p14="http://schemas.microsoft.com/office/powerpoint/2010/main" val="908380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B02D9-55E8-A145-C96E-5D47A060AD1A}"/>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8A6AF3DE-2D4A-E4AC-7B41-3D39C5212D9F}"/>
              </a:ext>
            </a:extLst>
          </p:cNvPr>
          <p:cNvGrpSpPr/>
          <p:nvPr/>
        </p:nvGrpSpPr>
        <p:grpSpPr>
          <a:xfrm>
            <a:off x="6911289" y="3762275"/>
            <a:ext cx="4786344" cy="2906921"/>
            <a:chOff x="5153307" y="2739529"/>
            <a:chExt cx="3589758" cy="2180191"/>
          </a:xfrm>
        </p:grpSpPr>
        <p:sp>
          <p:nvSpPr>
            <p:cNvPr id="153" name="Rectangle 152">
              <a:extLst>
                <a:ext uri="{FF2B5EF4-FFF2-40B4-BE49-F238E27FC236}">
                  <a16:creationId xmlns:a16="http://schemas.microsoft.com/office/drawing/2014/main" id="{60F49C5F-2FC3-B998-DA27-0C865CA7EF05}"/>
                </a:ext>
              </a:extLst>
            </p:cNvPr>
            <p:cNvSpPr/>
            <p:nvPr/>
          </p:nvSpPr>
          <p:spPr>
            <a:xfrm>
              <a:off x="5178759" y="3432367"/>
              <a:ext cx="1313460" cy="438726"/>
            </a:xfrm>
            <a:prstGeom prst="rect">
              <a:avLst/>
            </a:prstGeom>
            <a:noFill/>
          </p:spPr>
          <p:txBody>
            <a:bodyPr wrap="square">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educed appetite &amp; cravings, improved control of eating</a:t>
              </a:r>
            </a:p>
          </p:txBody>
        </p:sp>
        <p:sp>
          <p:nvSpPr>
            <p:cNvPr id="155" name="Rectangle: Rounded Corners 154">
              <a:extLst>
                <a:ext uri="{FF2B5EF4-FFF2-40B4-BE49-F238E27FC236}">
                  <a16:creationId xmlns:a16="http://schemas.microsoft.com/office/drawing/2014/main" id="{83BAE4BA-8F2A-8178-C234-F7579F95A035}"/>
                </a:ext>
              </a:extLst>
            </p:cNvPr>
            <p:cNvSpPr/>
            <p:nvPr/>
          </p:nvSpPr>
          <p:spPr>
            <a:xfrm>
              <a:off x="7911363" y="2801498"/>
              <a:ext cx="791705" cy="697994"/>
            </a:xfrm>
            <a:prstGeom prst="round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59" name="TextBox 158">
              <a:extLst>
                <a:ext uri="{FF2B5EF4-FFF2-40B4-BE49-F238E27FC236}">
                  <a16:creationId xmlns:a16="http://schemas.microsoft.com/office/drawing/2014/main" id="{C457225A-3DC5-0D39-D4A5-C0FFB08EFFE6}"/>
                </a:ext>
              </a:extLst>
            </p:cNvPr>
            <p:cNvSpPr txBox="1"/>
            <p:nvPr/>
          </p:nvSpPr>
          <p:spPr>
            <a:xfrm>
              <a:off x="7855319" y="3500122"/>
              <a:ext cx="887746" cy="315567"/>
            </a:xfrm>
            <a:prstGeom prst="rect">
              <a:avLst/>
            </a:prstGeom>
            <a:noFill/>
          </p:spPr>
          <p:txBody>
            <a:bodyPr wrap="square" lIns="0" r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educed </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nergy intake</a:t>
              </a:r>
            </a:p>
          </p:txBody>
        </p:sp>
        <p:sp>
          <p:nvSpPr>
            <p:cNvPr id="161" name="Rectangle: Rounded Corners 160">
              <a:extLst>
                <a:ext uri="{FF2B5EF4-FFF2-40B4-BE49-F238E27FC236}">
                  <a16:creationId xmlns:a16="http://schemas.microsoft.com/office/drawing/2014/main" id="{47F685FB-EEF8-471A-053C-5917ACFA64E3}"/>
                </a:ext>
              </a:extLst>
            </p:cNvPr>
            <p:cNvSpPr/>
            <p:nvPr/>
          </p:nvSpPr>
          <p:spPr>
            <a:xfrm>
              <a:off x="5433803" y="2739529"/>
              <a:ext cx="790435" cy="697994"/>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6" name="Group 15">
              <a:extLst>
                <a:ext uri="{FF2B5EF4-FFF2-40B4-BE49-F238E27FC236}">
                  <a16:creationId xmlns:a16="http://schemas.microsoft.com/office/drawing/2014/main" id="{CB80AF6D-1F5B-EC4E-DA4B-514169C304DD}"/>
                </a:ext>
              </a:extLst>
            </p:cNvPr>
            <p:cNvGrpSpPr/>
            <p:nvPr/>
          </p:nvGrpSpPr>
          <p:grpSpPr>
            <a:xfrm>
              <a:off x="7988967" y="2891596"/>
              <a:ext cx="636496" cy="517798"/>
              <a:chOff x="5510773" y="2875197"/>
              <a:chExt cx="636496" cy="517798"/>
            </a:xfrm>
          </p:grpSpPr>
          <p:sp>
            <p:nvSpPr>
              <p:cNvPr id="163" name="Freeform 29">
                <a:extLst>
                  <a:ext uri="{FF2B5EF4-FFF2-40B4-BE49-F238E27FC236}">
                    <a16:creationId xmlns:a16="http://schemas.microsoft.com/office/drawing/2014/main" id="{0806A85D-7E19-DB5F-8624-F51048C71827}"/>
                  </a:ext>
                </a:extLst>
              </p:cNvPr>
              <p:cNvSpPr>
                <a:spLocks/>
              </p:cNvSpPr>
              <p:nvPr/>
            </p:nvSpPr>
            <p:spPr bwMode="auto">
              <a:xfrm>
                <a:off x="5638334" y="3007729"/>
                <a:ext cx="373524" cy="332870"/>
              </a:xfrm>
              <a:custGeom>
                <a:avLst/>
                <a:gdLst>
                  <a:gd name="T0" fmla="*/ 198 w 379"/>
                  <a:gd name="T1" fmla="*/ 0 h 359"/>
                  <a:gd name="T2" fmla="*/ 242 w 379"/>
                  <a:gd name="T3" fmla="*/ 72 h 359"/>
                  <a:gd name="T4" fmla="*/ 275 w 379"/>
                  <a:gd name="T5" fmla="*/ 112 h 359"/>
                  <a:gd name="T6" fmla="*/ 325 w 379"/>
                  <a:gd name="T7" fmla="*/ 80 h 359"/>
                  <a:gd name="T8" fmla="*/ 342 w 379"/>
                  <a:gd name="T9" fmla="*/ 106 h 359"/>
                  <a:gd name="T10" fmla="*/ 241 w 379"/>
                  <a:gd name="T11" fmla="*/ 328 h 359"/>
                  <a:gd name="T12" fmla="*/ 24 w 379"/>
                  <a:gd name="T13" fmla="*/ 211 h 359"/>
                  <a:gd name="T14" fmla="*/ 154 w 379"/>
                  <a:gd name="T15" fmla="*/ 4 h 359"/>
                  <a:gd name="T16" fmla="*/ 198 w 379"/>
                  <a:gd name="T17"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59">
                    <a:moveTo>
                      <a:pt x="198" y="0"/>
                    </a:moveTo>
                    <a:cubicBezTo>
                      <a:pt x="172" y="48"/>
                      <a:pt x="201" y="77"/>
                      <a:pt x="242" y="72"/>
                    </a:cubicBezTo>
                    <a:cubicBezTo>
                      <a:pt x="245" y="92"/>
                      <a:pt x="255" y="108"/>
                      <a:pt x="275" y="112"/>
                    </a:cubicBezTo>
                    <a:cubicBezTo>
                      <a:pt x="299" y="116"/>
                      <a:pt x="313" y="103"/>
                      <a:pt x="325" y="80"/>
                    </a:cubicBezTo>
                    <a:cubicBezTo>
                      <a:pt x="332" y="90"/>
                      <a:pt x="339" y="97"/>
                      <a:pt x="342" y="106"/>
                    </a:cubicBezTo>
                    <a:cubicBezTo>
                      <a:pt x="379" y="194"/>
                      <a:pt x="332" y="297"/>
                      <a:pt x="241" y="328"/>
                    </a:cubicBezTo>
                    <a:cubicBezTo>
                      <a:pt x="149" y="359"/>
                      <a:pt x="49" y="305"/>
                      <a:pt x="24" y="211"/>
                    </a:cubicBezTo>
                    <a:cubicBezTo>
                      <a:pt x="0" y="118"/>
                      <a:pt x="60" y="22"/>
                      <a:pt x="154" y="4"/>
                    </a:cubicBezTo>
                    <a:cubicBezTo>
                      <a:pt x="168" y="2"/>
                      <a:pt x="182" y="1"/>
                      <a:pt x="19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4" name="Freeform 30">
                <a:extLst>
                  <a:ext uri="{FF2B5EF4-FFF2-40B4-BE49-F238E27FC236}">
                    <a16:creationId xmlns:a16="http://schemas.microsoft.com/office/drawing/2014/main" id="{838490C4-C841-1C51-D4AB-6299B757DA34}"/>
                  </a:ext>
                </a:extLst>
              </p:cNvPr>
              <p:cNvSpPr>
                <a:spLocks/>
              </p:cNvSpPr>
              <p:nvPr/>
            </p:nvSpPr>
            <p:spPr bwMode="auto">
              <a:xfrm>
                <a:off x="5584039" y="2956565"/>
                <a:ext cx="472956" cy="436430"/>
              </a:xfrm>
              <a:custGeom>
                <a:avLst/>
                <a:gdLst>
                  <a:gd name="T0" fmla="*/ 411 w 480"/>
                  <a:gd name="T1" fmla="*/ 155 h 470"/>
                  <a:gd name="T2" fmla="*/ 445 w 480"/>
                  <a:gd name="T3" fmla="*/ 136 h 470"/>
                  <a:gd name="T4" fmla="*/ 416 w 480"/>
                  <a:gd name="T5" fmla="*/ 365 h 470"/>
                  <a:gd name="T6" fmla="*/ 144 w 480"/>
                  <a:gd name="T7" fmla="*/ 425 h 470"/>
                  <a:gd name="T8" fmla="*/ 23 w 480"/>
                  <a:gd name="T9" fmla="*/ 175 h 470"/>
                  <a:gd name="T10" fmla="*/ 232 w 480"/>
                  <a:gd name="T11" fmla="*/ 0 h 470"/>
                  <a:gd name="T12" fmla="*/ 239 w 480"/>
                  <a:gd name="T13" fmla="*/ 42 h 470"/>
                  <a:gd name="T14" fmla="*/ 64 w 480"/>
                  <a:gd name="T15" fmla="*/ 253 h 470"/>
                  <a:gd name="T16" fmla="*/ 281 w 480"/>
                  <a:gd name="T17" fmla="*/ 400 h 470"/>
                  <a:gd name="T18" fmla="*/ 411 w 480"/>
                  <a:gd name="T19" fmla="*/ 155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470">
                    <a:moveTo>
                      <a:pt x="411" y="155"/>
                    </a:moveTo>
                    <a:cubicBezTo>
                      <a:pt x="422" y="149"/>
                      <a:pt x="433" y="142"/>
                      <a:pt x="445" y="136"/>
                    </a:cubicBezTo>
                    <a:cubicBezTo>
                      <a:pt x="480" y="191"/>
                      <a:pt x="472" y="297"/>
                      <a:pt x="416" y="365"/>
                    </a:cubicBezTo>
                    <a:cubicBezTo>
                      <a:pt x="349" y="445"/>
                      <a:pt x="238" y="470"/>
                      <a:pt x="144" y="425"/>
                    </a:cubicBezTo>
                    <a:cubicBezTo>
                      <a:pt x="51" y="380"/>
                      <a:pt x="0" y="275"/>
                      <a:pt x="23" y="175"/>
                    </a:cubicBezTo>
                    <a:cubicBezTo>
                      <a:pt x="46" y="75"/>
                      <a:pt x="134" y="1"/>
                      <a:pt x="232" y="0"/>
                    </a:cubicBezTo>
                    <a:cubicBezTo>
                      <a:pt x="235" y="14"/>
                      <a:pt x="237" y="28"/>
                      <a:pt x="239" y="42"/>
                    </a:cubicBezTo>
                    <a:cubicBezTo>
                      <a:pt x="112" y="49"/>
                      <a:pt x="47" y="158"/>
                      <a:pt x="64" y="253"/>
                    </a:cubicBezTo>
                    <a:cubicBezTo>
                      <a:pt x="82" y="357"/>
                      <a:pt x="178" y="421"/>
                      <a:pt x="281" y="400"/>
                    </a:cubicBezTo>
                    <a:cubicBezTo>
                      <a:pt x="364" y="383"/>
                      <a:pt x="456" y="289"/>
                      <a:pt x="411" y="15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5" name="Freeform 31">
                <a:extLst>
                  <a:ext uri="{FF2B5EF4-FFF2-40B4-BE49-F238E27FC236}">
                    <a16:creationId xmlns:a16="http://schemas.microsoft.com/office/drawing/2014/main" id="{840A0B8D-3FC1-D0C2-7D01-A7358AA25EB9}"/>
                  </a:ext>
                </a:extLst>
              </p:cNvPr>
              <p:cNvSpPr>
                <a:spLocks/>
              </p:cNvSpPr>
              <p:nvPr/>
            </p:nvSpPr>
            <p:spPr bwMode="auto">
              <a:xfrm>
                <a:off x="6046529" y="2875197"/>
                <a:ext cx="100740" cy="497456"/>
              </a:xfrm>
              <a:custGeom>
                <a:avLst/>
                <a:gdLst>
                  <a:gd name="T0" fmla="*/ 77 w 102"/>
                  <a:gd name="T1" fmla="*/ 9 h 536"/>
                  <a:gd name="T2" fmla="*/ 84 w 102"/>
                  <a:gd name="T3" fmla="*/ 146 h 536"/>
                  <a:gd name="T4" fmla="*/ 100 w 102"/>
                  <a:gd name="T5" fmla="*/ 499 h 536"/>
                  <a:gd name="T6" fmla="*/ 69 w 102"/>
                  <a:gd name="T7" fmla="*/ 536 h 536"/>
                  <a:gd name="T8" fmla="*/ 38 w 102"/>
                  <a:gd name="T9" fmla="*/ 497 h 536"/>
                  <a:gd name="T10" fmla="*/ 52 w 102"/>
                  <a:gd name="T11" fmla="*/ 296 h 536"/>
                  <a:gd name="T12" fmla="*/ 39 w 102"/>
                  <a:gd name="T13" fmla="*/ 269 h 536"/>
                  <a:gd name="T14" fmla="*/ 23 w 102"/>
                  <a:gd name="T15" fmla="*/ 250 h 536"/>
                  <a:gd name="T16" fmla="*/ 53 w 102"/>
                  <a:gd name="T17" fmla="*/ 24 h 536"/>
                  <a:gd name="T18" fmla="*/ 65 w 102"/>
                  <a:gd name="T19" fmla="*/ 0 h 536"/>
                  <a:gd name="T20" fmla="*/ 77 w 102"/>
                  <a:gd name="T21" fmla="*/ 9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536">
                    <a:moveTo>
                      <a:pt x="77" y="9"/>
                    </a:moveTo>
                    <a:cubicBezTo>
                      <a:pt x="79" y="54"/>
                      <a:pt x="82" y="100"/>
                      <a:pt x="84" y="146"/>
                    </a:cubicBezTo>
                    <a:cubicBezTo>
                      <a:pt x="89" y="263"/>
                      <a:pt x="95" y="381"/>
                      <a:pt x="100" y="499"/>
                    </a:cubicBezTo>
                    <a:cubicBezTo>
                      <a:pt x="102" y="523"/>
                      <a:pt x="90" y="535"/>
                      <a:pt x="69" y="536"/>
                    </a:cubicBezTo>
                    <a:cubicBezTo>
                      <a:pt x="47" y="536"/>
                      <a:pt x="36" y="522"/>
                      <a:pt x="38" y="497"/>
                    </a:cubicBezTo>
                    <a:cubicBezTo>
                      <a:pt x="42" y="430"/>
                      <a:pt x="47" y="363"/>
                      <a:pt x="52" y="296"/>
                    </a:cubicBezTo>
                    <a:cubicBezTo>
                      <a:pt x="53" y="284"/>
                      <a:pt x="52" y="275"/>
                      <a:pt x="39" y="269"/>
                    </a:cubicBezTo>
                    <a:cubicBezTo>
                      <a:pt x="32" y="265"/>
                      <a:pt x="26" y="257"/>
                      <a:pt x="23" y="250"/>
                    </a:cubicBezTo>
                    <a:cubicBezTo>
                      <a:pt x="0" y="170"/>
                      <a:pt x="11" y="95"/>
                      <a:pt x="53" y="24"/>
                    </a:cubicBezTo>
                    <a:cubicBezTo>
                      <a:pt x="58" y="16"/>
                      <a:pt x="61" y="8"/>
                      <a:pt x="65" y="0"/>
                    </a:cubicBezTo>
                    <a:cubicBezTo>
                      <a:pt x="69" y="3"/>
                      <a:pt x="73" y="6"/>
                      <a:pt x="77"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6" name="Freeform 32">
                <a:extLst>
                  <a:ext uri="{FF2B5EF4-FFF2-40B4-BE49-F238E27FC236}">
                    <a16:creationId xmlns:a16="http://schemas.microsoft.com/office/drawing/2014/main" id="{ACDB5037-971A-245A-AEEF-FC50D1939129}"/>
                  </a:ext>
                </a:extLst>
              </p:cNvPr>
              <p:cNvSpPr>
                <a:spLocks/>
              </p:cNvSpPr>
              <p:nvPr/>
            </p:nvSpPr>
            <p:spPr bwMode="auto">
              <a:xfrm>
                <a:off x="5510773" y="2941771"/>
                <a:ext cx="81116" cy="430882"/>
              </a:xfrm>
              <a:custGeom>
                <a:avLst/>
                <a:gdLst>
                  <a:gd name="T0" fmla="*/ 80 w 82"/>
                  <a:gd name="T1" fmla="*/ 75 h 464"/>
                  <a:gd name="T2" fmla="*/ 80 w 82"/>
                  <a:gd name="T3" fmla="*/ 117 h 464"/>
                  <a:gd name="T4" fmla="*/ 60 w 82"/>
                  <a:gd name="T5" fmla="*/ 163 h 464"/>
                  <a:gd name="T6" fmla="*/ 55 w 82"/>
                  <a:gd name="T7" fmla="*/ 180 h 464"/>
                  <a:gd name="T8" fmla="*/ 71 w 82"/>
                  <a:gd name="T9" fmla="*/ 413 h 464"/>
                  <a:gd name="T10" fmla="*/ 72 w 82"/>
                  <a:gd name="T11" fmla="*/ 433 h 464"/>
                  <a:gd name="T12" fmla="*/ 40 w 82"/>
                  <a:gd name="T13" fmla="*/ 464 h 464"/>
                  <a:gd name="T14" fmla="*/ 9 w 82"/>
                  <a:gd name="T15" fmla="*/ 433 h 464"/>
                  <a:gd name="T16" fmla="*/ 26 w 82"/>
                  <a:gd name="T17" fmla="*/ 188 h 464"/>
                  <a:gd name="T18" fmla="*/ 13 w 82"/>
                  <a:gd name="T19" fmla="*/ 156 h 464"/>
                  <a:gd name="T20" fmla="*/ 1 w 82"/>
                  <a:gd name="T21" fmla="*/ 133 h 464"/>
                  <a:gd name="T22" fmla="*/ 1 w 82"/>
                  <a:gd name="T23" fmla="*/ 15 h 464"/>
                  <a:gd name="T24" fmla="*/ 9 w 82"/>
                  <a:gd name="T25" fmla="*/ 0 h 464"/>
                  <a:gd name="T26" fmla="*/ 16 w 82"/>
                  <a:gd name="T27" fmla="*/ 17 h 464"/>
                  <a:gd name="T28" fmla="*/ 17 w 82"/>
                  <a:gd name="T29" fmla="*/ 89 h 464"/>
                  <a:gd name="T30" fmla="*/ 24 w 82"/>
                  <a:gd name="T31" fmla="*/ 103 h 464"/>
                  <a:gd name="T32" fmla="*/ 32 w 82"/>
                  <a:gd name="T33" fmla="*/ 88 h 464"/>
                  <a:gd name="T34" fmla="*/ 33 w 82"/>
                  <a:gd name="T35" fmla="*/ 16 h 464"/>
                  <a:gd name="T36" fmla="*/ 40 w 82"/>
                  <a:gd name="T37" fmla="*/ 0 h 464"/>
                  <a:gd name="T38" fmla="*/ 48 w 82"/>
                  <a:gd name="T39" fmla="*/ 16 h 464"/>
                  <a:gd name="T40" fmla="*/ 49 w 82"/>
                  <a:gd name="T41" fmla="*/ 86 h 464"/>
                  <a:gd name="T42" fmla="*/ 57 w 82"/>
                  <a:gd name="T43" fmla="*/ 103 h 464"/>
                  <a:gd name="T44" fmla="*/ 64 w 82"/>
                  <a:gd name="T45" fmla="*/ 87 h 464"/>
                  <a:gd name="T46" fmla="*/ 65 w 82"/>
                  <a:gd name="T47" fmla="*/ 17 h 464"/>
                  <a:gd name="T48" fmla="*/ 72 w 82"/>
                  <a:gd name="T49" fmla="*/ 0 h 464"/>
                  <a:gd name="T50" fmla="*/ 80 w 82"/>
                  <a:gd name="T51" fmla="*/ 17 h 464"/>
                  <a:gd name="T52" fmla="*/ 80 w 82"/>
                  <a:gd name="T53" fmla="*/ 75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464">
                    <a:moveTo>
                      <a:pt x="80" y="75"/>
                    </a:moveTo>
                    <a:cubicBezTo>
                      <a:pt x="80" y="89"/>
                      <a:pt x="79" y="103"/>
                      <a:pt x="80" y="117"/>
                    </a:cubicBezTo>
                    <a:cubicBezTo>
                      <a:pt x="82" y="136"/>
                      <a:pt x="79" y="153"/>
                      <a:pt x="60" y="163"/>
                    </a:cubicBezTo>
                    <a:cubicBezTo>
                      <a:pt x="56" y="165"/>
                      <a:pt x="55" y="174"/>
                      <a:pt x="55" y="180"/>
                    </a:cubicBezTo>
                    <a:cubicBezTo>
                      <a:pt x="60" y="258"/>
                      <a:pt x="66" y="336"/>
                      <a:pt x="71" y="413"/>
                    </a:cubicBezTo>
                    <a:cubicBezTo>
                      <a:pt x="71" y="420"/>
                      <a:pt x="72" y="427"/>
                      <a:pt x="72" y="433"/>
                    </a:cubicBezTo>
                    <a:cubicBezTo>
                      <a:pt x="72" y="452"/>
                      <a:pt x="60" y="464"/>
                      <a:pt x="40" y="464"/>
                    </a:cubicBezTo>
                    <a:cubicBezTo>
                      <a:pt x="21" y="463"/>
                      <a:pt x="8" y="451"/>
                      <a:pt x="9" y="433"/>
                    </a:cubicBezTo>
                    <a:cubicBezTo>
                      <a:pt x="14" y="351"/>
                      <a:pt x="20" y="269"/>
                      <a:pt x="26" y="188"/>
                    </a:cubicBezTo>
                    <a:cubicBezTo>
                      <a:pt x="27" y="174"/>
                      <a:pt x="27" y="164"/>
                      <a:pt x="13" y="156"/>
                    </a:cubicBezTo>
                    <a:cubicBezTo>
                      <a:pt x="7" y="152"/>
                      <a:pt x="1" y="141"/>
                      <a:pt x="1" y="133"/>
                    </a:cubicBezTo>
                    <a:cubicBezTo>
                      <a:pt x="0" y="94"/>
                      <a:pt x="0" y="55"/>
                      <a:pt x="1" y="15"/>
                    </a:cubicBezTo>
                    <a:cubicBezTo>
                      <a:pt x="1" y="10"/>
                      <a:pt x="6" y="5"/>
                      <a:pt x="9" y="0"/>
                    </a:cubicBezTo>
                    <a:cubicBezTo>
                      <a:pt x="11" y="6"/>
                      <a:pt x="16" y="11"/>
                      <a:pt x="16" y="17"/>
                    </a:cubicBezTo>
                    <a:cubicBezTo>
                      <a:pt x="17" y="41"/>
                      <a:pt x="16" y="65"/>
                      <a:pt x="17" y="89"/>
                    </a:cubicBezTo>
                    <a:cubicBezTo>
                      <a:pt x="17" y="93"/>
                      <a:pt x="21" y="98"/>
                      <a:pt x="24" y="103"/>
                    </a:cubicBezTo>
                    <a:cubicBezTo>
                      <a:pt x="27" y="98"/>
                      <a:pt x="32" y="93"/>
                      <a:pt x="32" y="88"/>
                    </a:cubicBezTo>
                    <a:cubicBezTo>
                      <a:pt x="33" y="64"/>
                      <a:pt x="32" y="40"/>
                      <a:pt x="33" y="16"/>
                    </a:cubicBezTo>
                    <a:cubicBezTo>
                      <a:pt x="33" y="11"/>
                      <a:pt x="38" y="6"/>
                      <a:pt x="40" y="0"/>
                    </a:cubicBezTo>
                    <a:cubicBezTo>
                      <a:pt x="43" y="6"/>
                      <a:pt x="48" y="11"/>
                      <a:pt x="48" y="16"/>
                    </a:cubicBezTo>
                    <a:cubicBezTo>
                      <a:pt x="49" y="39"/>
                      <a:pt x="48" y="63"/>
                      <a:pt x="49" y="86"/>
                    </a:cubicBezTo>
                    <a:cubicBezTo>
                      <a:pt x="49" y="92"/>
                      <a:pt x="54" y="97"/>
                      <a:pt x="57" y="103"/>
                    </a:cubicBezTo>
                    <a:cubicBezTo>
                      <a:pt x="59" y="98"/>
                      <a:pt x="64" y="92"/>
                      <a:pt x="64" y="87"/>
                    </a:cubicBezTo>
                    <a:cubicBezTo>
                      <a:pt x="65" y="63"/>
                      <a:pt x="64" y="40"/>
                      <a:pt x="65" y="17"/>
                    </a:cubicBezTo>
                    <a:cubicBezTo>
                      <a:pt x="65" y="11"/>
                      <a:pt x="69" y="6"/>
                      <a:pt x="72" y="0"/>
                    </a:cubicBezTo>
                    <a:cubicBezTo>
                      <a:pt x="75" y="6"/>
                      <a:pt x="80" y="12"/>
                      <a:pt x="80" y="17"/>
                    </a:cubicBezTo>
                    <a:cubicBezTo>
                      <a:pt x="81" y="37"/>
                      <a:pt x="80" y="56"/>
                      <a:pt x="80"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67" name="Rectangle 166">
              <a:extLst>
                <a:ext uri="{FF2B5EF4-FFF2-40B4-BE49-F238E27FC236}">
                  <a16:creationId xmlns:a16="http://schemas.microsoft.com/office/drawing/2014/main" id="{AF5AF07D-F25E-DCD7-7E56-B9D4DE94AE0E}"/>
                </a:ext>
              </a:extLst>
            </p:cNvPr>
            <p:cNvSpPr/>
            <p:nvPr/>
          </p:nvSpPr>
          <p:spPr>
            <a:xfrm>
              <a:off x="7855319" y="4604153"/>
              <a:ext cx="887746" cy="315567"/>
            </a:xfrm>
            <a:prstGeom prst="rect">
              <a:avLst/>
            </a:prstGeom>
            <a:noFill/>
          </p:spPr>
          <p:txBody>
            <a:bodyPr wrap="square" lIns="0" rIns="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939AA7">
                      <a:lumMod val="75000"/>
                    </a:srgbClr>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educed</a:t>
              </a:r>
              <a:br>
                <a:rPr kumimoji="0" lang="en-GB" sz="1067" b="1" i="0" u="none" strike="noStrike" kern="1200" cap="none" spc="0" normalizeH="0" baseline="0" noProof="0">
                  <a:ln>
                    <a:noFill/>
                  </a:ln>
                  <a:solidFill>
                    <a:srgbClr val="939AA7">
                      <a:lumMod val="75000"/>
                    </a:srgbClr>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067" b="1" i="0" u="none" strike="noStrike" kern="1200" cap="none" spc="0" normalizeH="0" baseline="0" noProof="0">
                  <a:ln>
                    <a:noFill/>
                  </a:ln>
                  <a:solidFill>
                    <a:srgbClr val="939AA7">
                      <a:lumMod val="75000"/>
                    </a:srgbClr>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ody weight </a:t>
              </a:r>
              <a:endParaRPr kumimoji="0" lang="en-GB" sz="1067" b="0" i="0" u="none" strike="noStrike" kern="1200" cap="none" spc="0" normalizeH="0" baseline="0" noProof="0">
                <a:ln>
                  <a:noFill/>
                </a:ln>
                <a:solidFill>
                  <a:srgbClr val="939AA7">
                    <a:lumMod val="75000"/>
                  </a:srgbClr>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68" name="Group 167">
              <a:extLst>
                <a:ext uri="{FF2B5EF4-FFF2-40B4-BE49-F238E27FC236}">
                  <a16:creationId xmlns:a16="http://schemas.microsoft.com/office/drawing/2014/main" id="{F3F8FEBA-F85A-ED88-1711-8C53803B86CC}"/>
                </a:ext>
              </a:extLst>
            </p:cNvPr>
            <p:cNvGrpSpPr/>
            <p:nvPr/>
          </p:nvGrpSpPr>
          <p:grpSpPr>
            <a:xfrm>
              <a:off x="7900970" y="3917763"/>
              <a:ext cx="788410" cy="697994"/>
              <a:chOff x="530056" y="3603798"/>
              <a:chExt cx="786802" cy="737315"/>
            </a:xfrm>
          </p:grpSpPr>
          <p:sp>
            <p:nvSpPr>
              <p:cNvPr id="169" name="Rectangle: Rounded Corners 168">
                <a:extLst>
                  <a:ext uri="{FF2B5EF4-FFF2-40B4-BE49-F238E27FC236}">
                    <a16:creationId xmlns:a16="http://schemas.microsoft.com/office/drawing/2014/main" id="{3C78A387-F503-7011-4642-485452AF37F9}"/>
                  </a:ext>
                </a:extLst>
              </p:cNvPr>
              <p:cNvSpPr/>
              <p:nvPr/>
            </p:nvSpPr>
            <p:spPr>
              <a:xfrm>
                <a:off x="530056" y="3603798"/>
                <a:ext cx="786802" cy="737315"/>
              </a:xfrm>
              <a:prstGeom prst="round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70" name="Group 169">
                <a:extLst>
                  <a:ext uri="{FF2B5EF4-FFF2-40B4-BE49-F238E27FC236}">
                    <a16:creationId xmlns:a16="http://schemas.microsoft.com/office/drawing/2014/main" id="{32980994-F361-4A0E-9300-9AD9CFD4208D}"/>
                  </a:ext>
                </a:extLst>
              </p:cNvPr>
              <p:cNvGrpSpPr/>
              <p:nvPr/>
            </p:nvGrpSpPr>
            <p:grpSpPr>
              <a:xfrm>
                <a:off x="618299" y="3644679"/>
                <a:ext cx="600791" cy="659123"/>
                <a:chOff x="469900" y="1378161"/>
                <a:chExt cx="1816091" cy="1992419"/>
              </a:xfrm>
            </p:grpSpPr>
            <p:sp>
              <p:nvSpPr>
                <p:cNvPr id="172" name="Rectangle: Rounded Corners 171">
                  <a:extLst>
                    <a:ext uri="{FF2B5EF4-FFF2-40B4-BE49-F238E27FC236}">
                      <a16:creationId xmlns:a16="http://schemas.microsoft.com/office/drawing/2014/main" id="{C60E9F9E-AC25-9F5B-3743-D6C9264E38C9}"/>
                    </a:ext>
                  </a:extLst>
                </p:cNvPr>
                <p:cNvSpPr/>
                <p:nvPr/>
              </p:nvSpPr>
              <p:spPr>
                <a:xfrm>
                  <a:off x="469900" y="1520619"/>
                  <a:ext cx="1816091" cy="184996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3" name="Oval 172">
                  <a:extLst>
                    <a:ext uri="{FF2B5EF4-FFF2-40B4-BE49-F238E27FC236}">
                      <a16:creationId xmlns:a16="http://schemas.microsoft.com/office/drawing/2014/main" id="{7DA02B99-510A-CCBB-5B0C-8FE8DF09ACD6}"/>
                    </a:ext>
                  </a:extLst>
                </p:cNvPr>
                <p:cNvSpPr/>
                <p:nvPr/>
              </p:nvSpPr>
              <p:spPr>
                <a:xfrm>
                  <a:off x="786810" y="1378161"/>
                  <a:ext cx="1177206" cy="1129881"/>
                </a:xfrm>
                <a:prstGeom prst="ellipse">
                  <a:avLst/>
                </a:prstGeom>
                <a:solidFill>
                  <a:schemeClr val="bg1"/>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74" name="Group 173">
                  <a:extLst>
                    <a:ext uri="{FF2B5EF4-FFF2-40B4-BE49-F238E27FC236}">
                      <a16:creationId xmlns:a16="http://schemas.microsoft.com/office/drawing/2014/main" id="{22607462-3B3A-CB25-2DE7-03991ECCB6EB}"/>
                    </a:ext>
                  </a:extLst>
                </p:cNvPr>
                <p:cNvGrpSpPr/>
                <p:nvPr/>
              </p:nvGrpSpPr>
              <p:grpSpPr>
                <a:xfrm>
                  <a:off x="930477" y="1468415"/>
                  <a:ext cx="864931" cy="338276"/>
                  <a:chOff x="930477" y="1468415"/>
                  <a:chExt cx="864931" cy="338276"/>
                </a:xfrm>
              </p:grpSpPr>
              <p:sp>
                <p:nvSpPr>
                  <p:cNvPr id="187" name="Oval 186">
                    <a:extLst>
                      <a:ext uri="{FF2B5EF4-FFF2-40B4-BE49-F238E27FC236}">
                        <a16:creationId xmlns:a16="http://schemas.microsoft.com/office/drawing/2014/main" id="{97DE16E4-91ED-601C-CF24-FE8EE49FAEEA}"/>
                      </a:ext>
                    </a:extLst>
                  </p:cNvPr>
                  <p:cNvSpPr/>
                  <p:nvPr/>
                </p:nvSpPr>
                <p:spPr>
                  <a:xfrm>
                    <a:off x="1358196" y="1468415"/>
                    <a:ext cx="42591" cy="4734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88" name="Oval 187">
                    <a:extLst>
                      <a:ext uri="{FF2B5EF4-FFF2-40B4-BE49-F238E27FC236}">
                        <a16:creationId xmlns:a16="http://schemas.microsoft.com/office/drawing/2014/main" id="{6F485339-15B3-D768-20FD-F6368669A438}"/>
                      </a:ext>
                    </a:extLst>
                  </p:cNvPr>
                  <p:cNvSpPr/>
                  <p:nvPr/>
                </p:nvSpPr>
                <p:spPr>
                  <a:xfrm>
                    <a:off x="1135460" y="1517044"/>
                    <a:ext cx="42591" cy="4734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89" name="Oval 188">
                    <a:extLst>
                      <a:ext uri="{FF2B5EF4-FFF2-40B4-BE49-F238E27FC236}">
                        <a16:creationId xmlns:a16="http://schemas.microsoft.com/office/drawing/2014/main" id="{941B92B6-4FD8-DB4E-2B3C-3EB15C19003B}"/>
                      </a:ext>
                    </a:extLst>
                  </p:cNvPr>
                  <p:cNvSpPr/>
                  <p:nvPr/>
                </p:nvSpPr>
                <p:spPr>
                  <a:xfrm rot="1453173">
                    <a:off x="930477" y="1665524"/>
                    <a:ext cx="59301" cy="14116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0" name="Oval 189">
                    <a:extLst>
                      <a:ext uri="{FF2B5EF4-FFF2-40B4-BE49-F238E27FC236}">
                        <a16:creationId xmlns:a16="http://schemas.microsoft.com/office/drawing/2014/main" id="{34E08150-BC3A-A1A8-3729-A4306C452252}"/>
                      </a:ext>
                    </a:extLst>
                  </p:cNvPr>
                  <p:cNvSpPr/>
                  <p:nvPr/>
                </p:nvSpPr>
                <p:spPr>
                  <a:xfrm>
                    <a:off x="1574743" y="1533473"/>
                    <a:ext cx="42591" cy="4734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1" name="Oval 190">
                    <a:extLst>
                      <a:ext uri="{FF2B5EF4-FFF2-40B4-BE49-F238E27FC236}">
                        <a16:creationId xmlns:a16="http://schemas.microsoft.com/office/drawing/2014/main" id="{A2AD98B7-3BE2-83FA-507A-FF20C1C8B311}"/>
                      </a:ext>
                    </a:extLst>
                  </p:cNvPr>
                  <p:cNvSpPr/>
                  <p:nvPr/>
                </p:nvSpPr>
                <p:spPr>
                  <a:xfrm rot="19683051">
                    <a:off x="1721239" y="1631724"/>
                    <a:ext cx="74169" cy="15133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75" name="Freeform: Shape 174">
                  <a:extLst>
                    <a:ext uri="{FF2B5EF4-FFF2-40B4-BE49-F238E27FC236}">
                      <a16:creationId xmlns:a16="http://schemas.microsoft.com/office/drawing/2014/main" id="{37B99ABC-3A07-CDB1-88B9-DC9F44867FCC}"/>
                    </a:ext>
                  </a:extLst>
                </p:cNvPr>
                <p:cNvSpPr/>
                <p:nvPr/>
              </p:nvSpPr>
              <p:spPr>
                <a:xfrm>
                  <a:off x="603637" y="1826442"/>
                  <a:ext cx="1682354" cy="1544138"/>
                </a:xfrm>
                <a:custGeom>
                  <a:avLst/>
                  <a:gdLst>
                    <a:gd name="connsiteX0" fmla="*/ 1620456 w 1805892"/>
                    <a:gd name="connsiteY0" fmla="*/ 0 h 1657527"/>
                    <a:gd name="connsiteX1" fmla="*/ 1805892 w 1805892"/>
                    <a:gd name="connsiteY1" fmla="*/ 189799 h 1657527"/>
                    <a:gd name="connsiteX2" fmla="*/ 1805892 w 1805892"/>
                    <a:gd name="connsiteY2" fmla="*/ 1332612 h 1657527"/>
                    <a:gd name="connsiteX3" fmla="*/ 1480977 w 1805892"/>
                    <a:gd name="connsiteY3" fmla="*/ 1657527 h 1657527"/>
                    <a:gd name="connsiteX4" fmla="*/ 335960 w 1805892"/>
                    <a:gd name="connsiteY4" fmla="*/ 1657527 h 1657527"/>
                    <a:gd name="connsiteX5" fmla="*/ 92598 w 1805892"/>
                    <a:gd name="connsiteY5" fmla="*/ 1522071 h 1657527"/>
                    <a:gd name="connsiteX6" fmla="*/ 46299 w 1805892"/>
                    <a:gd name="connsiteY6" fmla="*/ 1423686 h 1657527"/>
                    <a:gd name="connsiteX7" fmla="*/ 0 w 1805892"/>
                    <a:gd name="connsiteY7" fmla="*/ 1365813 h 1657527"/>
                    <a:gd name="connsiteX8" fmla="*/ 520861 w 1805892"/>
                    <a:gd name="connsiteY8" fmla="*/ 445625 h 165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5892" h="1657527">
                      <a:moveTo>
                        <a:pt x="1620456" y="0"/>
                      </a:moveTo>
                      <a:lnTo>
                        <a:pt x="1805892" y="189799"/>
                      </a:lnTo>
                      <a:lnTo>
                        <a:pt x="1805892" y="1332612"/>
                      </a:lnTo>
                      <a:cubicBezTo>
                        <a:pt x="1805892" y="1512058"/>
                        <a:pt x="1660423" y="1657527"/>
                        <a:pt x="1480977" y="1657527"/>
                      </a:cubicBezTo>
                      <a:lnTo>
                        <a:pt x="335960" y="1657527"/>
                      </a:lnTo>
                      <a:lnTo>
                        <a:pt x="92598" y="1522071"/>
                      </a:lnTo>
                      <a:lnTo>
                        <a:pt x="46299" y="1423686"/>
                      </a:lnTo>
                      <a:lnTo>
                        <a:pt x="0" y="1365813"/>
                      </a:lnTo>
                      <a:lnTo>
                        <a:pt x="520861" y="445625"/>
                      </a:lnTo>
                      <a:close/>
                    </a:path>
                  </a:pathLst>
                </a:custGeom>
                <a:solidFill>
                  <a:srgbClr val="001423">
                    <a:alpha val="2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76" name="Group 175">
                  <a:extLst>
                    <a:ext uri="{FF2B5EF4-FFF2-40B4-BE49-F238E27FC236}">
                      <a16:creationId xmlns:a16="http://schemas.microsoft.com/office/drawing/2014/main" id="{5F60291B-4670-2F6B-81FB-F9B1533082A4}"/>
                    </a:ext>
                  </a:extLst>
                </p:cNvPr>
                <p:cNvGrpSpPr/>
                <p:nvPr/>
              </p:nvGrpSpPr>
              <p:grpSpPr>
                <a:xfrm>
                  <a:off x="942618" y="1425502"/>
                  <a:ext cx="855613" cy="258537"/>
                  <a:chOff x="977330" y="1282677"/>
                  <a:chExt cx="918443" cy="277523"/>
                </a:xfrm>
              </p:grpSpPr>
              <p:cxnSp>
                <p:nvCxnSpPr>
                  <p:cNvPr id="180" name="Straight Connector 179">
                    <a:extLst>
                      <a:ext uri="{FF2B5EF4-FFF2-40B4-BE49-F238E27FC236}">
                        <a16:creationId xmlns:a16="http://schemas.microsoft.com/office/drawing/2014/main" id="{CB726C8F-0178-07CC-C58F-90FCB7079615}"/>
                      </a:ext>
                    </a:extLst>
                  </p:cNvPr>
                  <p:cNvCxnSpPr/>
                  <p:nvPr/>
                </p:nvCxnSpPr>
                <p:spPr>
                  <a:xfrm>
                    <a:off x="1439525" y="1282677"/>
                    <a:ext cx="0" cy="101645"/>
                  </a:xfrm>
                  <a:prstGeom prst="line">
                    <a:avLst/>
                  </a:prstGeom>
                  <a:ln w="1270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E67F9FBC-7524-EC5A-CFE4-4F90EC9581C4}"/>
                      </a:ext>
                    </a:extLst>
                  </p:cNvPr>
                  <p:cNvGrpSpPr/>
                  <p:nvPr/>
                </p:nvGrpSpPr>
                <p:grpSpPr>
                  <a:xfrm>
                    <a:off x="977330" y="1363194"/>
                    <a:ext cx="228122" cy="197006"/>
                    <a:chOff x="977330" y="1363194"/>
                    <a:chExt cx="228122" cy="197006"/>
                  </a:xfrm>
                </p:grpSpPr>
                <p:cxnSp>
                  <p:nvCxnSpPr>
                    <p:cNvPr id="185" name="Straight Connector 184">
                      <a:extLst>
                        <a:ext uri="{FF2B5EF4-FFF2-40B4-BE49-F238E27FC236}">
                          <a16:creationId xmlns:a16="http://schemas.microsoft.com/office/drawing/2014/main" id="{7DDCD5FC-9F6C-3E6E-D1C1-A951E1971292}"/>
                        </a:ext>
                      </a:extLst>
                    </p:cNvPr>
                    <p:cNvCxnSpPr/>
                    <p:nvPr/>
                  </p:nvCxnSpPr>
                  <p:spPr>
                    <a:xfrm rot="19588122">
                      <a:off x="1205452" y="1363194"/>
                      <a:ext cx="0" cy="101645"/>
                    </a:xfrm>
                    <a:prstGeom prst="line">
                      <a:avLst/>
                    </a:prstGeom>
                    <a:ln w="1270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29A39FF0-08DA-68F0-02C9-815CE2865324}"/>
                        </a:ext>
                      </a:extLst>
                    </p:cNvPr>
                    <p:cNvCxnSpPr/>
                    <p:nvPr/>
                  </p:nvCxnSpPr>
                  <p:spPr>
                    <a:xfrm rot="18838178">
                      <a:off x="1028152" y="1509378"/>
                      <a:ext cx="0" cy="101644"/>
                    </a:xfrm>
                    <a:prstGeom prst="line">
                      <a:avLst/>
                    </a:prstGeom>
                    <a:ln w="1270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82" name="Group 181">
                    <a:extLst>
                      <a:ext uri="{FF2B5EF4-FFF2-40B4-BE49-F238E27FC236}">
                        <a16:creationId xmlns:a16="http://schemas.microsoft.com/office/drawing/2014/main" id="{B3F18E58-F5B3-9576-A8C7-E5C2C5C3F6E6}"/>
                      </a:ext>
                    </a:extLst>
                  </p:cNvPr>
                  <p:cNvGrpSpPr/>
                  <p:nvPr/>
                </p:nvGrpSpPr>
                <p:grpSpPr>
                  <a:xfrm flipH="1">
                    <a:off x="1677874" y="1363194"/>
                    <a:ext cx="217899" cy="186783"/>
                    <a:chOff x="992665" y="1363194"/>
                    <a:chExt cx="217899" cy="186783"/>
                  </a:xfrm>
                </p:grpSpPr>
                <p:cxnSp>
                  <p:nvCxnSpPr>
                    <p:cNvPr id="183" name="Straight Connector 182">
                      <a:extLst>
                        <a:ext uri="{FF2B5EF4-FFF2-40B4-BE49-F238E27FC236}">
                          <a16:creationId xmlns:a16="http://schemas.microsoft.com/office/drawing/2014/main" id="{C0841A22-898E-B1B9-5A38-4412E94E4B28}"/>
                        </a:ext>
                      </a:extLst>
                    </p:cNvPr>
                    <p:cNvCxnSpPr/>
                    <p:nvPr/>
                  </p:nvCxnSpPr>
                  <p:spPr>
                    <a:xfrm rot="19588122">
                      <a:off x="1210564" y="1363194"/>
                      <a:ext cx="0" cy="101645"/>
                    </a:xfrm>
                    <a:prstGeom prst="line">
                      <a:avLst/>
                    </a:prstGeom>
                    <a:ln w="1270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8DDE9D27-3CD0-E44C-595D-EA5DA22B787C}"/>
                        </a:ext>
                      </a:extLst>
                    </p:cNvPr>
                    <p:cNvCxnSpPr/>
                    <p:nvPr/>
                  </p:nvCxnSpPr>
                  <p:spPr>
                    <a:xfrm rot="18838178">
                      <a:off x="1043488" y="1499154"/>
                      <a:ext cx="0" cy="101645"/>
                    </a:xfrm>
                    <a:prstGeom prst="line">
                      <a:avLst/>
                    </a:prstGeom>
                    <a:ln w="1270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177" name="Freeform: Shape 176">
                  <a:extLst>
                    <a:ext uri="{FF2B5EF4-FFF2-40B4-BE49-F238E27FC236}">
                      <a16:creationId xmlns:a16="http://schemas.microsoft.com/office/drawing/2014/main" id="{8D91058C-CD6C-E2A5-A524-7BD21EF56959}"/>
                    </a:ext>
                  </a:extLst>
                </p:cNvPr>
                <p:cNvSpPr/>
                <p:nvPr/>
              </p:nvSpPr>
              <p:spPr>
                <a:xfrm>
                  <a:off x="1357241" y="1558628"/>
                  <a:ext cx="343105" cy="428881"/>
                </a:xfrm>
                <a:custGeom>
                  <a:avLst/>
                  <a:gdLst>
                    <a:gd name="connsiteX0" fmla="*/ 0 w 368300"/>
                    <a:gd name="connsiteY0" fmla="*/ 368300 h 431800"/>
                    <a:gd name="connsiteX1" fmla="*/ 19050 w 368300"/>
                    <a:gd name="connsiteY1" fmla="*/ 0 h 431800"/>
                    <a:gd name="connsiteX2" fmla="*/ 368300 w 368300"/>
                    <a:gd name="connsiteY2" fmla="*/ 254000 h 431800"/>
                    <a:gd name="connsiteX3" fmla="*/ 38100 w 368300"/>
                    <a:gd name="connsiteY3" fmla="*/ 431800 h 431800"/>
                    <a:gd name="connsiteX4" fmla="*/ 0 w 368300"/>
                    <a:gd name="connsiteY4" fmla="*/ 368300 h 431800"/>
                    <a:gd name="connsiteX0" fmla="*/ 0 w 368300"/>
                    <a:gd name="connsiteY0" fmla="*/ 396875 h 460375"/>
                    <a:gd name="connsiteX1" fmla="*/ 21431 w 368300"/>
                    <a:gd name="connsiteY1" fmla="*/ 0 h 460375"/>
                    <a:gd name="connsiteX2" fmla="*/ 368300 w 368300"/>
                    <a:gd name="connsiteY2" fmla="*/ 282575 h 460375"/>
                    <a:gd name="connsiteX3" fmla="*/ 38100 w 368300"/>
                    <a:gd name="connsiteY3" fmla="*/ 460375 h 460375"/>
                    <a:gd name="connsiteX4" fmla="*/ 0 w 368300"/>
                    <a:gd name="connsiteY4" fmla="*/ 396875 h 460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0" h="460375">
                      <a:moveTo>
                        <a:pt x="0" y="396875"/>
                      </a:moveTo>
                      <a:lnTo>
                        <a:pt x="21431" y="0"/>
                      </a:lnTo>
                      <a:lnTo>
                        <a:pt x="368300" y="282575"/>
                      </a:lnTo>
                      <a:lnTo>
                        <a:pt x="38100" y="460375"/>
                      </a:lnTo>
                      <a:lnTo>
                        <a:pt x="0" y="396875"/>
                      </a:lnTo>
                      <a:close/>
                    </a:path>
                  </a:pathLst>
                </a:custGeom>
                <a:solidFill>
                  <a:srgbClr val="001423">
                    <a:alpha val="2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8" name="Isosceles Triangle 177">
                  <a:extLst>
                    <a:ext uri="{FF2B5EF4-FFF2-40B4-BE49-F238E27FC236}">
                      <a16:creationId xmlns:a16="http://schemas.microsoft.com/office/drawing/2014/main" id="{06E6F67C-143E-8F49-20EC-CFF65B9C3547}"/>
                    </a:ext>
                  </a:extLst>
                </p:cNvPr>
                <p:cNvSpPr/>
                <p:nvPr/>
              </p:nvSpPr>
              <p:spPr>
                <a:xfrm>
                  <a:off x="1328300" y="1544823"/>
                  <a:ext cx="94225" cy="364636"/>
                </a:xfrm>
                <a:prstGeom prst="triangle">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9" name="Freeform: Shape 178">
                  <a:extLst>
                    <a:ext uri="{FF2B5EF4-FFF2-40B4-BE49-F238E27FC236}">
                      <a16:creationId xmlns:a16="http://schemas.microsoft.com/office/drawing/2014/main" id="{81C97E18-3E57-09DA-4245-33CF9ADCB976}"/>
                    </a:ext>
                  </a:extLst>
                </p:cNvPr>
                <p:cNvSpPr/>
                <p:nvPr/>
              </p:nvSpPr>
              <p:spPr>
                <a:xfrm>
                  <a:off x="558634" y="1727141"/>
                  <a:ext cx="1633557" cy="1561803"/>
                </a:xfrm>
                <a:custGeom>
                  <a:avLst/>
                  <a:gdLst>
                    <a:gd name="connsiteX0" fmla="*/ 279420 w 1753512"/>
                    <a:gd name="connsiteY0" fmla="*/ 0 h 1676489"/>
                    <a:gd name="connsiteX1" fmla="*/ 489552 w 1753512"/>
                    <a:gd name="connsiteY1" fmla="*/ 0 h 1676489"/>
                    <a:gd name="connsiteX2" fmla="*/ 876748 w 1753512"/>
                    <a:gd name="connsiteY2" fmla="*/ 171539 h 1676489"/>
                    <a:gd name="connsiteX3" fmla="*/ 1263959 w 1753512"/>
                    <a:gd name="connsiteY3" fmla="*/ 0 h 1676489"/>
                    <a:gd name="connsiteX4" fmla="*/ 1474092 w 1753512"/>
                    <a:gd name="connsiteY4" fmla="*/ 0 h 1676489"/>
                    <a:gd name="connsiteX5" fmla="*/ 1753512 w 1753512"/>
                    <a:gd name="connsiteY5" fmla="*/ 279420 h 1676489"/>
                    <a:gd name="connsiteX6" fmla="*/ 1753512 w 1753512"/>
                    <a:gd name="connsiteY6" fmla="*/ 1397069 h 1676489"/>
                    <a:gd name="connsiteX7" fmla="*/ 1474092 w 1753512"/>
                    <a:gd name="connsiteY7" fmla="*/ 1676489 h 1676489"/>
                    <a:gd name="connsiteX8" fmla="*/ 279420 w 1753512"/>
                    <a:gd name="connsiteY8" fmla="*/ 1676489 h 1676489"/>
                    <a:gd name="connsiteX9" fmla="*/ 0 w 1753512"/>
                    <a:gd name="connsiteY9" fmla="*/ 1397069 h 1676489"/>
                    <a:gd name="connsiteX10" fmla="*/ 0 w 1753512"/>
                    <a:gd name="connsiteY10" fmla="*/ 279420 h 1676489"/>
                    <a:gd name="connsiteX11" fmla="*/ 279420 w 1753512"/>
                    <a:gd name="connsiteY11" fmla="*/ 0 h 167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3512" h="1676489">
                      <a:moveTo>
                        <a:pt x="279420" y="0"/>
                      </a:moveTo>
                      <a:lnTo>
                        <a:pt x="489552" y="0"/>
                      </a:lnTo>
                      <a:lnTo>
                        <a:pt x="876748" y="171539"/>
                      </a:lnTo>
                      <a:lnTo>
                        <a:pt x="1263959" y="0"/>
                      </a:lnTo>
                      <a:lnTo>
                        <a:pt x="1474092" y="0"/>
                      </a:lnTo>
                      <a:cubicBezTo>
                        <a:pt x="1628411" y="0"/>
                        <a:pt x="1753512" y="125101"/>
                        <a:pt x="1753512" y="279420"/>
                      </a:cubicBezTo>
                      <a:lnTo>
                        <a:pt x="1753512" y="1397069"/>
                      </a:lnTo>
                      <a:cubicBezTo>
                        <a:pt x="1753512" y="1551388"/>
                        <a:pt x="1628411" y="1676489"/>
                        <a:pt x="1474092" y="1676489"/>
                      </a:cubicBezTo>
                      <a:lnTo>
                        <a:pt x="279420" y="1676489"/>
                      </a:lnTo>
                      <a:cubicBezTo>
                        <a:pt x="125101" y="1676489"/>
                        <a:pt x="0" y="1551388"/>
                        <a:pt x="0" y="1397069"/>
                      </a:cubicBezTo>
                      <a:lnTo>
                        <a:pt x="0" y="279420"/>
                      </a:lnTo>
                      <a:cubicBezTo>
                        <a:pt x="0" y="125101"/>
                        <a:pt x="125101" y="0"/>
                        <a:pt x="279420" y="0"/>
                      </a:cubicBezTo>
                      <a:close/>
                    </a:path>
                  </a:pathLst>
                </a:cu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71" name="Freeform: Shape 170">
                <a:extLst>
                  <a:ext uri="{FF2B5EF4-FFF2-40B4-BE49-F238E27FC236}">
                    <a16:creationId xmlns:a16="http://schemas.microsoft.com/office/drawing/2014/main" id="{71179E48-1FB3-C286-CE5F-D7B3047B7286}"/>
                  </a:ext>
                </a:extLst>
              </p:cNvPr>
              <p:cNvSpPr/>
              <p:nvPr/>
            </p:nvSpPr>
            <p:spPr>
              <a:xfrm rot="928242" flipV="1">
                <a:off x="707323" y="3915846"/>
                <a:ext cx="432265" cy="302040"/>
              </a:xfrm>
              <a:custGeom>
                <a:avLst/>
                <a:gdLst>
                  <a:gd name="connsiteX0" fmla="*/ 1522337 w 1598455"/>
                  <a:gd name="connsiteY0" fmla="*/ 1066312 h 1116902"/>
                  <a:gd name="connsiteX1" fmla="*/ 1598455 w 1598455"/>
                  <a:gd name="connsiteY1" fmla="*/ 1029704 h 1116902"/>
                  <a:gd name="connsiteX2" fmla="*/ 1571049 w 1598455"/>
                  <a:gd name="connsiteY2" fmla="*/ 1034701 h 1116902"/>
                  <a:gd name="connsiteX3" fmla="*/ 901145 w 1598455"/>
                  <a:gd name="connsiteY3" fmla="*/ 879636 h 1116902"/>
                  <a:gd name="connsiteX4" fmla="*/ 455241 w 1598455"/>
                  <a:gd name="connsiteY4" fmla="*/ 432817 h 1116902"/>
                  <a:gd name="connsiteX5" fmla="*/ 449268 w 1598455"/>
                  <a:gd name="connsiteY5" fmla="*/ 418878 h 1116902"/>
                  <a:gd name="connsiteX6" fmla="*/ 573995 w 1598455"/>
                  <a:gd name="connsiteY6" fmla="*/ 418878 h 1116902"/>
                  <a:gd name="connsiteX7" fmla="*/ 287303 w 1598455"/>
                  <a:gd name="connsiteY7" fmla="*/ 0 h 1116902"/>
                  <a:gd name="connsiteX8" fmla="*/ 232809 w 1598455"/>
                  <a:gd name="connsiteY8" fmla="*/ 78728 h 1116902"/>
                  <a:gd name="connsiteX9" fmla="*/ 127371 w 1598455"/>
                  <a:gd name="connsiteY9" fmla="*/ 232781 h 1116902"/>
                  <a:gd name="connsiteX10" fmla="*/ 126118 w 1598455"/>
                  <a:gd name="connsiteY10" fmla="*/ 232867 h 1116902"/>
                  <a:gd name="connsiteX11" fmla="*/ 117593 w 1598455"/>
                  <a:gd name="connsiteY11" fmla="*/ 245182 h 1116902"/>
                  <a:gd name="connsiteX12" fmla="*/ 117440 w 1598455"/>
                  <a:gd name="connsiteY12" fmla="*/ 247289 h 1116902"/>
                  <a:gd name="connsiteX13" fmla="*/ 0 w 1598455"/>
                  <a:gd name="connsiteY13" fmla="*/ 418878 h 1116902"/>
                  <a:gd name="connsiteX14" fmla="*/ 142268 w 1598455"/>
                  <a:gd name="connsiteY14" fmla="*/ 418878 h 1116902"/>
                  <a:gd name="connsiteX15" fmla="*/ 163443 w 1598455"/>
                  <a:gd name="connsiteY15" fmla="*/ 483044 h 1116902"/>
                  <a:gd name="connsiteX16" fmla="*/ 694280 w 1598455"/>
                  <a:gd name="connsiteY16" fmla="*/ 996583 h 1116902"/>
                  <a:gd name="connsiteX17" fmla="*/ 1522337 w 1598455"/>
                  <a:gd name="connsiteY17" fmla="*/ 1066312 h 111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8455" h="1116902">
                    <a:moveTo>
                      <a:pt x="1522337" y="1066312"/>
                    </a:moveTo>
                    <a:lnTo>
                      <a:pt x="1598455" y="1029704"/>
                    </a:lnTo>
                    <a:lnTo>
                      <a:pt x="1571049" y="1034701"/>
                    </a:lnTo>
                    <a:cubicBezTo>
                      <a:pt x="1361972" y="1053972"/>
                      <a:pt x="1122151" y="1003805"/>
                      <a:pt x="901145" y="879636"/>
                    </a:cubicBezTo>
                    <a:cubicBezTo>
                      <a:pt x="693950" y="763226"/>
                      <a:pt x="540069" y="602437"/>
                      <a:pt x="455241" y="432817"/>
                    </a:cubicBezTo>
                    <a:lnTo>
                      <a:pt x="449268" y="418878"/>
                    </a:lnTo>
                    <a:lnTo>
                      <a:pt x="573995" y="418878"/>
                    </a:lnTo>
                    <a:lnTo>
                      <a:pt x="287303" y="0"/>
                    </a:lnTo>
                    <a:lnTo>
                      <a:pt x="232809" y="78728"/>
                    </a:lnTo>
                    <a:lnTo>
                      <a:pt x="127371" y="232781"/>
                    </a:lnTo>
                    <a:lnTo>
                      <a:pt x="126118" y="232867"/>
                    </a:lnTo>
                    <a:lnTo>
                      <a:pt x="117593" y="245182"/>
                    </a:lnTo>
                    <a:lnTo>
                      <a:pt x="117440" y="247289"/>
                    </a:lnTo>
                    <a:lnTo>
                      <a:pt x="0" y="418878"/>
                    </a:lnTo>
                    <a:lnTo>
                      <a:pt x="142268" y="418878"/>
                    </a:lnTo>
                    <a:lnTo>
                      <a:pt x="163443" y="483044"/>
                    </a:lnTo>
                    <a:cubicBezTo>
                      <a:pt x="247582" y="683775"/>
                      <a:pt x="435201" y="874737"/>
                      <a:pt x="694280" y="996583"/>
                    </a:cubicBezTo>
                    <a:cubicBezTo>
                      <a:pt x="982144" y="1131966"/>
                      <a:pt x="1290099" y="1149979"/>
                      <a:pt x="1522337" y="1066312"/>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236" name="Freeform: Shape 235">
              <a:extLst>
                <a:ext uri="{FF2B5EF4-FFF2-40B4-BE49-F238E27FC236}">
                  <a16:creationId xmlns:a16="http://schemas.microsoft.com/office/drawing/2014/main" id="{7839BBA3-0888-6A0E-CA6E-7D237CD9C02A}"/>
                </a:ext>
              </a:extLst>
            </p:cNvPr>
            <p:cNvSpPr/>
            <p:nvPr/>
          </p:nvSpPr>
          <p:spPr>
            <a:xfrm>
              <a:off x="6634272" y="3327449"/>
              <a:ext cx="537730" cy="540000"/>
            </a:xfrm>
            <a:custGeom>
              <a:avLst/>
              <a:gdLst>
                <a:gd name="connsiteX0" fmla="*/ 270000 w 537730"/>
                <a:gd name="connsiteY0" fmla="*/ 0 h 540000"/>
                <a:gd name="connsiteX1" fmla="*/ 534515 w 537730"/>
                <a:gd name="connsiteY1" fmla="*/ 215586 h 540000"/>
                <a:gd name="connsiteX2" fmla="*/ 537730 w 537730"/>
                <a:gd name="connsiteY2" fmla="*/ 247484 h 540000"/>
                <a:gd name="connsiteX3" fmla="*/ 536815 w 537730"/>
                <a:gd name="connsiteY3" fmla="*/ 246121 h 540000"/>
                <a:gd name="connsiteX4" fmla="*/ 409536 w 537730"/>
                <a:gd name="connsiteY4" fmla="*/ 193191 h 540000"/>
                <a:gd name="connsiteX5" fmla="*/ 229536 w 537730"/>
                <a:gd name="connsiteY5" fmla="*/ 373906 h 540000"/>
                <a:gd name="connsiteX6" fmla="*/ 282257 w 537730"/>
                <a:gd name="connsiteY6" fmla="*/ 501691 h 540000"/>
                <a:gd name="connsiteX7" fmla="*/ 328757 w 537730"/>
                <a:gd name="connsiteY7" fmla="*/ 533167 h 540000"/>
                <a:gd name="connsiteX8" fmla="*/ 324415 w 537730"/>
                <a:gd name="connsiteY8" fmla="*/ 534515 h 540000"/>
                <a:gd name="connsiteX9" fmla="*/ 270000 w 537730"/>
                <a:gd name="connsiteY9" fmla="*/ 540000 h 540000"/>
                <a:gd name="connsiteX10" fmla="*/ 0 w 537730"/>
                <a:gd name="connsiteY10" fmla="*/ 270000 h 540000"/>
                <a:gd name="connsiteX11" fmla="*/ 270000 w 537730"/>
                <a:gd name="connsiteY11"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730" h="540000">
                  <a:moveTo>
                    <a:pt x="270000" y="0"/>
                  </a:moveTo>
                  <a:cubicBezTo>
                    <a:pt x="400478" y="0"/>
                    <a:pt x="509338" y="92551"/>
                    <a:pt x="534515" y="215586"/>
                  </a:cubicBezTo>
                  <a:lnTo>
                    <a:pt x="537730" y="247484"/>
                  </a:lnTo>
                  <a:lnTo>
                    <a:pt x="536815" y="246121"/>
                  </a:lnTo>
                  <a:cubicBezTo>
                    <a:pt x="504242" y="213418"/>
                    <a:pt x="459242" y="193191"/>
                    <a:pt x="409536" y="193191"/>
                  </a:cubicBezTo>
                  <a:cubicBezTo>
                    <a:pt x="310125" y="193191"/>
                    <a:pt x="229536" y="274100"/>
                    <a:pt x="229536" y="373906"/>
                  </a:cubicBezTo>
                  <a:cubicBezTo>
                    <a:pt x="229536" y="423809"/>
                    <a:pt x="249683" y="468988"/>
                    <a:pt x="282257" y="501691"/>
                  </a:cubicBezTo>
                  <a:lnTo>
                    <a:pt x="328757" y="533167"/>
                  </a:lnTo>
                  <a:lnTo>
                    <a:pt x="324415" y="534515"/>
                  </a:lnTo>
                  <a:cubicBezTo>
                    <a:pt x="306838" y="538111"/>
                    <a:pt x="288640" y="540000"/>
                    <a:pt x="270000" y="540000"/>
                  </a:cubicBezTo>
                  <a:cubicBezTo>
                    <a:pt x="120883" y="540000"/>
                    <a:pt x="0" y="419117"/>
                    <a:pt x="0" y="270000"/>
                  </a:cubicBezTo>
                  <a:cubicBezTo>
                    <a:pt x="0" y="120883"/>
                    <a:pt x="120883" y="0"/>
                    <a:pt x="270000" y="0"/>
                  </a:cubicBezTo>
                  <a:close/>
                </a:path>
              </a:pathLst>
            </a:cu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89"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6" name="Freeform: Shape 225">
              <a:extLst>
                <a:ext uri="{FF2B5EF4-FFF2-40B4-BE49-F238E27FC236}">
                  <a16:creationId xmlns:a16="http://schemas.microsoft.com/office/drawing/2014/main" id="{6484ACFD-43D3-1DF6-9E70-A9FACB4AA09E}"/>
                </a:ext>
              </a:extLst>
            </p:cNvPr>
            <p:cNvSpPr/>
            <p:nvPr/>
          </p:nvSpPr>
          <p:spPr>
            <a:xfrm>
              <a:off x="6947946" y="3319829"/>
              <a:ext cx="536941" cy="540000"/>
            </a:xfrm>
            <a:custGeom>
              <a:avLst/>
              <a:gdLst>
                <a:gd name="connsiteX0" fmla="*/ 266941 w 536941"/>
                <a:gd name="connsiteY0" fmla="*/ 0 h 540000"/>
                <a:gd name="connsiteX1" fmla="*/ 536941 w 536941"/>
                <a:gd name="connsiteY1" fmla="*/ 270000 h 540000"/>
                <a:gd name="connsiteX2" fmla="*/ 266941 w 536941"/>
                <a:gd name="connsiteY2" fmla="*/ 540000 h 540000"/>
                <a:gd name="connsiteX3" fmla="*/ 212527 w 536941"/>
                <a:gd name="connsiteY3" fmla="*/ 534515 h 540000"/>
                <a:gd name="connsiteX4" fmla="*/ 201551 w 536941"/>
                <a:gd name="connsiteY4" fmla="*/ 531108 h 540000"/>
                <a:gd name="connsiteX5" fmla="*/ 245009 w 536941"/>
                <a:gd name="connsiteY5" fmla="*/ 501691 h 540000"/>
                <a:gd name="connsiteX6" fmla="*/ 297730 w 536941"/>
                <a:gd name="connsiteY6" fmla="*/ 373906 h 540000"/>
                <a:gd name="connsiteX7" fmla="*/ 117730 w 536941"/>
                <a:gd name="connsiteY7" fmla="*/ 193191 h 540000"/>
                <a:gd name="connsiteX8" fmla="*/ 47666 w 536941"/>
                <a:gd name="connsiteY8" fmla="*/ 207393 h 540000"/>
                <a:gd name="connsiteX9" fmla="*/ 0 w 536941"/>
                <a:gd name="connsiteY9" fmla="*/ 239658 h 540000"/>
                <a:gd name="connsiteX10" fmla="*/ 2427 w 536941"/>
                <a:gd name="connsiteY10" fmla="*/ 215586 h 540000"/>
                <a:gd name="connsiteX11" fmla="*/ 266941 w 536941"/>
                <a:gd name="connsiteY11"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941" h="540000">
                  <a:moveTo>
                    <a:pt x="266941" y="0"/>
                  </a:moveTo>
                  <a:cubicBezTo>
                    <a:pt x="416058" y="0"/>
                    <a:pt x="536941" y="120883"/>
                    <a:pt x="536941" y="270000"/>
                  </a:cubicBezTo>
                  <a:cubicBezTo>
                    <a:pt x="536941" y="419117"/>
                    <a:pt x="416058" y="540000"/>
                    <a:pt x="266941" y="540000"/>
                  </a:cubicBezTo>
                  <a:cubicBezTo>
                    <a:pt x="248302" y="540000"/>
                    <a:pt x="230103" y="538111"/>
                    <a:pt x="212527" y="534515"/>
                  </a:cubicBezTo>
                  <a:lnTo>
                    <a:pt x="201551" y="531108"/>
                  </a:lnTo>
                  <a:lnTo>
                    <a:pt x="245009" y="501691"/>
                  </a:lnTo>
                  <a:cubicBezTo>
                    <a:pt x="277583" y="468988"/>
                    <a:pt x="297730" y="423809"/>
                    <a:pt x="297730" y="373906"/>
                  </a:cubicBezTo>
                  <a:cubicBezTo>
                    <a:pt x="297730" y="274100"/>
                    <a:pt x="217141" y="193191"/>
                    <a:pt x="117730" y="193191"/>
                  </a:cubicBezTo>
                  <a:cubicBezTo>
                    <a:pt x="92877" y="193191"/>
                    <a:pt x="69201" y="198248"/>
                    <a:pt x="47666" y="207393"/>
                  </a:cubicBezTo>
                  <a:lnTo>
                    <a:pt x="0" y="239658"/>
                  </a:lnTo>
                  <a:lnTo>
                    <a:pt x="2427" y="215586"/>
                  </a:lnTo>
                  <a:cubicBezTo>
                    <a:pt x="27603" y="92551"/>
                    <a:pt x="136464" y="0"/>
                    <a:pt x="266941" y="0"/>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89"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5" name="Freeform: Shape 234">
              <a:extLst>
                <a:ext uri="{FF2B5EF4-FFF2-40B4-BE49-F238E27FC236}">
                  <a16:creationId xmlns:a16="http://schemas.microsoft.com/office/drawing/2014/main" id="{FF828B49-4BBD-7878-6D4C-87E916BC3247}"/>
                </a:ext>
              </a:extLst>
            </p:cNvPr>
            <p:cNvSpPr/>
            <p:nvPr/>
          </p:nvSpPr>
          <p:spPr>
            <a:xfrm>
              <a:off x="6951723" y="3582043"/>
              <a:ext cx="539260" cy="540000"/>
            </a:xfrm>
            <a:custGeom>
              <a:avLst/>
              <a:gdLst>
                <a:gd name="connsiteX0" fmla="*/ 247338 w 539260"/>
                <a:gd name="connsiteY0" fmla="*/ 2210 h 540000"/>
                <a:gd name="connsiteX1" fmla="*/ 247555 w 539260"/>
                <a:gd name="connsiteY1" fmla="*/ 2533 h 540000"/>
                <a:gd name="connsiteX2" fmla="*/ 247338 w 539260"/>
                <a:gd name="connsiteY2" fmla="*/ 2210 h 540000"/>
                <a:gd name="connsiteX3" fmla="*/ 269260 w 539260"/>
                <a:gd name="connsiteY3" fmla="*/ 0 h 540000"/>
                <a:gd name="connsiteX4" fmla="*/ 539260 w 539260"/>
                <a:gd name="connsiteY4" fmla="*/ 270000 h 540000"/>
                <a:gd name="connsiteX5" fmla="*/ 269260 w 539260"/>
                <a:gd name="connsiteY5" fmla="*/ 540000 h 540000"/>
                <a:gd name="connsiteX6" fmla="*/ 4745 w 539260"/>
                <a:gd name="connsiteY6" fmla="*/ 324415 h 540000"/>
                <a:gd name="connsiteX7" fmla="*/ 1673 w 539260"/>
                <a:gd name="connsiteY7" fmla="*/ 293941 h 540000"/>
                <a:gd name="connsiteX8" fmla="*/ 34928 w 539260"/>
                <a:gd name="connsiteY8" fmla="*/ 290589 h 540000"/>
                <a:gd name="connsiteX9" fmla="*/ 39270 w 539260"/>
                <a:gd name="connsiteY9" fmla="*/ 289241 h 540000"/>
                <a:gd name="connsiteX10" fmla="*/ 0 w 539260"/>
                <a:gd name="connsiteY10" fmla="*/ 262659 h 540000"/>
                <a:gd name="connsiteX11" fmla="*/ 0 w 539260"/>
                <a:gd name="connsiteY11" fmla="*/ 262659 h 540000"/>
                <a:gd name="connsiteX12" fmla="*/ 49985 w 539260"/>
                <a:gd name="connsiteY12" fmla="*/ 296494 h 540000"/>
                <a:gd name="connsiteX13" fmla="*/ 120049 w 539260"/>
                <a:gd name="connsiteY13" fmla="*/ 310695 h 540000"/>
                <a:gd name="connsiteX14" fmla="*/ 300049 w 539260"/>
                <a:gd name="connsiteY14" fmla="*/ 129980 h 540000"/>
                <a:gd name="connsiteX15" fmla="*/ 285904 w 539260"/>
                <a:gd name="connsiteY15" fmla="*/ 59638 h 540000"/>
                <a:gd name="connsiteX16" fmla="*/ 248243 w 539260"/>
                <a:gd name="connsiteY16" fmla="*/ 3558 h 540000"/>
                <a:gd name="connsiteX17" fmla="*/ 248099 w 539260"/>
                <a:gd name="connsiteY17" fmla="*/ 2133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9260" h="540000">
                  <a:moveTo>
                    <a:pt x="247338" y="2210"/>
                  </a:moveTo>
                  <a:lnTo>
                    <a:pt x="247555" y="2533"/>
                  </a:lnTo>
                  <a:lnTo>
                    <a:pt x="247338" y="2210"/>
                  </a:lnTo>
                  <a:close/>
                  <a:moveTo>
                    <a:pt x="269260" y="0"/>
                  </a:moveTo>
                  <a:cubicBezTo>
                    <a:pt x="418377" y="0"/>
                    <a:pt x="539260" y="120883"/>
                    <a:pt x="539260" y="270000"/>
                  </a:cubicBezTo>
                  <a:cubicBezTo>
                    <a:pt x="539260" y="419117"/>
                    <a:pt x="418377" y="540000"/>
                    <a:pt x="269260" y="540000"/>
                  </a:cubicBezTo>
                  <a:cubicBezTo>
                    <a:pt x="138783" y="540000"/>
                    <a:pt x="29922" y="447449"/>
                    <a:pt x="4745" y="324415"/>
                  </a:cubicBezTo>
                  <a:lnTo>
                    <a:pt x="1673" y="293941"/>
                  </a:lnTo>
                  <a:lnTo>
                    <a:pt x="34928" y="290589"/>
                  </a:lnTo>
                  <a:lnTo>
                    <a:pt x="39270" y="289241"/>
                  </a:lnTo>
                  <a:lnTo>
                    <a:pt x="0" y="262659"/>
                  </a:lnTo>
                  <a:lnTo>
                    <a:pt x="0" y="262659"/>
                  </a:lnTo>
                  <a:lnTo>
                    <a:pt x="49985" y="296494"/>
                  </a:lnTo>
                  <a:cubicBezTo>
                    <a:pt x="71520" y="305638"/>
                    <a:pt x="95196" y="310695"/>
                    <a:pt x="120049" y="310695"/>
                  </a:cubicBezTo>
                  <a:cubicBezTo>
                    <a:pt x="219460" y="310695"/>
                    <a:pt x="300049" y="229786"/>
                    <a:pt x="300049" y="129980"/>
                  </a:cubicBezTo>
                  <a:cubicBezTo>
                    <a:pt x="300049" y="105029"/>
                    <a:pt x="295012" y="81258"/>
                    <a:pt x="285904" y="59638"/>
                  </a:cubicBezTo>
                  <a:lnTo>
                    <a:pt x="248243" y="3558"/>
                  </a:lnTo>
                  <a:lnTo>
                    <a:pt x="248099" y="2133"/>
                  </a:lnTo>
                  <a:close/>
                </a:path>
              </a:pathLst>
            </a:cu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89"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3" name="Freeform: Shape 232">
              <a:extLst>
                <a:ext uri="{FF2B5EF4-FFF2-40B4-BE49-F238E27FC236}">
                  <a16:creationId xmlns:a16="http://schemas.microsoft.com/office/drawing/2014/main" id="{3D62CF4A-605B-55FF-65BF-B052DC13C9B9}"/>
                </a:ext>
              </a:extLst>
            </p:cNvPr>
            <p:cNvSpPr/>
            <p:nvPr/>
          </p:nvSpPr>
          <p:spPr>
            <a:xfrm>
              <a:off x="6634272" y="3590349"/>
              <a:ext cx="540000" cy="537790"/>
            </a:xfrm>
            <a:custGeom>
              <a:avLst/>
              <a:gdLst>
                <a:gd name="connsiteX0" fmla="*/ 239211 w 540000"/>
                <a:gd name="connsiteY0" fmla="*/ 127770 h 537790"/>
                <a:gd name="connsiteX1" fmla="*/ 419211 w 540000"/>
                <a:gd name="connsiteY1" fmla="*/ 308485 h 537790"/>
                <a:gd name="connsiteX2" fmla="*/ 489275 w 540000"/>
                <a:gd name="connsiteY2" fmla="*/ 294284 h 537790"/>
                <a:gd name="connsiteX3" fmla="*/ 539260 w 540000"/>
                <a:gd name="connsiteY3" fmla="*/ 260449 h 537790"/>
                <a:gd name="connsiteX4" fmla="*/ 540000 w 540000"/>
                <a:gd name="connsiteY4" fmla="*/ 267790 h 537790"/>
                <a:gd name="connsiteX5" fmla="*/ 270000 w 540000"/>
                <a:gd name="connsiteY5" fmla="*/ 537790 h 537790"/>
                <a:gd name="connsiteX6" fmla="*/ 0 w 540000"/>
                <a:gd name="connsiteY6" fmla="*/ 267790 h 537790"/>
                <a:gd name="connsiteX7" fmla="*/ 21218 w 540000"/>
                <a:gd name="connsiteY7" fmla="*/ 162694 h 537790"/>
                <a:gd name="connsiteX8" fmla="*/ 35211 w 540000"/>
                <a:gd name="connsiteY8" fmla="*/ 136915 h 537790"/>
                <a:gd name="connsiteX9" fmla="*/ 55787 w 540000"/>
                <a:gd name="connsiteY9" fmla="*/ 174824 h 537790"/>
                <a:gd name="connsiteX10" fmla="*/ 279675 w 540000"/>
                <a:gd name="connsiteY10" fmla="*/ 293864 h 537790"/>
                <a:gd name="connsiteX11" fmla="*/ 334090 w 540000"/>
                <a:gd name="connsiteY11" fmla="*/ 288379 h 537790"/>
                <a:gd name="connsiteX12" fmla="*/ 338432 w 540000"/>
                <a:gd name="connsiteY12" fmla="*/ 287031 h 537790"/>
                <a:gd name="connsiteX13" fmla="*/ 291932 w 540000"/>
                <a:gd name="connsiteY13" fmla="*/ 255555 h 537790"/>
                <a:gd name="connsiteX14" fmla="*/ 239211 w 540000"/>
                <a:gd name="connsiteY14" fmla="*/ 127770 h 537790"/>
                <a:gd name="connsiteX15" fmla="*/ 245995 w 540000"/>
                <a:gd name="connsiteY15" fmla="*/ 81238 h 537790"/>
                <a:gd name="connsiteX16" fmla="*/ 242868 w 540000"/>
                <a:gd name="connsiteY16" fmla="*/ 91350 h 537790"/>
                <a:gd name="connsiteX17" fmla="*/ 239211 w 540000"/>
                <a:gd name="connsiteY17" fmla="*/ 127770 h 537790"/>
                <a:gd name="connsiteX18" fmla="*/ 242868 w 540000"/>
                <a:gd name="connsiteY18" fmla="*/ 91350 h 537790"/>
                <a:gd name="connsiteX19" fmla="*/ 291922 w 540000"/>
                <a:gd name="connsiteY19" fmla="*/ 0 h 537790"/>
                <a:gd name="connsiteX20" fmla="*/ 291922 w 540000"/>
                <a:gd name="connsiteY20" fmla="*/ 0 h 537790"/>
                <a:gd name="connsiteX21" fmla="*/ 283233 w 540000"/>
                <a:gd name="connsiteY21" fmla="*/ 12940 h 53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000" h="537790">
                  <a:moveTo>
                    <a:pt x="239211" y="127770"/>
                  </a:moveTo>
                  <a:cubicBezTo>
                    <a:pt x="239211" y="227576"/>
                    <a:pt x="319800" y="308485"/>
                    <a:pt x="419211" y="308485"/>
                  </a:cubicBezTo>
                  <a:cubicBezTo>
                    <a:pt x="444064" y="308485"/>
                    <a:pt x="467740" y="303428"/>
                    <a:pt x="489275" y="294284"/>
                  </a:cubicBezTo>
                  <a:lnTo>
                    <a:pt x="539260" y="260449"/>
                  </a:lnTo>
                  <a:lnTo>
                    <a:pt x="540000" y="267790"/>
                  </a:lnTo>
                  <a:cubicBezTo>
                    <a:pt x="540000" y="416907"/>
                    <a:pt x="419117" y="537790"/>
                    <a:pt x="270000" y="537790"/>
                  </a:cubicBezTo>
                  <a:cubicBezTo>
                    <a:pt x="120883" y="537790"/>
                    <a:pt x="0" y="416907"/>
                    <a:pt x="0" y="267790"/>
                  </a:cubicBezTo>
                  <a:cubicBezTo>
                    <a:pt x="0" y="230511"/>
                    <a:pt x="7555" y="194996"/>
                    <a:pt x="21218" y="162694"/>
                  </a:cubicBezTo>
                  <a:lnTo>
                    <a:pt x="35211" y="136915"/>
                  </a:lnTo>
                  <a:lnTo>
                    <a:pt x="55787" y="174824"/>
                  </a:lnTo>
                  <a:cubicBezTo>
                    <a:pt x="104308" y="246644"/>
                    <a:pt x="186477" y="293864"/>
                    <a:pt x="279675" y="293864"/>
                  </a:cubicBezTo>
                  <a:cubicBezTo>
                    <a:pt x="298315" y="293864"/>
                    <a:pt x="316513" y="291975"/>
                    <a:pt x="334090" y="288379"/>
                  </a:cubicBezTo>
                  <a:lnTo>
                    <a:pt x="338432" y="287031"/>
                  </a:lnTo>
                  <a:lnTo>
                    <a:pt x="291932" y="255555"/>
                  </a:lnTo>
                  <a:cubicBezTo>
                    <a:pt x="259358" y="222852"/>
                    <a:pt x="239211" y="177673"/>
                    <a:pt x="239211" y="127770"/>
                  </a:cubicBezTo>
                  <a:close/>
                  <a:moveTo>
                    <a:pt x="245995" y="81238"/>
                  </a:moveTo>
                  <a:lnTo>
                    <a:pt x="242868" y="91350"/>
                  </a:lnTo>
                  <a:cubicBezTo>
                    <a:pt x="240470" y="103114"/>
                    <a:pt x="239211" y="115295"/>
                    <a:pt x="239211" y="127770"/>
                  </a:cubicBezTo>
                  <a:cubicBezTo>
                    <a:pt x="239211" y="115294"/>
                    <a:pt x="240470" y="103114"/>
                    <a:pt x="242868" y="91350"/>
                  </a:cubicBezTo>
                  <a:close/>
                  <a:moveTo>
                    <a:pt x="291922" y="0"/>
                  </a:moveTo>
                  <a:lnTo>
                    <a:pt x="291922" y="0"/>
                  </a:lnTo>
                  <a:lnTo>
                    <a:pt x="283233" y="12940"/>
                  </a:lnTo>
                  <a:close/>
                </a:path>
              </a:pathLst>
            </a:cu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89"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245" name="Elbow Connector 82">
              <a:extLst>
                <a:ext uri="{FF2B5EF4-FFF2-40B4-BE49-F238E27FC236}">
                  <a16:creationId xmlns:a16="http://schemas.microsoft.com/office/drawing/2014/main" id="{290CABE8-55DE-C67E-D703-DB436AE69293}"/>
                </a:ext>
              </a:extLst>
            </p:cNvPr>
            <p:cNvCxnSpPr>
              <a:cxnSpLocks/>
              <a:stCxn id="161" idx="3"/>
              <a:endCxn id="246" idx="0"/>
            </p:cNvCxnSpPr>
            <p:nvPr/>
          </p:nvCxnSpPr>
          <p:spPr>
            <a:xfrm>
              <a:off x="6224238" y="3088526"/>
              <a:ext cx="557345" cy="192763"/>
            </a:xfrm>
            <a:prstGeom prst="bentConnector2">
              <a:avLst/>
            </a:prstGeom>
            <a:ln w="254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46" name="Oval 245">
              <a:extLst>
                <a:ext uri="{FF2B5EF4-FFF2-40B4-BE49-F238E27FC236}">
                  <a16:creationId xmlns:a16="http://schemas.microsoft.com/office/drawing/2014/main" id="{13EDE501-1B7A-C1D6-C45A-457D175EE365}"/>
                </a:ext>
              </a:extLst>
            </p:cNvPr>
            <p:cNvSpPr/>
            <p:nvPr/>
          </p:nvSpPr>
          <p:spPr>
            <a:xfrm>
              <a:off x="6709583" y="3281289"/>
              <a:ext cx="144000" cy="144000"/>
            </a:xfrm>
            <a:prstGeom prst="ellipse">
              <a:avLst/>
            </a:prstGeom>
            <a:solidFill>
              <a:schemeClr val="accent5">
                <a:lumMod val="5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7" name="Oval 246">
              <a:extLst>
                <a:ext uri="{FF2B5EF4-FFF2-40B4-BE49-F238E27FC236}">
                  <a16:creationId xmlns:a16="http://schemas.microsoft.com/office/drawing/2014/main" id="{93E10E2F-BC8E-3668-E425-B967F32B8762}"/>
                </a:ext>
              </a:extLst>
            </p:cNvPr>
            <p:cNvSpPr/>
            <p:nvPr/>
          </p:nvSpPr>
          <p:spPr>
            <a:xfrm>
              <a:off x="7318749" y="3432027"/>
              <a:ext cx="144000" cy="144000"/>
            </a:xfrm>
            <a:prstGeom prst="ellipse">
              <a:avLst/>
            </a:prstGeom>
            <a:solidFill>
              <a:srgbClr val="00104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8" name="Oval 247">
              <a:extLst>
                <a:ext uri="{FF2B5EF4-FFF2-40B4-BE49-F238E27FC236}">
                  <a16:creationId xmlns:a16="http://schemas.microsoft.com/office/drawing/2014/main" id="{6740E832-ECAF-18E9-08D6-0D2D14EB53FB}"/>
                </a:ext>
              </a:extLst>
            </p:cNvPr>
            <p:cNvSpPr/>
            <p:nvPr/>
          </p:nvSpPr>
          <p:spPr>
            <a:xfrm>
              <a:off x="7128173" y="4028229"/>
              <a:ext cx="144000" cy="144000"/>
            </a:xfrm>
            <a:prstGeom prst="ellipse">
              <a:avLst/>
            </a:prstGeom>
            <a:solidFill>
              <a:schemeClr val="accent6">
                <a:lumMod val="5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9" name="Oval 248">
              <a:extLst>
                <a:ext uri="{FF2B5EF4-FFF2-40B4-BE49-F238E27FC236}">
                  <a16:creationId xmlns:a16="http://schemas.microsoft.com/office/drawing/2014/main" id="{67F37EF8-A4D4-B1AA-69D1-616B725CC257}"/>
                </a:ext>
              </a:extLst>
            </p:cNvPr>
            <p:cNvSpPr/>
            <p:nvPr/>
          </p:nvSpPr>
          <p:spPr>
            <a:xfrm>
              <a:off x="6534059" y="3880726"/>
              <a:ext cx="144000" cy="144000"/>
            </a:xfrm>
            <a:prstGeom prst="ellipse">
              <a:avLst/>
            </a:prstGeom>
            <a:solidFill>
              <a:schemeClr val="accent3">
                <a:lumMod val="5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250" name="Elbow Connector 82">
              <a:extLst>
                <a:ext uri="{FF2B5EF4-FFF2-40B4-BE49-F238E27FC236}">
                  <a16:creationId xmlns:a16="http://schemas.microsoft.com/office/drawing/2014/main" id="{44DA0CC3-FA31-6222-3DE3-692E9753FF82}"/>
                </a:ext>
              </a:extLst>
            </p:cNvPr>
            <p:cNvCxnSpPr>
              <a:cxnSpLocks/>
              <a:stCxn id="155" idx="1"/>
              <a:endCxn id="247" idx="6"/>
            </p:cNvCxnSpPr>
            <p:nvPr/>
          </p:nvCxnSpPr>
          <p:spPr>
            <a:xfrm rot="10800000" flipV="1">
              <a:off x="7462749" y="3150495"/>
              <a:ext cx="448614" cy="353532"/>
            </a:xfrm>
            <a:prstGeom prst="bentConnector3">
              <a:avLst>
                <a:gd name="adj1" fmla="val 50000"/>
              </a:avLst>
            </a:prstGeom>
            <a:ln w="25400">
              <a:solidFill>
                <a:srgbClr val="001965"/>
              </a:solidFill>
            </a:ln>
            <a:effectLst/>
          </p:spPr>
          <p:style>
            <a:lnRef idx="2">
              <a:schemeClr val="accent1"/>
            </a:lnRef>
            <a:fillRef idx="0">
              <a:schemeClr val="accent1"/>
            </a:fillRef>
            <a:effectRef idx="1">
              <a:schemeClr val="accent1"/>
            </a:effectRef>
            <a:fontRef idx="minor">
              <a:schemeClr val="tx1"/>
            </a:fontRef>
          </p:style>
        </p:cxnSp>
        <p:cxnSp>
          <p:nvCxnSpPr>
            <p:cNvPr id="251" name="Elbow Connector 82">
              <a:extLst>
                <a:ext uri="{FF2B5EF4-FFF2-40B4-BE49-F238E27FC236}">
                  <a16:creationId xmlns:a16="http://schemas.microsoft.com/office/drawing/2014/main" id="{81ED2AA1-DAC3-CB99-444A-CBC7A027AEBE}"/>
                </a:ext>
              </a:extLst>
            </p:cNvPr>
            <p:cNvCxnSpPr>
              <a:cxnSpLocks/>
              <a:stCxn id="169" idx="1"/>
              <a:endCxn id="248" idx="4"/>
            </p:cNvCxnSpPr>
            <p:nvPr/>
          </p:nvCxnSpPr>
          <p:spPr>
            <a:xfrm rot="10800000">
              <a:off x="7200174" y="4172230"/>
              <a:ext cx="700797" cy="94531"/>
            </a:xfrm>
            <a:prstGeom prst="bentConnector2">
              <a:avLst/>
            </a:prstGeom>
            <a:ln w="254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52" name="Elbow Connector 82">
              <a:extLst>
                <a:ext uri="{FF2B5EF4-FFF2-40B4-BE49-F238E27FC236}">
                  <a16:creationId xmlns:a16="http://schemas.microsoft.com/office/drawing/2014/main" id="{6B1EBE1E-DF20-7C91-D532-1C41A804FBA6}"/>
                </a:ext>
              </a:extLst>
            </p:cNvPr>
            <p:cNvCxnSpPr>
              <a:cxnSpLocks/>
              <a:endCxn id="249" idx="2"/>
            </p:cNvCxnSpPr>
            <p:nvPr/>
          </p:nvCxnSpPr>
          <p:spPr>
            <a:xfrm flipV="1">
              <a:off x="6201427" y="3952726"/>
              <a:ext cx="332632" cy="314034"/>
            </a:xfrm>
            <a:prstGeom prst="bentConnector3">
              <a:avLst>
                <a:gd name="adj1" fmla="val 50000"/>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16" name="Rectangle 215">
              <a:extLst>
                <a:ext uri="{FF2B5EF4-FFF2-40B4-BE49-F238E27FC236}">
                  <a16:creationId xmlns:a16="http://schemas.microsoft.com/office/drawing/2014/main" id="{152B8BDA-BBCF-4512-3533-4D7A5D004A82}"/>
                </a:ext>
              </a:extLst>
            </p:cNvPr>
            <p:cNvSpPr/>
            <p:nvPr/>
          </p:nvSpPr>
          <p:spPr>
            <a:xfrm>
              <a:off x="5153307" y="4604153"/>
              <a:ext cx="1298529" cy="315567"/>
            </a:xfrm>
            <a:prstGeom prst="rect">
              <a:avLst/>
            </a:prstGeom>
            <a:noFill/>
          </p:spPr>
          <p:txBody>
            <a:bodyPr wrap="square">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2A918B"/>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ther metabolic </a:t>
              </a:r>
              <a:br>
                <a:rPr kumimoji="0" lang="en-GB" sz="1067" b="1" i="0" u="none" strike="noStrike" kern="1200" cap="none" spc="0" normalizeH="0" baseline="0" noProof="0">
                  <a:ln>
                    <a:noFill/>
                  </a:ln>
                  <a:solidFill>
                    <a:srgbClr val="2A918B"/>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067" b="1" i="0" u="none" strike="noStrike" kern="1200" cap="none" spc="0" normalizeH="0" baseline="0" noProof="0">
                  <a:ln>
                    <a:noFill/>
                  </a:ln>
                  <a:solidFill>
                    <a:srgbClr val="2A918B"/>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mp; CV effects</a:t>
              </a:r>
              <a:endParaRPr kumimoji="0" lang="en-GB" sz="1067" b="0" i="0" u="none" strike="noStrike" kern="1200" cap="none" spc="0" normalizeH="0" baseline="0" noProof="0">
                <a:ln>
                  <a:noFill/>
                </a:ln>
                <a:solidFill>
                  <a:srgbClr val="2A918B"/>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2" name="Group 1">
              <a:extLst>
                <a:ext uri="{FF2B5EF4-FFF2-40B4-BE49-F238E27FC236}">
                  <a16:creationId xmlns:a16="http://schemas.microsoft.com/office/drawing/2014/main" id="{E9BA0A9F-54E7-FA95-49F0-8A678A79ABEE}"/>
                </a:ext>
              </a:extLst>
            </p:cNvPr>
            <p:cNvGrpSpPr/>
            <p:nvPr/>
          </p:nvGrpSpPr>
          <p:grpSpPr>
            <a:xfrm>
              <a:off x="5409722" y="3917763"/>
              <a:ext cx="791705" cy="697994"/>
              <a:chOff x="5409722" y="3917763"/>
              <a:chExt cx="791705" cy="697994"/>
            </a:xfrm>
          </p:grpSpPr>
          <p:sp>
            <p:nvSpPr>
              <p:cNvPr id="218" name="Rectangle: Rounded Corners 217">
                <a:extLst>
                  <a:ext uri="{FF2B5EF4-FFF2-40B4-BE49-F238E27FC236}">
                    <a16:creationId xmlns:a16="http://schemas.microsoft.com/office/drawing/2014/main" id="{7032B46A-5C5B-5739-532C-B982E908F9BC}"/>
                  </a:ext>
                </a:extLst>
              </p:cNvPr>
              <p:cNvSpPr/>
              <p:nvPr/>
            </p:nvSpPr>
            <p:spPr>
              <a:xfrm>
                <a:off x="5409722" y="3917763"/>
                <a:ext cx="791705" cy="697994"/>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290" name="Group 289">
                <a:extLst>
                  <a:ext uri="{FF2B5EF4-FFF2-40B4-BE49-F238E27FC236}">
                    <a16:creationId xmlns:a16="http://schemas.microsoft.com/office/drawing/2014/main" id="{9B70CEA1-3159-F074-0EAC-D1771940C6FD}"/>
                  </a:ext>
                </a:extLst>
              </p:cNvPr>
              <p:cNvGrpSpPr/>
              <p:nvPr/>
            </p:nvGrpSpPr>
            <p:grpSpPr>
              <a:xfrm>
                <a:off x="5730183" y="4178344"/>
                <a:ext cx="418813" cy="394434"/>
                <a:chOff x="3064728" y="1078246"/>
                <a:chExt cx="357622" cy="337777"/>
              </a:xfrm>
            </p:grpSpPr>
            <p:sp>
              <p:nvSpPr>
                <p:cNvPr id="308" name="Freeform: Shape 307">
                  <a:extLst>
                    <a:ext uri="{FF2B5EF4-FFF2-40B4-BE49-F238E27FC236}">
                      <a16:creationId xmlns:a16="http://schemas.microsoft.com/office/drawing/2014/main" id="{8274758D-3CA0-ECBE-14E3-131ED06DE0F2}"/>
                    </a:ext>
                  </a:extLst>
                </p:cNvPr>
                <p:cNvSpPr/>
                <p:nvPr/>
              </p:nvSpPr>
              <p:spPr>
                <a:xfrm>
                  <a:off x="3107500" y="1078275"/>
                  <a:ext cx="314850" cy="337748"/>
                </a:xfrm>
                <a:custGeom>
                  <a:avLst/>
                  <a:gdLst>
                    <a:gd name="connsiteX0" fmla="*/ 26 w 419799"/>
                    <a:gd name="connsiteY0" fmla="*/ 436630 h 450330"/>
                    <a:gd name="connsiteX1" fmla="*/ 1514 w 419799"/>
                    <a:gd name="connsiteY1" fmla="*/ 376675 h 450330"/>
                    <a:gd name="connsiteX2" fmla="*/ 29221 w 419799"/>
                    <a:gd name="connsiteY2" fmla="*/ 368393 h 450330"/>
                    <a:gd name="connsiteX3" fmla="*/ 47425 w 419799"/>
                    <a:gd name="connsiteY3" fmla="*/ 389154 h 450330"/>
                    <a:gd name="connsiteX4" fmla="*/ 289535 w 419799"/>
                    <a:gd name="connsiteY4" fmla="*/ 427013 h 450330"/>
                    <a:gd name="connsiteX5" fmla="*/ 417841 w 419799"/>
                    <a:gd name="connsiteY5" fmla="*/ 234248 h 450330"/>
                    <a:gd name="connsiteX6" fmla="*/ 359527 w 419799"/>
                    <a:gd name="connsiteY6" fmla="*/ 52857 h 450330"/>
                    <a:gd name="connsiteX7" fmla="*/ 310448 w 419799"/>
                    <a:gd name="connsiteY7" fmla="*/ 39919 h 450330"/>
                    <a:gd name="connsiteX8" fmla="*/ 260149 w 419799"/>
                    <a:gd name="connsiteY8" fmla="*/ 79609 h 450330"/>
                    <a:gd name="connsiteX9" fmla="*/ 230343 w 419799"/>
                    <a:gd name="connsiteY9" fmla="*/ 82166 h 450330"/>
                    <a:gd name="connsiteX10" fmla="*/ 214009 w 419799"/>
                    <a:gd name="connsiteY10" fmla="*/ 6717 h 450330"/>
                    <a:gd name="connsiteX11" fmla="*/ 214009 w 419799"/>
                    <a:gd name="connsiteY11" fmla="*/ 0 h 45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799" h="450330">
                      <a:moveTo>
                        <a:pt x="26" y="436630"/>
                      </a:moveTo>
                      <a:cubicBezTo>
                        <a:pt x="26" y="419800"/>
                        <a:pt x="-318" y="395451"/>
                        <a:pt x="1514" y="376675"/>
                      </a:cubicBezTo>
                      <a:cubicBezTo>
                        <a:pt x="2850" y="362745"/>
                        <a:pt x="20519" y="357479"/>
                        <a:pt x="29221" y="368393"/>
                      </a:cubicBezTo>
                      <a:cubicBezTo>
                        <a:pt x="35212" y="375912"/>
                        <a:pt x="41319" y="382819"/>
                        <a:pt x="47425" y="389154"/>
                      </a:cubicBezTo>
                      <a:cubicBezTo>
                        <a:pt x="110509" y="454910"/>
                        <a:pt x="210269" y="471969"/>
                        <a:pt x="289535" y="427013"/>
                      </a:cubicBezTo>
                      <a:cubicBezTo>
                        <a:pt x="395172" y="367058"/>
                        <a:pt x="417841" y="234248"/>
                        <a:pt x="417841" y="234248"/>
                      </a:cubicBezTo>
                      <a:cubicBezTo>
                        <a:pt x="438907" y="128192"/>
                        <a:pt x="389256" y="71519"/>
                        <a:pt x="359527" y="52857"/>
                      </a:cubicBezTo>
                      <a:cubicBezTo>
                        <a:pt x="344910" y="43697"/>
                        <a:pt x="327698" y="39041"/>
                        <a:pt x="310448" y="39919"/>
                      </a:cubicBezTo>
                      <a:cubicBezTo>
                        <a:pt x="278887" y="41522"/>
                        <a:pt x="265606" y="60947"/>
                        <a:pt x="260149" y="79609"/>
                      </a:cubicBezTo>
                      <a:cubicBezTo>
                        <a:pt x="256027" y="93730"/>
                        <a:pt x="236716" y="95447"/>
                        <a:pt x="230343" y="82166"/>
                      </a:cubicBezTo>
                      <a:cubicBezTo>
                        <a:pt x="220039" y="60604"/>
                        <a:pt x="214009" y="34958"/>
                        <a:pt x="214009" y="6717"/>
                      </a:cubicBezTo>
                      <a:lnTo>
                        <a:pt x="214009" y="0"/>
                      </a:ln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09" name="Freeform: Shape 308">
                  <a:extLst>
                    <a:ext uri="{FF2B5EF4-FFF2-40B4-BE49-F238E27FC236}">
                      <a16:creationId xmlns:a16="http://schemas.microsoft.com/office/drawing/2014/main" id="{0A4A7AA8-7308-47F6-0420-B8221A151AB4}"/>
                    </a:ext>
                  </a:extLst>
                </p:cNvPr>
                <p:cNvSpPr/>
                <p:nvPr/>
              </p:nvSpPr>
              <p:spPr>
                <a:xfrm>
                  <a:off x="3133423" y="1078246"/>
                  <a:ext cx="131665" cy="237569"/>
                </a:xfrm>
                <a:custGeom>
                  <a:avLst/>
                  <a:gdLst>
                    <a:gd name="connsiteX0" fmla="*/ 0 w 175552"/>
                    <a:gd name="connsiteY0" fmla="*/ 217304 h 316757"/>
                    <a:gd name="connsiteX1" fmla="*/ 0 w 175552"/>
                    <a:gd name="connsiteY1" fmla="*/ 274015 h 316757"/>
                    <a:gd name="connsiteX2" fmla="*/ 14120 w 175552"/>
                    <a:gd name="connsiteY2" fmla="*/ 296837 h 316757"/>
                    <a:gd name="connsiteX3" fmla="*/ 61520 w 175552"/>
                    <a:gd name="connsiteY3" fmla="*/ 315346 h 316757"/>
                    <a:gd name="connsiteX4" fmla="*/ 176354 w 175552"/>
                    <a:gd name="connsiteY4" fmla="*/ 239706 h 316757"/>
                    <a:gd name="connsiteX5" fmla="*/ 159142 w 175552"/>
                    <a:gd name="connsiteY5" fmla="*/ 161203 h 316757"/>
                    <a:gd name="connsiteX6" fmla="*/ 120788 w 175552"/>
                    <a:gd name="connsiteY6" fmla="*/ 24959 h 316757"/>
                    <a:gd name="connsiteX7" fmla="*/ 120788 w 175552"/>
                    <a:gd name="connsiteY7" fmla="*/ 0 h 31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552" h="316757">
                      <a:moveTo>
                        <a:pt x="0" y="217304"/>
                      </a:moveTo>
                      <a:lnTo>
                        <a:pt x="0" y="274015"/>
                      </a:lnTo>
                      <a:cubicBezTo>
                        <a:pt x="0" y="283670"/>
                        <a:pt x="5496" y="292448"/>
                        <a:pt x="14120" y="296837"/>
                      </a:cubicBezTo>
                      <a:cubicBezTo>
                        <a:pt x="31141" y="305500"/>
                        <a:pt x="47361" y="311720"/>
                        <a:pt x="61520" y="315346"/>
                      </a:cubicBezTo>
                      <a:cubicBezTo>
                        <a:pt x="120673" y="330573"/>
                        <a:pt x="170706" y="295234"/>
                        <a:pt x="176354" y="239706"/>
                      </a:cubicBezTo>
                      <a:cubicBezTo>
                        <a:pt x="180590" y="198260"/>
                        <a:pt x="159142" y="161203"/>
                        <a:pt x="159142" y="161203"/>
                      </a:cubicBezTo>
                      <a:cubicBezTo>
                        <a:pt x="122047" y="91898"/>
                        <a:pt x="120788" y="24959"/>
                        <a:pt x="120788" y="24959"/>
                      </a:cubicBezTo>
                      <a:lnTo>
                        <a:pt x="120788" y="0"/>
                      </a:ln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0" name="Freeform: Shape 309">
                  <a:extLst>
                    <a:ext uri="{FF2B5EF4-FFF2-40B4-BE49-F238E27FC236}">
                      <a16:creationId xmlns:a16="http://schemas.microsoft.com/office/drawing/2014/main" id="{4AC10821-6005-F40C-D30F-9A517781DD55}"/>
                    </a:ext>
                  </a:extLst>
                </p:cNvPr>
                <p:cNvSpPr/>
                <p:nvPr/>
              </p:nvSpPr>
              <p:spPr>
                <a:xfrm>
                  <a:off x="3064728" y="1241224"/>
                  <a:ext cx="31485" cy="163150"/>
                </a:xfrm>
                <a:custGeom>
                  <a:avLst/>
                  <a:gdLst>
                    <a:gd name="connsiteX0" fmla="*/ 0 w 41979"/>
                    <a:gd name="connsiteY0" fmla="*/ 219364 h 217532"/>
                    <a:gd name="connsiteX1" fmla="*/ 0 w 41979"/>
                    <a:gd name="connsiteY1" fmla="*/ 147083 h 217532"/>
                    <a:gd name="connsiteX2" fmla="*/ 34500 w 41979"/>
                    <a:gd name="connsiteY2" fmla="*/ 82281 h 217532"/>
                    <a:gd name="connsiteX3" fmla="*/ 45567 w 41979"/>
                    <a:gd name="connsiteY3" fmla="*/ 60871 h 217532"/>
                    <a:gd name="connsiteX4" fmla="*/ 45567 w 41979"/>
                    <a:gd name="connsiteY4" fmla="*/ 0 h 2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9" h="217532">
                      <a:moveTo>
                        <a:pt x="0" y="219364"/>
                      </a:moveTo>
                      <a:lnTo>
                        <a:pt x="0" y="147083"/>
                      </a:lnTo>
                      <a:cubicBezTo>
                        <a:pt x="0" y="112926"/>
                        <a:pt x="21028" y="92127"/>
                        <a:pt x="34500" y="82281"/>
                      </a:cubicBezTo>
                      <a:cubicBezTo>
                        <a:pt x="41369" y="77281"/>
                        <a:pt x="45567" y="69381"/>
                        <a:pt x="45567" y="60871"/>
                      </a:cubicBezTo>
                      <a:lnTo>
                        <a:pt x="45567" y="0"/>
                      </a:ln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1" name="Freeform: Shape 310">
                  <a:extLst>
                    <a:ext uri="{FF2B5EF4-FFF2-40B4-BE49-F238E27FC236}">
                      <a16:creationId xmlns:a16="http://schemas.microsoft.com/office/drawing/2014/main" id="{2A28595F-719F-B5F4-CA76-6A3750550C8E}"/>
                    </a:ext>
                  </a:extLst>
                </p:cNvPr>
                <p:cNvSpPr/>
                <p:nvPr/>
              </p:nvSpPr>
              <p:spPr>
                <a:xfrm>
                  <a:off x="3319614" y="1125073"/>
                  <a:ext cx="85868" cy="183185"/>
                </a:xfrm>
                <a:custGeom>
                  <a:avLst/>
                  <a:gdLst>
                    <a:gd name="connsiteX0" fmla="*/ 85105 w 114490"/>
                    <a:gd name="connsiteY0" fmla="*/ 245888 h 244247"/>
                    <a:gd name="connsiteX1" fmla="*/ 112697 w 114490"/>
                    <a:gd name="connsiteY1" fmla="*/ 167996 h 244247"/>
                    <a:gd name="connsiteX2" fmla="*/ 112735 w 114490"/>
                    <a:gd name="connsiteY2" fmla="*/ 167729 h 244247"/>
                    <a:gd name="connsiteX3" fmla="*/ 112812 w 114490"/>
                    <a:gd name="connsiteY3" fmla="*/ 167424 h 244247"/>
                    <a:gd name="connsiteX4" fmla="*/ 64687 w 114490"/>
                    <a:gd name="connsiteY4" fmla="*/ 9617 h 244247"/>
                    <a:gd name="connsiteX5" fmla="*/ 31714 w 114490"/>
                    <a:gd name="connsiteY5" fmla="*/ 0 h 244247"/>
                    <a:gd name="connsiteX6" fmla="*/ 28775 w 114490"/>
                    <a:gd name="connsiteY6" fmla="*/ 76 h 244247"/>
                    <a:gd name="connsiteX7" fmla="*/ 0 w 114490"/>
                    <a:gd name="connsiteY7" fmla="*/ 20837 h 244247"/>
                    <a:gd name="connsiteX8" fmla="*/ 85105 w 114490"/>
                    <a:gd name="connsiteY8" fmla="*/ 245888 h 244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490" h="244247">
                      <a:moveTo>
                        <a:pt x="85105" y="245888"/>
                      </a:moveTo>
                      <a:cubicBezTo>
                        <a:pt x="106018" y="204557"/>
                        <a:pt x="112582" y="168683"/>
                        <a:pt x="112697" y="167996"/>
                      </a:cubicBezTo>
                      <a:lnTo>
                        <a:pt x="112735" y="167729"/>
                      </a:lnTo>
                      <a:lnTo>
                        <a:pt x="112812" y="167424"/>
                      </a:lnTo>
                      <a:cubicBezTo>
                        <a:pt x="134717" y="57131"/>
                        <a:pt x="71900" y="14120"/>
                        <a:pt x="64687" y="9617"/>
                      </a:cubicBezTo>
                      <a:cubicBezTo>
                        <a:pt x="54765" y="3397"/>
                        <a:pt x="43125" y="0"/>
                        <a:pt x="31714" y="0"/>
                      </a:cubicBezTo>
                      <a:cubicBezTo>
                        <a:pt x="30722" y="0"/>
                        <a:pt x="29768" y="38"/>
                        <a:pt x="28775" y="76"/>
                      </a:cubicBezTo>
                      <a:cubicBezTo>
                        <a:pt x="13472" y="840"/>
                        <a:pt x="4770" y="7175"/>
                        <a:pt x="0" y="20837"/>
                      </a:cubicBezTo>
                      <a:cubicBezTo>
                        <a:pt x="49994" y="45987"/>
                        <a:pt x="92890" y="109529"/>
                        <a:pt x="85105" y="245888"/>
                      </a:cubicBezTo>
                      <a:close/>
                    </a:path>
                  </a:pathLst>
                </a:custGeom>
                <a:solidFill>
                  <a:schemeClr val="accent3">
                    <a:lumMod val="60000"/>
                    <a:lumOff val="40000"/>
                  </a:schemeClr>
                </a:solidFill>
                <a:ln w="38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313" name="Group 312">
                <a:extLst>
                  <a:ext uri="{FF2B5EF4-FFF2-40B4-BE49-F238E27FC236}">
                    <a16:creationId xmlns:a16="http://schemas.microsoft.com/office/drawing/2014/main" id="{358F46E0-3B80-7498-790A-134BE96715AC}"/>
                  </a:ext>
                </a:extLst>
              </p:cNvPr>
              <p:cNvGrpSpPr/>
              <p:nvPr/>
            </p:nvGrpSpPr>
            <p:grpSpPr>
              <a:xfrm>
                <a:off x="5471750" y="3956366"/>
                <a:ext cx="301206" cy="411973"/>
                <a:chOff x="950880" y="1066768"/>
                <a:chExt cx="237907" cy="362536"/>
              </a:xfrm>
            </p:grpSpPr>
            <p:sp>
              <p:nvSpPr>
                <p:cNvPr id="314" name="Freeform: Shape 313">
                  <a:extLst>
                    <a:ext uri="{FF2B5EF4-FFF2-40B4-BE49-F238E27FC236}">
                      <a16:creationId xmlns:a16="http://schemas.microsoft.com/office/drawing/2014/main" id="{CD7C297E-3BDA-AEC2-27EA-8F8D3DCF3929}"/>
                    </a:ext>
                  </a:extLst>
                </p:cNvPr>
                <p:cNvSpPr/>
                <p:nvPr/>
              </p:nvSpPr>
              <p:spPr>
                <a:xfrm>
                  <a:off x="1079944" y="1135892"/>
                  <a:ext cx="103042" cy="2862"/>
                </a:xfrm>
                <a:custGeom>
                  <a:avLst/>
                  <a:gdLst>
                    <a:gd name="connsiteX0" fmla="*/ 0 w 137388"/>
                    <a:gd name="connsiteY0" fmla="*/ 2481 h 3816"/>
                    <a:gd name="connsiteX1" fmla="*/ 119147 w 137388"/>
                    <a:gd name="connsiteY1" fmla="*/ 2481 h 3816"/>
                    <a:gd name="connsiteX2" fmla="*/ 140251 w 137388"/>
                    <a:gd name="connsiteY2" fmla="*/ 0 h 3816"/>
                  </a:gdLst>
                  <a:ahLst/>
                  <a:cxnLst>
                    <a:cxn ang="0">
                      <a:pos x="connsiteX0" y="connsiteY0"/>
                    </a:cxn>
                    <a:cxn ang="0">
                      <a:pos x="connsiteX1" y="connsiteY1"/>
                    </a:cxn>
                    <a:cxn ang="0">
                      <a:pos x="connsiteX2" y="connsiteY2"/>
                    </a:cxn>
                  </a:cxnLst>
                  <a:rect l="l" t="t" r="r" b="b"/>
                  <a:pathLst>
                    <a:path w="137388" h="3816">
                      <a:moveTo>
                        <a:pt x="0" y="2481"/>
                      </a:moveTo>
                      <a:cubicBezTo>
                        <a:pt x="0" y="2481"/>
                        <a:pt x="49498" y="10152"/>
                        <a:pt x="119147" y="2481"/>
                      </a:cubicBezTo>
                      <a:cubicBezTo>
                        <a:pt x="119147" y="2481"/>
                        <a:pt x="127008" y="1679"/>
                        <a:pt x="140251" y="0"/>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5" name="Freeform: Shape 314">
                  <a:extLst>
                    <a:ext uri="{FF2B5EF4-FFF2-40B4-BE49-F238E27FC236}">
                      <a16:creationId xmlns:a16="http://schemas.microsoft.com/office/drawing/2014/main" id="{1D52F633-4E97-5923-5BFB-7386B2259376}"/>
                    </a:ext>
                  </a:extLst>
                </p:cNvPr>
                <p:cNvSpPr/>
                <p:nvPr/>
              </p:nvSpPr>
              <p:spPr>
                <a:xfrm>
                  <a:off x="1034213" y="1066768"/>
                  <a:ext cx="31485" cy="140252"/>
                </a:xfrm>
                <a:custGeom>
                  <a:avLst/>
                  <a:gdLst>
                    <a:gd name="connsiteX0" fmla="*/ 3157 w 41979"/>
                    <a:gd name="connsiteY0" fmla="*/ 190017 h 187001"/>
                    <a:gd name="connsiteX1" fmla="*/ 42618 w 41979"/>
                    <a:gd name="connsiteY1" fmla="*/ 32668 h 187001"/>
                    <a:gd name="connsiteX2" fmla="*/ 42618 w 41979"/>
                    <a:gd name="connsiteY2" fmla="*/ 0 h 187001"/>
                  </a:gdLst>
                  <a:ahLst/>
                  <a:cxnLst>
                    <a:cxn ang="0">
                      <a:pos x="connsiteX0" y="connsiteY0"/>
                    </a:cxn>
                    <a:cxn ang="0">
                      <a:pos x="connsiteX1" y="connsiteY1"/>
                    </a:cxn>
                    <a:cxn ang="0">
                      <a:pos x="connsiteX2" y="connsiteY2"/>
                    </a:cxn>
                  </a:cxnLst>
                  <a:rect l="l" t="t" r="r" b="b"/>
                  <a:pathLst>
                    <a:path w="41979" h="187001">
                      <a:moveTo>
                        <a:pt x="3157" y="190017"/>
                      </a:moveTo>
                      <a:cubicBezTo>
                        <a:pt x="3157" y="190017"/>
                        <a:pt x="-16574" y="84685"/>
                        <a:pt x="42618" y="32668"/>
                      </a:cubicBezTo>
                      <a:lnTo>
                        <a:pt x="42618" y="0"/>
                      </a:ln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6" name="Freeform: Shape 315">
                  <a:extLst>
                    <a:ext uri="{FF2B5EF4-FFF2-40B4-BE49-F238E27FC236}">
                      <a16:creationId xmlns:a16="http://schemas.microsoft.com/office/drawing/2014/main" id="{9C8C583C-6601-5C75-C8CF-43C6C5B0C33F}"/>
                    </a:ext>
                  </a:extLst>
                </p:cNvPr>
                <p:cNvSpPr/>
                <p:nvPr/>
              </p:nvSpPr>
              <p:spPr>
                <a:xfrm>
                  <a:off x="1093854" y="1066769"/>
                  <a:ext cx="34347" cy="71557"/>
                </a:xfrm>
                <a:custGeom>
                  <a:avLst/>
                  <a:gdLst>
                    <a:gd name="connsiteX0" fmla="*/ 0 w 45796"/>
                    <a:gd name="connsiteY0" fmla="*/ 0 h 95409"/>
                    <a:gd name="connsiteX1" fmla="*/ 0 w 45796"/>
                    <a:gd name="connsiteY1" fmla="*/ 29424 h 95409"/>
                    <a:gd name="connsiteX2" fmla="*/ 47285 w 45796"/>
                    <a:gd name="connsiteY2" fmla="*/ 98042 h 95409"/>
                  </a:gdLst>
                  <a:ahLst/>
                  <a:cxnLst>
                    <a:cxn ang="0">
                      <a:pos x="connsiteX0" y="connsiteY0"/>
                    </a:cxn>
                    <a:cxn ang="0">
                      <a:pos x="connsiteX1" y="connsiteY1"/>
                    </a:cxn>
                    <a:cxn ang="0">
                      <a:pos x="connsiteX2" y="connsiteY2"/>
                    </a:cxn>
                  </a:cxnLst>
                  <a:rect l="l" t="t" r="r" b="b"/>
                  <a:pathLst>
                    <a:path w="45796" h="95409">
                      <a:moveTo>
                        <a:pt x="0" y="0"/>
                      </a:moveTo>
                      <a:lnTo>
                        <a:pt x="0" y="29424"/>
                      </a:lnTo>
                      <a:cubicBezTo>
                        <a:pt x="0" y="29424"/>
                        <a:pt x="47285" y="35721"/>
                        <a:pt x="47285" y="98042"/>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7" name="Freeform: Shape 316">
                  <a:extLst>
                    <a:ext uri="{FF2B5EF4-FFF2-40B4-BE49-F238E27FC236}">
                      <a16:creationId xmlns:a16="http://schemas.microsoft.com/office/drawing/2014/main" id="{A9DD096B-6B5B-B35D-AEB6-2E5C4AB84ABB}"/>
                    </a:ext>
                  </a:extLst>
                </p:cNvPr>
                <p:cNvSpPr/>
                <p:nvPr/>
              </p:nvSpPr>
              <p:spPr>
                <a:xfrm>
                  <a:off x="988428" y="1120179"/>
                  <a:ext cx="200359" cy="309125"/>
                </a:xfrm>
                <a:custGeom>
                  <a:avLst/>
                  <a:gdLst>
                    <a:gd name="connsiteX0" fmla="*/ 262273 w 267145"/>
                    <a:gd name="connsiteY0" fmla="*/ 64039 h 412166"/>
                    <a:gd name="connsiteX1" fmla="*/ 240748 w 267145"/>
                    <a:gd name="connsiteY1" fmla="*/ 66748 h 412166"/>
                    <a:gd name="connsiteX2" fmla="*/ 182930 w 267145"/>
                    <a:gd name="connsiteY2" fmla="*/ 70565 h 412166"/>
                    <a:gd name="connsiteX3" fmla="*/ 192700 w 267145"/>
                    <a:gd name="connsiteY3" fmla="*/ 136359 h 412166"/>
                    <a:gd name="connsiteX4" fmla="*/ 193006 w 267145"/>
                    <a:gd name="connsiteY4" fmla="*/ 136664 h 412166"/>
                    <a:gd name="connsiteX5" fmla="*/ 193006 w 267145"/>
                    <a:gd name="connsiteY5" fmla="*/ 136664 h 412166"/>
                    <a:gd name="connsiteX6" fmla="*/ 260364 w 267145"/>
                    <a:gd name="connsiteY6" fmla="*/ 210434 h 412166"/>
                    <a:gd name="connsiteX7" fmla="*/ 266814 w 267145"/>
                    <a:gd name="connsiteY7" fmla="*/ 296989 h 412166"/>
                    <a:gd name="connsiteX8" fmla="*/ 250556 w 267145"/>
                    <a:gd name="connsiteY8" fmla="*/ 361409 h 412166"/>
                    <a:gd name="connsiteX9" fmla="*/ 235825 w 267145"/>
                    <a:gd name="connsiteY9" fmla="*/ 390185 h 412166"/>
                    <a:gd name="connsiteX10" fmla="*/ 183770 w 267145"/>
                    <a:gd name="connsiteY10" fmla="*/ 412701 h 412166"/>
                    <a:gd name="connsiteX11" fmla="*/ 51991 w 267145"/>
                    <a:gd name="connsiteY11" fmla="*/ 337175 h 412166"/>
                    <a:gd name="connsiteX12" fmla="*/ 14781 w 267145"/>
                    <a:gd name="connsiteY12" fmla="*/ 288784 h 412166"/>
                    <a:gd name="connsiteX13" fmla="*/ 38977 w 267145"/>
                    <a:gd name="connsiteY13" fmla="*/ 141549 h 412166"/>
                    <a:gd name="connsiteX14" fmla="*/ 55922 w 267145"/>
                    <a:gd name="connsiteY14" fmla="*/ 125596 h 412166"/>
                    <a:gd name="connsiteX15" fmla="*/ 126372 w 267145"/>
                    <a:gd name="connsiteY15" fmla="*/ 106782 h 412166"/>
                    <a:gd name="connsiteX16" fmla="*/ 126792 w 267145"/>
                    <a:gd name="connsiteY16" fmla="*/ 106896 h 412166"/>
                    <a:gd name="connsiteX17" fmla="*/ 140073 w 267145"/>
                    <a:gd name="connsiteY17" fmla="*/ 67779 h 412166"/>
                    <a:gd name="connsiteX18" fmla="*/ 130532 w 267145"/>
                    <a:gd name="connsiteY18" fmla="*/ 66481 h 412166"/>
                    <a:gd name="connsiteX19" fmla="*/ 113358 w 267145"/>
                    <a:gd name="connsiteY19" fmla="*/ 43583 h 412166"/>
                    <a:gd name="connsiteX20" fmla="*/ 131219 w 267145"/>
                    <a:gd name="connsiteY20" fmla="*/ 0 h 41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7145" h="412166">
                      <a:moveTo>
                        <a:pt x="262273" y="64039"/>
                      </a:moveTo>
                      <a:cubicBezTo>
                        <a:pt x="249717" y="65718"/>
                        <a:pt x="240748" y="66748"/>
                        <a:pt x="240748" y="66748"/>
                      </a:cubicBezTo>
                      <a:cubicBezTo>
                        <a:pt x="207928" y="69649"/>
                        <a:pt x="182930" y="70565"/>
                        <a:pt x="182930" y="70565"/>
                      </a:cubicBezTo>
                      <a:cubicBezTo>
                        <a:pt x="182625" y="109835"/>
                        <a:pt x="191746" y="133878"/>
                        <a:pt x="192700" y="136359"/>
                      </a:cubicBezTo>
                      <a:cubicBezTo>
                        <a:pt x="192777" y="136511"/>
                        <a:pt x="192853" y="136588"/>
                        <a:pt x="193006" y="136664"/>
                      </a:cubicBezTo>
                      <a:lnTo>
                        <a:pt x="193006" y="136664"/>
                      </a:lnTo>
                      <a:cubicBezTo>
                        <a:pt x="225330" y="150288"/>
                        <a:pt x="250060" y="177346"/>
                        <a:pt x="260364" y="210434"/>
                      </a:cubicBezTo>
                      <a:cubicBezTo>
                        <a:pt x="260364" y="210434"/>
                        <a:pt x="270898" y="248522"/>
                        <a:pt x="266814" y="296989"/>
                      </a:cubicBezTo>
                      <a:cubicBezTo>
                        <a:pt x="264944" y="319124"/>
                        <a:pt x="259029" y="340801"/>
                        <a:pt x="250556" y="361409"/>
                      </a:cubicBezTo>
                      <a:cubicBezTo>
                        <a:pt x="245595" y="373469"/>
                        <a:pt x="240519" y="382896"/>
                        <a:pt x="235825" y="390185"/>
                      </a:cubicBezTo>
                      <a:cubicBezTo>
                        <a:pt x="224605" y="407587"/>
                        <a:pt x="204111" y="416327"/>
                        <a:pt x="183770" y="412701"/>
                      </a:cubicBezTo>
                      <a:cubicBezTo>
                        <a:pt x="117823" y="400985"/>
                        <a:pt x="51991" y="337175"/>
                        <a:pt x="51991" y="337175"/>
                      </a:cubicBezTo>
                      <a:cubicBezTo>
                        <a:pt x="35275" y="320345"/>
                        <a:pt x="23254" y="304126"/>
                        <a:pt x="14781" y="288784"/>
                      </a:cubicBezTo>
                      <a:cubicBezTo>
                        <a:pt x="-12048" y="240278"/>
                        <a:pt x="-1400" y="179560"/>
                        <a:pt x="38977" y="141549"/>
                      </a:cubicBezTo>
                      <a:lnTo>
                        <a:pt x="55922" y="125596"/>
                      </a:lnTo>
                      <a:cubicBezTo>
                        <a:pt x="74737" y="107889"/>
                        <a:pt x="101222" y="100714"/>
                        <a:pt x="126372" y="106782"/>
                      </a:cubicBezTo>
                      <a:cubicBezTo>
                        <a:pt x="126677" y="106858"/>
                        <a:pt x="126792" y="106896"/>
                        <a:pt x="126792" y="106896"/>
                      </a:cubicBezTo>
                      <a:cubicBezTo>
                        <a:pt x="138355" y="87509"/>
                        <a:pt x="140073" y="67779"/>
                        <a:pt x="140073" y="67779"/>
                      </a:cubicBezTo>
                      <a:cubicBezTo>
                        <a:pt x="140073" y="67779"/>
                        <a:pt x="135989" y="67321"/>
                        <a:pt x="130532" y="66481"/>
                      </a:cubicBezTo>
                      <a:cubicBezTo>
                        <a:pt x="119579" y="64764"/>
                        <a:pt x="111832" y="54574"/>
                        <a:pt x="113358" y="43583"/>
                      </a:cubicBezTo>
                      <a:cubicBezTo>
                        <a:pt x="116793" y="18853"/>
                        <a:pt x="131219" y="0"/>
                        <a:pt x="131219" y="0"/>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8" name="Freeform: Shape 317">
                  <a:extLst>
                    <a:ext uri="{FF2B5EF4-FFF2-40B4-BE49-F238E27FC236}">
                      <a16:creationId xmlns:a16="http://schemas.microsoft.com/office/drawing/2014/main" id="{AD53FB89-356F-43DD-BA9E-04B743AF6EBE}"/>
                    </a:ext>
                  </a:extLst>
                </p:cNvPr>
                <p:cNvSpPr/>
                <p:nvPr/>
              </p:nvSpPr>
              <p:spPr>
                <a:xfrm>
                  <a:off x="950880" y="1108759"/>
                  <a:ext cx="37210" cy="183185"/>
                </a:xfrm>
                <a:custGeom>
                  <a:avLst/>
                  <a:gdLst>
                    <a:gd name="connsiteX0" fmla="*/ 50075 w 49612"/>
                    <a:gd name="connsiteY0" fmla="*/ 247109 h 244247"/>
                    <a:gd name="connsiteX1" fmla="*/ 18323 w 49612"/>
                    <a:gd name="connsiteY1" fmla="*/ 101210 h 244247"/>
                    <a:gd name="connsiteX2" fmla="*/ 26834 w 49612"/>
                    <a:gd name="connsiteY2" fmla="*/ 89227 h 244247"/>
                    <a:gd name="connsiteX3" fmla="*/ 46793 w 49612"/>
                    <a:gd name="connsiteY3" fmla="*/ 0 h 244247"/>
                  </a:gdLst>
                  <a:ahLst/>
                  <a:cxnLst>
                    <a:cxn ang="0">
                      <a:pos x="connsiteX0" y="connsiteY0"/>
                    </a:cxn>
                    <a:cxn ang="0">
                      <a:pos x="connsiteX1" y="connsiteY1"/>
                    </a:cxn>
                    <a:cxn ang="0">
                      <a:pos x="connsiteX2" y="connsiteY2"/>
                    </a:cxn>
                    <a:cxn ang="0">
                      <a:pos x="connsiteX3" y="connsiteY3"/>
                    </a:cxn>
                  </a:cxnLst>
                  <a:rect l="l" t="t" r="r" b="b"/>
                  <a:pathLst>
                    <a:path w="49612" h="244247">
                      <a:moveTo>
                        <a:pt x="50075" y="247109"/>
                      </a:moveTo>
                      <a:cubicBezTo>
                        <a:pt x="-30297" y="175514"/>
                        <a:pt x="7599" y="115178"/>
                        <a:pt x="18323" y="101210"/>
                      </a:cubicBezTo>
                      <a:cubicBezTo>
                        <a:pt x="21300" y="97317"/>
                        <a:pt x="24277" y="93386"/>
                        <a:pt x="26834" y="89227"/>
                      </a:cubicBezTo>
                      <a:cubicBezTo>
                        <a:pt x="54159" y="44384"/>
                        <a:pt x="46793" y="0"/>
                        <a:pt x="46793" y="0"/>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9" name="Freeform: Shape 318">
                  <a:extLst>
                    <a:ext uri="{FF2B5EF4-FFF2-40B4-BE49-F238E27FC236}">
                      <a16:creationId xmlns:a16="http://schemas.microsoft.com/office/drawing/2014/main" id="{5C9875D5-7B8A-7056-AA8F-2D72A877816C}"/>
                    </a:ext>
                  </a:extLst>
                </p:cNvPr>
                <p:cNvSpPr/>
                <p:nvPr/>
              </p:nvSpPr>
              <p:spPr>
                <a:xfrm>
                  <a:off x="1016701" y="1108729"/>
                  <a:ext cx="17174" cy="48659"/>
                </a:xfrm>
                <a:custGeom>
                  <a:avLst/>
                  <a:gdLst>
                    <a:gd name="connsiteX0" fmla="*/ 936 w 22898"/>
                    <a:gd name="connsiteY0" fmla="*/ 0 h 64878"/>
                    <a:gd name="connsiteX1" fmla="*/ 24903 w 22898"/>
                    <a:gd name="connsiteY1" fmla="*/ 65603 h 64878"/>
                  </a:gdLst>
                  <a:ahLst/>
                  <a:cxnLst>
                    <a:cxn ang="0">
                      <a:pos x="connsiteX0" y="connsiteY0"/>
                    </a:cxn>
                    <a:cxn ang="0">
                      <a:pos x="connsiteX1" y="connsiteY1"/>
                    </a:cxn>
                  </a:cxnLst>
                  <a:rect l="l" t="t" r="r" b="b"/>
                  <a:pathLst>
                    <a:path w="22898" h="64878">
                      <a:moveTo>
                        <a:pt x="936" y="0"/>
                      </a:moveTo>
                      <a:cubicBezTo>
                        <a:pt x="936" y="0"/>
                        <a:pt x="-7269" y="57055"/>
                        <a:pt x="24903" y="65603"/>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20" name="Freeform: Shape 319">
                  <a:extLst>
                    <a:ext uri="{FF2B5EF4-FFF2-40B4-BE49-F238E27FC236}">
                      <a16:creationId xmlns:a16="http://schemas.microsoft.com/office/drawing/2014/main" id="{602794BE-0E32-68B2-6B9D-1FD6432ADE5B}"/>
                    </a:ext>
                  </a:extLst>
                </p:cNvPr>
                <p:cNvSpPr/>
                <p:nvPr/>
              </p:nvSpPr>
              <p:spPr>
                <a:xfrm>
                  <a:off x="1096689" y="1273997"/>
                  <a:ext cx="37210" cy="40072"/>
                </a:xfrm>
                <a:custGeom>
                  <a:avLst/>
                  <a:gdLst>
                    <a:gd name="connsiteX0" fmla="*/ 0 w 49612"/>
                    <a:gd name="connsiteY0" fmla="*/ 0 h 53429"/>
                    <a:gd name="connsiteX1" fmla="*/ 50338 w 49612"/>
                    <a:gd name="connsiteY1" fmla="*/ 55948 h 53429"/>
                  </a:gdLst>
                  <a:ahLst/>
                  <a:cxnLst>
                    <a:cxn ang="0">
                      <a:pos x="connsiteX0" y="connsiteY0"/>
                    </a:cxn>
                    <a:cxn ang="0">
                      <a:pos x="connsiteX1" y="connsiteY1"/>
                    </a:cxn>
                  </a:cxnLst>
                  <a:rect l="l" t="t" r="r" b="b"/>
                  <a:pathLst>
                    <a:path w="49612" h="53429">
                      <a:moveTo>
                        <a:pt x="0" y="0"/>
                      </a:moveTo>
                      <a:cubicBezTo>
                        <a:pt x="0" y="0"/>
                        <a:pt x="4809" y="33355"/>
                        <a:pt x="50338" y="55948"/>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21" name="Freeform: Shape 320">
                  <a:extLst>
                    <a:ext uri="{FF2B5EF4-FFF2-40B4-BE49-F238E27FC236}">
                      <a16:creationId xmlns:a16="http://schemas.microsoft.com/office/drawing/2014/main" id="{AEE843C1-A7CF-2FEE-42A4-1A86C58036D5}"/>
                    </a:ext>
                  </a:extLst>
                </p:cNvPr>
                <p:cNvSpPr/>
                <p:nvPr/>
              </p:nvSpPr>
              <p:spPr>
                <a:xfrm>
                  <a:off x="1063169" y="1200322"/>
                  <a:ext cx="20036" cy="108767"/>
                </a:xfrm>
                <a:custGeom>
                  <a:avLst/>
                  <a:gdLst>
                    <a:gd name="connsiteX0" fmla="*/ 27138 w 26714"/>
                    <a:gd name="connsiteY0" fmla="*/ 0 h 145021"/>
                    <a:gd name="connsiteX1" fmla="*/ 20612 w 26714"/>
                    <a:gd name="connsiteY1" fmla="*/ 145976 h 145021"/>
                  </a:gdLst>
                  <a:ahLst/>
                  <a:cxnLst>
                    <a:cxn ang="0">
                      <a:pos x="connsiteX0" y="connsiteY0"/>
                    </a:cxn>
                    <a:cxn ang="0">
                      <a:pos x="connsiteX1" y="connsiteY1"/>
                    </a:cxn>
                  </a:cxnLst>
                  <a:rect l="l" t="t" r="r" b="b"/>
                  <a:pathLst>
                    <a:path w="26714" h="145021">
                      <a:moveTo>
                        <a:pt x="27138" y="0"/>
                      </a:moveTo>
                      <a:cubicBezTo>
                        <a:pt x="27138" y="0"/>
                        <a:pt x="-29306" y="89036"/>
                        <a:pt x="20612" y="145976"/>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22" name="Freeform: Shape 321">
                  <a:extLst>
                    <a:ext uri="{FF2B5EF4-FFF2-40B4-BE49-F238E27FC236}">
                      <a16:creationId xmlns:a16="http://schemas.microsoft.com/office/drawing/2014/main" id="{A87CB807-0687-71A2-2B35-EEB53D92DADD}"/>
                    </a:ext>
                  </a:extLst>
                </p:cNvPr>
                <p:cNvSpPr/>
                <p:nvPr/>
              </p:nvSpPr>
              <p:spPr>
                <a:xfrm>
                  <a:off x="1107638" y="1303535"/>
                  <a:ext cx="17174" cy="48659"/>
                </a:xfrm>
                <a:custGeom>
                  <a:avLst/>
                  <a:gdLst>
                    <a:gd name="connsiteX0" fmla="*/ 10550 w 22898"/>
                    <a:gd name="connsiteY0" fmla="*/ 0 h 64878"/>
                    <a:gd name="connsiteX1" fmla="*/ 26311 w 22898"/>
                    <a:gd name="connsiteY1" fmla="*/ 67778 h 64878"/>
                  </a:gdLst>
                  <a:ahLst/>
                  <a:cxnLst>
                    <a:cxn ang="0">
                      <a:pos x="connsiteX0" y="connsiteY0"/>
                    </a:cxn>
                    <a:cxn ang="0">
                      <a:pos x="connsiteX1" y="connsiteY1"/>
                    </a:cxn>
                  </a:cxnLst>
                  <a:rect l="l" t="t" r="r" b="b"/>
                  <a:pathLst>
                    <a:path w="22898" h="64878">
                      <a:moveTo>
                        <a:pt x="10550" y="0"/>
                      </a:moveTo>
                      <a:cubicBezTo>
                        <a:pt x="10550" y="0"/>
                        <a:pt x="-21584" y="41140"/>
                        <a:pt x="26311" y="67778"/>
                      </a:cubicBezTo>
                    </a:path>
                  </a:pathLst>
                </a:custGeom>
                <a:noFill/>
                <a:ln w="11448"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26" name="Freeform: Shape 325">
                  <a:extLst>
                    <a:ext uri="{FF2B5EF4-FFF2-40B4-BE49-F238E27FC236}">
                      <a16:creationId xmlns:a16="http://schemas.microsoft.com/office/drawing/2014/main" id="{5433195B-568E-4BD8-C440-7905E0386ED9}"/>
                    </a:ext>
                  </a:extLst>
                </p:cNvPr>
                <p:cNvSpPr/>
                <p:nvPr/>
              </p:nvSpPr>
              <p:spPr>
                <a:xfrm>
                  <a:off x="1001964" y="1301875"/>
                  <a:ext cx="163150" cy="108767"/>
                </a:xfrm>
                <a:custGeom>
                  <a:avLst/>
                  <a:gdLst>
                    <a:gd name="connsiteX0" fmla="*/ 44270 w 217532"/>
                    <a:gd name="connsiteY0" fmla="*/ 76442 h 145021"/>
                    <a:gd name="connsiteX1" fmla="*/ 164142 w 217532"/>
                    <a:gd name="connsiteY1" fmla="*/ 145823 h 145021"/>
                    <a:gd name="connsiteX2" fmla="*/ 169294 w 217532"/>
                    <a:gd name="connsiteY2" fmla="*/ 146281 h 145021"/>
                    <a:gd name="connsiteX3" fmla="*/ 193261 w 217532"/>
                    <a:gd name="connsiteY3" fmla="*/ 133305 h 145021"/>
                    <a:gd name="connsiteX4" fmla="*/ 206084 w 217532"/>
                    <a:gd name="connsiteY4" fmla="*/ 108156 h 145021"/>
                    <a:gd name="connsiteX5" fmla="*/ 220776 w 217532"/>
                    <a:gd name="connsiteY5" fmla="*/ 49956 h 145021"/>
                    <a:gd name="connsiteX6" fmla="*/ 208030 w 217532"/>
                    <a:gd name="connsiteY6" fmla="*/ 71862 h 145021"/>
                    <a:gd name="connsiteX7" fmla="*/ 112926 w 217532"/>
                    <a:gd name="connsiteY7" fmla="*/ 97546 h 145021"/>
                    <a:gd name="connsiteX8" fmla="*/ 0 w 217532"/>
                    <a:gd name="connsiteY8" fmla="*/ 0 h 145021"/>
                    <a:gd name="connsiteX9" fmla="*/ 10991 w 217532"/>
                    <a:gd name="connsiteY9" fmla="*/ 33202 h 145021"/>
                    <a:gd name="connsiteX10" fmla="*/ 44270 w 217532"/>
                    <a:gd name="connsiteY10" fmla="*/ 76442 h 14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532" h="145021">
                      <a:moveTo>
                        <a:pt x="44270" y="76442"/>
                      </a:moveTo>
                      <a:cubicBezTo>
                        <a:pt x="47399" y="79418"/>
                        <a:pt x="107202" y="135672"/>
                        <a:pt x="164142" y="145823"/>
                      </a:cubicBezTo>
                      <a:cubicBezTo>
                        <a:pt x="165859" y="146128"/>
                        <a:pt x="167576" y="146281"/>
                        <a:pt x="169294" y="146281"/>
                      </a:cubicBezTo>
                      <a:cubicBezTo>
                        <a:pt x="178949" y="146281"/>
                        <a:pt x="187994" y="141511"/>
                        <a:pt x="193261" y="133305"/>
                      </a:cubicBezTo>
                      <a:cubicBezTo>
                        <a:pt x="197802" y="126283"/>
                        <a:pt x="202114" y="117811"/>
                        <a:pt x="206084" y="108156"/>
                      </a:cubicBezTo>
                      <a:cubicBezTo>
                        <a:pt x="213678" y="89684"/>
                        <a:pt x="218639" y="70107"/>
                        <a:pt x="220776" y="49956"/>
                      </a:cubicBezTo>
                      <a:cubicBezTo>
                        <a:pt x="216693" y="58238"/>
                        <a:pt x="212381" y="65489"/>
                        <a:pt x="208030" y="71862"/>
                      </a:cubicBezTo>
                      <a:cubicBezTo>
                        <a:pt x="186964" y="102813"/>
                        <a:pt x="147541" y="111819"/>
                        <a:pt x="112926" y="97546"/>
                      </a:cubicBezTo>
                      <a:cubicBezTo>
                        <a:pt x="40339" y="67626"/>
                        <a:pt x="1336" y="2175"/>
                        <a:pt x="0" y="0"/>
                      </a:cubicBezTo>
                      <a:cubicBezTo>
                        <a:pt x="1603" y="11449"/>
                        <a:pt x="5190" y="22707"/>
                        <a:pt x="10991" y="33202"/>
                      </a:cubicBezTo>
                      <a:cubicBezTo>
                        <a:pt x="19005" y="47705"/>
                        <a:pt x="30187" y="62245"/>
                        <a:pt x="44270" y="76442"/>
                      </a:cubicBezTo>
                      <a:close/>
                    </a:path>
                  </a:pathLst>
                </a:custGeom>
                <a:solidFill>
                  <a:schemeClr val="accent3">
                    <a:lumMod val="60000"/>
                    <a:lumOff val="40000"/>
                  </a:schemeClr>
                </a:solidFill>
                <a:ln w="38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sp>
          <p:nvSpPr>
            <p:cNvPr id="227" name="Freeform 137">
              <a:extLst>
                <a:ext uri="{FF2B5EF4-FFF2-40B4-BE49-F238E27FC236}">
                  <a16:creationId xmlns:a16="http://schemas.microsoft.com/office/drawing/2014/main" id="{DD28B989-5C17-B7C3-9414-80DBDAFA9154}"/>
                </a:ext>
              </a:extLst>
            </p:cNvPr>
            <p:cNvSpPr>
              <a:spLocks noEditPoints="1"/>
            </p:cNvSpPr>
            <p:nvPr/>
          </p:nvSpPr>
          <p:spPr bwMode="auto">
            <a:xfrm>
              <a:off x="5570334" y="2803643"/>
              <a:ext cx="517372" cy="569767"/>
            </a:xfrm>
            <a:custGeom>
              <a:avLst/>
              <a:gdLst>
                <a:gd name="T0" fmla="*/ 558 w 1767"/>
                <a:gd name="T1" fmla="*/ 1804 h 2072"/>
                <a:gd name="T2" fmla="*/ 364 w 1767"/>
                <a:gd name="T3" fmla="*/ 1833 h 2072"/>
                <a:gd name="T4" fmla="*/ 182 w 1767"/>
                <a:gd name="T5" fmla="*/ 1682 h 2072"/>
                <a:gd name="T6" fmla="*/ 182 w 1767"/>
                <a:gd name="T7" fmla="*/ 1426 h 2072"/>
                <a:gd name="T8" fmla="*/ 182 w 1767"/>
                <a:gd name="T9" fmla="*/ 1400 h 2072"/>
                <a:gd name="T10" fmla="*/ 139 w 1767"/>
                <a:gd name="T11" fmla="*/ 1400 h 2072"/>
                <a:gd name="T12" fmla="*/ 74 w 1767"/>
                <a:gd name="T13" fmla="*/ 1396 h 2072"/>
                <a:gd name="T14" fmla="*/ 15 w 1767"/>
                <a:gd name="T15" fmla="*/ 1295 h 2072"/>
                <a:gd name="T16" fmla="*/ 31 w 1767"/>
                <a:gd name="T17" fmla="*/ 1257 h 2072"/>
                <a:gd name="T18" fmla="*/ 171 w 1767"/>
                <a:gd name="T19" fmla="*/ 989 h 2072"/>
                <a:gd name="T20" fmla="*/ 180 w 1767"/>
                <a:gd name="T21" fmla="*/ 953 h 2072"/>
                <a:gd name="T22" fmla="*/ 190 w 1767"/>
                <a:gd name="T23" fmla="*/ 734 h 2072"/>
                <a:gd name="T24" fmla="*/ 605 w 1767"/>
                <a:gd name="T25" fmla="*/ 172 h 2072"/>
                <a:gd name="T26" fmla="*/ 1583 w 1767"/>
                <a:gd name="T27" fmla="*/ 452 h 2072"/>
                <a:gd name="T28" fmla="*/ 1474 w 1767"/>
                <a:gd name="T29" fmla="*/ 1380 h 2072"/>
                <a:gd name="T30" fmla="*/ 1449 w 1767"/>
                <a:gd name="T31" fmla="*/ 1438 h 2072"/>
                <a:gd name="T32" fmla="*/ 1450 w 1767"/>
                <a:gd name="T33" fmla="*/ 1850 h 2072"/>
                <a:gd name="T34" fmla="*/ 1386 w 1767"/>
                <a:gd name="T35" fmla="*/ 1929 h 2072"/>
                <a:gd name="T36" fmla="*/ 739 w 1767"/>
                <a:gd name="T37" fmla="*/ 2044 h 2072"/>
                <a:gd name="T38" fmla="*/ 617 w 1767"/>
                <a:gd name="T39" fmla="*/ 2065 h 2072"/>
                <a:gd name="T40" fmla="*/ 558 w 1767"/>
                <a:gd name="T41" fmla="*/ 2017 h 2072"/>
                <a:gd name="T42" fmla="*/ 558 w 1767"/>
                <a:gd name="T43" fmla="*/ 1831 h 2072"/>
                <a:gd name="T44" fmla="*/ 558 w 1767"/>
                <a:gd name="T45" fmla="*/ 1804 h 2072"/>
                <a:gd name="T46" fmla="*/ 1472 w 1767"/>
                <a:gd name="T47" fmla="*/ 840 h 2072"/>
                <a:gd name="T48" fmla="*/ 1462 w 1767"/>
                <a:gd name="T49" fmla="*/ 749 h 2072"/>
                <a:gd name="T50" fmla="*/ 807 w 1767"/>
                <a:gd name="T51" fmla="*/ 327 h 2072"/>
                <a:gd name="T52" fmla="*/ 412 w 1767"/>
                <a:gd name="T53" fmla="*/ 835 h 2072"/>
                <a:gd name="T54" fmla="*/ 536 w 1767"/>
                <a:gd name="T55" fmla="*/ 1179 h 2072"/>
                <a:gd name="T56" fmla="*/ 542 w 1767"/>
                <a:gd name="T57" fmla="*/ 1207 h 2072"/>
                <a:gd name="T58" fmla="*/ 448 w 1767"/>
                <a:gd name="T59" fmla="*/ 1314 h 2072"/>
                <a:gd name="T60" fmla="*/ 429 w 1767"/>
                <a:gd name="T61" fmla="*/ 1342 h 2072"/>
                <a:gd name="T62" fmla="*/ 460 w 1767"/>
                <a:gd name="T63" fmla="*/ 1360 h 2072"/>
                <a:gd name="T64" fmla="*/ 657 w 1767"/>
                <a:gd name="T65" fmla="*/ 1307 h 2072"/>
                <a:gd name="T66" fmla="*/ 685 w 1767"/>
                <a:gd name="T67" fmla="*/ 1306 h 2072"/>
                <a:gd name="T68" fmla="*/ 1015 w 1767"/>
                <a:gd name="T69" fmla="*/ 1367 h 2072"/>
                <a:gd name="T70" fmla="*/ 1472 w 1767"/>
                <a:gd name="T71" fmla="*/ 840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7" h="2072">
                  <a:moveTo>
                    <a:pt x="558" y="1804"/>
                  </a:moveTo>
                  <a:cubicBezTo>
                    <a:pt x="491" y="1814"/>
                    <a:pt x="427" y="1823"/>
                    <a:pt x="364" y="1833"/>
                  </a:cubicBezTo>
                  <a:cubicBezTo>
                    <a:pt x="268" y="1849"/>
                    <a:pt x="183" y="1779"/>
                    <a:pt x="182" y="1682"/>
                  </a:cubicBezTo>
                  <a:cubicBezTo>
                    <a:pt x="181" y="1596"/>
                    <a:pt x="182" y="1511"/>
                    <a:pt x="182" y="1426"/>
                  </a:cubicBezTo>
                  <a:cubicBezTo>
                    <a:pt x="182" y="1418"/>
                    <a:pt x="182" y="1411"/>
                    <a:pt x="182" y="1400"/>
                  </a:cubicBezTo>
                  <a:cubicBezTo>
                    <a:pt x="167" y="1400"/>
                    <a:pt x="153" y="1401"/>
                    <a:pt x="139" y="1400"/>
                  </a:cubicBezTo>
                  <a:cubicBezTo>
                    <a:pt x="118" y="1399"/>
                    <a:pt x="95" y="1401"/>
                    <a:pt x="74" y="1396"/>
                  </a:cubicBezTo>
                  <a:cubicBezTo>
                    <a:pt x="23" y="1385"/>
                    <a:pt x="0" y="1345"/>
                    <a:pt x="15" y="1295"/>
                  </a:cubicBezTo>
                  <a:cubicBezTo>
                    <a:pt x="19" y="1282"/>
                    <a:pt x="25" y="1269"/>
                    <a:pt x="31" y="1257"/>
                  </a:cubicBezTo>
                  <a:cubicBezTo>
                    <a:pt x="78" y="1168"/>
                    <a:pt x="125" y="1079"/>
                    <a:pt x="171" y="989"/>
                  </a:cubicBezTo>
                  <a:cubicBezTo>
                    <a:pt x="176" y="979"/>
                    <a:pt x="179" y="966"/>
                    <a:pt x="180" y="953"/>
                  </a:cubicBezTo>
                  <a:cubicBezTo>
                    <a:pt x="183" y="880"/>
                    <a:pt x="179" y="806"/>
                    <a:pt x="190" y="734"/>
                  </a:cubicBezTo>
                  <a:cubicBezTo>
                    <a:pt x="231" y="477"/>
                    <a:pt x="374" y="290"/>
                    <a:pt x="605" y="172"/>
                  </a:cubicBezTo>
                  <a:cubicBezTo>
                    <a:pt x="938" y="0"/>
                    <a:pt x="1370" y="106"/>
                    <a:pt x="1583" y="452"/>
                  </a:cubicBezTo>
                  <a:cubicBezTo>
                    <a:pt x="1767" y="749"/>
                    <a:pt x="1724" y="1129"/>
                    <a:pt x="1474" y="1380"/>
                  </a:cubicBezTo>
                  <a:cubicBezTo>
                    <a:pt x="1456" y="1397"/>
                    <a:pt x="1449" y="1414"/>
                    <a:pt x="1449" y="1438"/>
                  </a:cubicBezTo>
                  <a:cubicBezTo>
                    <a:pt x="1451" y="1576"/>
                    <a:pt x="1450" y="1713"/>
                    <a:pt x="1450" y="1850"/>
                  </a:cubicBezTo>
                  <a:cubicBezTo>
                    <a:pt x="1450" y="1898"/>
                    <a:pt x="1432" y="1921"/>
                    <a:pt x="1386" y="1929"/>
                  </a:cubicBezTo>
                  <a:cubicBezTo>
                    <a:pt x="1170" y="1967"/>
                    <a:pt x="954" y="2005"/>
                    <a:pt x="739" y="2044"/>
                  </a:cubicBezTo>
                  <a:cubicBezTo>
                    <a:pt x="698" y="2051"/>
                    <a:pt x="657" y="2058"/>
                    <a:pt x="617" y="2065"/>
                  </a:cubicBezTo>
                  <a:cubicBezTo>
                    <a:pt x="581" y="2072"/>
                    <a:pt x="559" y="2054"/>
                    <a:pt x="558" y="2017"/>
                  </a:cubicBezTo>
                  <a:cubicBezTo>
                    <a:pt x="558" y="1955"/>
                    <a:pt x="558" y="1893"/>
                    <a:pt x="558" y="1831"/>
                  </a:cubicBezTo>
                  <a:cubicBezTo>
                    <a:pt x="558" y="1823"/>
                    <a:pt x="558" y="1815"/>
                    <a:pt x="558" y="1804"/>
                  </a:cubicBezTo>
                  <a:close/>
                  <a:moveTo>
                    <a:pt x="1472" y="840"/>
                  </a:moveTo>
                  <a:cubicBezTo>
                    <a:pt x="1469" y="810"/>
                    <a:pt x="1467" y="779"/>
                    <a:pt x="1462" y="749"/>
                  </a:cubicBezTo>
                  <a:cubicBezTo>
                    <a:pt x="1410" y="443"/>
                    <a:pt x="1107" y="248"/>
                    <a:pt x="807" y="327"/>
                  </a:cubicBezTo>
                  <a:cubicBezTo>
                    <a:pt x="576" y="388"/>
                    <a:pt x="414" y="596"/>
                    <a:pt x="412" y="835"/>
                  </a:cubicBezTo>
                  <a:cubicBezTo>
                    <a:pt x="411" y="965"/>
                    <a:pt x="454" y="1079"/>
                    <a:pt x="536" y="1179"/>
                  </a:cubicBezTo>
                  <a:cubicBezTo>
                    <a:pt x="543" y="1188"/>
                    <a:pt x="549" y="1195"/>
                    <a:pt x="542" y="1207"/>
                  </a:cubicBezTo>
                  <a:cubicBezTo>
                    <a:pt x="520" y="1251"/>
                    <a:pt x="491" y="1288"/>
                    <a:pt x="448" y="1314"/>
                  </a:cubicBezTo>
                  <a:cubicBezTo>
                    <a:pt x="437" y="1320"/>
                    <a:pt x="425" y="1326"/>
                    <a:pt x="429" y="1342"/>
                  </a:cubicBezTo>
                  <a:cubicBezTo>
                    <a:pt x="433" y="1359"/>
                    <a:pt x="447" y="1359"/>
                    <a:pt x="460" y="1360"/>
                  </a:cubicBezTo>
                  <a:cubicBezTo>
                    <a:pt x="532" y="1366"/>
                    <a:pt x="598" y="1348"/>
                    <a:pt x="657" y="1307"/>
                  </a:cubicBezTo>
                  <a:cubicBezTo>
                    <a:pt x="667" y="1300"/>
                    <a:pt x="675" y="1300"/>
                    <a:pt x="685" y="1306"/>
                  </a:cubicBezTo>
                  <a:cubicBezTo>
                    <a:pt x="789" y="1363"/>
                    <a:pt x="899" y="1383"/>
                    <a:pt x="1015" y="1367"/>
                  </a:cubicBezTo>
                  <a:cubicBezTo>
                    <a:pt x="1278" y="1330"/>
                    <a:pt x="1470" y="1107"/>
                    <a:pt x="1472" y="84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1" name="Oval 220">
              <a:extLst>
                <a:ext uri="{FF2B5EF4-FFF2-40B4-BE49-F238E27FC236}">
                  <a16:creationId xmlns:a16="http://schemas.microsoft.com/office/drawing/2014/main" id="{66541EF1-083C-10AE-CD4C-D7679C690FF2}"/>
                </a:ext>
              </a:extLst>
            </p:cNvPr>
            <p:cNvSpPr/>
            <p:nvPr/>
          </p:nvSpPr>
          <p:spPr>
            <a:xfrm>
              <a:off x="6816876" y="3467534"/>
              <a:ext cx="487046" cy="487046"/>
            </a:xfrm>
            <a:prstGeom prst="ellipse">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3" name="Title 2">
            <a:extLst>
              <a:ext uri="{FF2B5EF4-FFF2-40B4-BE49-F238E27FC236}">
                <a16:creationId xmlns:a16="http://schemas.microsoft.com/office/drawing/2014/main" id="{57B5C5DF-E13D-472B-D0F0-97A54EC984A8}"/>
              </a:ext>
            </a:extLst>
          </p:cNvPr>
          <p:cNvSpPr>
            <a:spLocks noGrp="1"/>
          </p:cNvSpPr>
          <p:nvPr>
            <p:ph type="title"/>
          </p:nvPr>
        </p:nvSpPr>
        <p:spPr/>
        <p:txBody>
          <a:bodyPr/>
          <a:lstStyle/>
          <a:p>
            <a:r>
              <a:rPr lang="en-GB" dirty="0" err="1"/>
              <a:t>Semaglutide</a:t>
            </a:r>
            <a:r>
              <a:rPr lang="en-GB" dirty="0"/>
              <a:t> mechanism of action</a:t>
            </a:r>
            <a:br>
              <a:rPr lang="en-GB" dirty="0"/>
            </a:br>
            <a:r>
              <a:rPr lang="en-GB" sz="2000" dirty="0">
                <a:solidFill>
                  <a:schemeClr val="accent5"/>
                </a:solidFill>
              </a:rPr>
              <a:t>Appetite and weight regulation</a:t>
            </a:r>
            <a:br>
              <a:rPr lang="en-GB" dirty="0"/>
            </a:br>
            <a:endParaRPr lang="en-GB" dirty="0"/>
          </a:p>
        </p:txBody>
      </p:sp>
      <p:sp>
        <p:nvSpPr>
          <p:cNvPr id="4" name="Text Placeholder 3">
            <a:extLst>
              <a:ext uri="{FF2B5EF4-FFF2-40B4-BE49-F238E27FC236}">
                <a16:creationId xmlns:a16="http://schemas.microsoft.com/office/drawing/2014/main" id="{5D0C2534-CD8C-0599-C030-1DD021A0F41C}"/>
              </a:ext>
            </a:extLst>
          </p:cNvPr>
          <p:cNvSpPr>
            <a:spLocks noGrp="1"/>
          </p:cNvSpPr>
          <p:nvPr>
            <p:ph type="body" sz="quarter" idx="13"/>
          </p:nvPr>
        </p:nvSpPr>
        <p:spPr>
          <a:xfrm>
            <a:off x="647699" y="6418775"/>
            <a:ext cx="10896301" cy="324000"/>
          </a:xfrm>
        </p:spPr>
        <p:txBody>
          <a:bodyPr/>
          <a:lstStyle/>
          <a:p>
            <a:r>
              <a:rPr lang="en-US" dirty="0">
                <a:solidFill>
                  <a:srgbClr val="001965"/>
                </a:solidFill>
              </a:rPr>
              <a:t>AP/NTS, area postrema/nucleus of the solitary tract; BST, bed nuclei of the stria terminalis; CEA, central amygdala nucleus; CV, cardiovascular; </a:t>
            </a:r>
            <a:br>
              <a:rPr lang="en-US" dirty="0">
                <a:solidFill>
                  <a:srgbClr val="001965"/>
                </a:solidFill>
              </a:rPr>
            </a:br>
            <a:r>
              <a:rPr lang="en-US" dirty="0">
                <a:solidFill>
                  <a:srgbClr val="001965"/>
                </a:solidFill>
              </a:rPr>
              <a:t>GLP-1, glucagon-like peptide-1; PB, parabrachial nucleus; t1/2, half life, Modified from Campos et al. Cell metabolism 2016;23(5):811-820</a:t>
            </a:r>
          </a:p>
          <a:p>
            <a:r>
              <a:rPr lang="en-GB" dirty="0" err="1">
                <a:solidFill>
                  <a:srgbClr val="001965"/>
                </a:solidFill>
              </a:rPr>
              <a:t>Merchenthaler</a:t>
            </a:r>
            <a:r>
              <a:rPr lang="en-GB" dirty="0">
                <a:solidFill>
                  <a:srgbClr val="001965"/>
                </a:solidFill>
              </a:rPr>
              <a:t> et al. J Comp </a:t>
            </a:r>
            <a:r>
              <a:rPr lang="en-GB" dirty="0" err="1">
                <a:solidFill>
                  <a:srgbClr val="001965"/>
                </a:solidFill>
              </a:rPr>
              <a:t>Neurol</a:t>
            </a:r>
            <a:r>
              <a:rPr lang="en-GB" dirty="0">
                <a:solidFill>
                  <a:srgbClr val="001965"/>
                </a:solidFill>
              </a:rPr>
              <a:t> 1999;403:261–80; Baggio and Drucker. Gastroenterology 2007;132:2131–57; Drucker and Nauck. Lancet 2006;368:1696–705.</a:t>
            </a:r>
            <a:endParaRPr lang="en-ZA" dirty="0">
              <a:solidFill>
                <a:srgbClr val="001965"/>
              </a:solidFill>
            </a:endParaRPr>
          </a:p>
        </p:txBody>
      </p:sp>
      <p:cxnSp>
        <p:nvCxnSpPr>
          <p:cNvPr id="11" name="Straight Connector 10">
            <a:extLst>
              <a:ext uri="{FF2B5EF4-FFF2-40B4-BE49-F238E27FC236}">
                <a16:creationId xmlns:a16="http://schemas.microsoft.com/office/drawing/2014/main" id="{98931EE6-8F86-DF08-852D-C15243D5EA56}"/>
              </a:ext>
            </a:extLst>
          </p:cNvPr>
          <p:cNvCxnSpPr>
            <a:cxnSpLocks/>
          </p:cNvCxnSpPr>
          <p:nvPr/>
        </p:nvCxnSpPr>
        <p:spPr>
          <a:xfrm>
            <a:off x="261258" y="1597905"/>
            <a:ext cx="11669485" cy="0"/>
          </a:xfrm>
          <a:prstGeom prst="line">
            <a:avLst/>
          </a:prstGeom>
          <a:ln w="285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783F6D3-6A3F-6181-DB98-BA7AD596FB40}"/>
              </a:ext>
            </a:extLst>
          </p:cNvPr>
          <p:cNvSpPr/>
          <p:nvPr/>
        </p:nvSpPr>
        <p:spPr>
          <a:xfrm>
            <a:off x="974004" y="1957679"/>
            <a:ext cx="3817427" cy="134768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875" tIns="60937" rIns="121875" bIns="60937" rtlCol="0" anchor="ctr"/>
          <a:lstStyle/>
          <a:p>
            <a:pPr marL="335856" marR="0" lvl="0" indent="0" algn="l" defTabSz="914400"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is a human </a:t>
            </a:r>
            <a:r>
              <a:rPr kumimoji="0" lang="en-US" sz="180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P-1 analogue</a:t>
            </a:r>
          </a:p>
          <a:p>
            <a:pPr marL="564450"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4% homology to human GLP-1</a:t>
            </a:r>
          </a:p>
          <a:p>
            <a:pPr marL="564450"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a:t>
            </a:r>
            <a:r>
              <a:rPr kumimoji="0" lang="en-CA" sz="1400" b="0" i="0" u="none" strike="noStrike" kern="1200" cap="none" spc="0" normalizeH="0" baseline="-25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½</a:t>
            </a:r>
            <a:r>
              <a:rPr kumimoji="0" lang="en-CA"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of approximately 1 week</a:t>
            </a:r>
          </a:p>
        </p:txBody>
      </p:sp>
      <p:sp>
        <p:nvSpPr>
          <p:cNvPr id="15" name="Oval 14">
            <a:extLst>
              <a:ext uri="{FF2B5EF4-FFF2-40B4-BE49-F238E27FC236}">
                <a16:creationId xmlns:a16="http://schemas.microsoft.com/office/drawing/2014/main" id="{6199EB5D-2CC4-004A-4E1A-4AF57FCEE70E}"/>
              </a:ext>
            </a:extLst>
          </p:cNvPr>
          <p:cNvSpPr/>
          <p:nvPr/>
        </p:nvSpPr>
        <p:spPr>
          <a:xfrm>
            <a:off x="450708" y="1731379"/>
            <a:ext cx="960000" cy="960000"/>
          </a:xfrm>
          <a:prstGeom prst="ellipse">
            <a:avLst/>
          </a:prstGeom>
          <a:solidFill>
            <a:srgbClr val="00196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89"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27" name="Straight Connector 26">
            <a:extLst>
              <a:ext uri="{FF2B5EF4-FFF2-40B4-BE49-F238E27FC236}">
                <a16:creationId xmlns:a16="http://schemas.microsoft.com/office/drawing/2014/main" id="{B01FE843-B5B7-47C7-C8D8-0CF29DAF667F}"/>
              </a:ext>
            </a:extLst>
          </p:cNvPr>
          <p:cNvCxnSpPr>
            <a:cxnSpLocks/>
          </p:cNvCxnSpPr>
          <p:nvPr/>
        </p:nvCxnSpPr>
        <p:spPr>
          <a:xfrm>
            <a:off x="261258" y="3680929"/>
            <a:ext cx="11669485" cy="0"/>
          </a:xfrm>
          <a:prstGeom prst="line">
            <a:avLst/>
          </a:prstGeom>
          <a:ln w="285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C0DDF69C-9DA7-3B1B-079B-B0EE29DC6485}"/>
              </a:ext>
            </a:extLst>
          </p:cNvPr>
          <p:cNvGrpSpPr>
            <a:grpSpLocks noChangeAspect="1"/>
          </p:cNvGrpSpPr>
          <p:nvPr/>
        </p:nvGrpSpPr>
        <p:grpSpPr>
          <a:xfrm>
            <a:off x="620990" y="1937491"/>
            <a:ext cx="581756" cy="578983"/>
            <a:chOff x="6710363" y="3908426"/>
            <a:chExt cx="333376" cy="331787"/>
          </a:xfrm>
          <a:solidFill>
            <a:schemeClr val="bg1"/>
          </a:solidFill>
        </p:grpSpPr>
        <p:sp>
          <p:nvSpPr>
            <p:cNvPr id="144" name="Freeform 1149">
              <a:extLst>
                <a:ext uri="{FF2B5EF4-FFF2-40B4-BE49-F238E27FC236}">
                  <a16:creationId xmlns:a16="http://schemas.microsoft.com/office/drawing/2014/main" id="{8EDBE8B1-F232-FF91-CD86-7459B2DCDB54}"/>
                </a:ext>
              </a:extLst>
            </p:cNvPr>
            <p:cNvSpPr>
              <a:spLocks noEditPoints="1"/>
            </p:cNvSpPr>
            <p:nvPr/>
          </p:nvSpPr>
          <p:spPr bwMode="auto">
            <a:xfrm>
              <a:off x="6726238" y="3924301"/>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45" name="Freeform 1150">
              <a:extLst>
                <a:ext uri="{FF2B5EF4-FFF2-40B4-BE49-F238E27FC236}">
                  <a16:creationId xmlns:a16="http://schemas.microsoft.com/office/drawing/2014/main" id="{A47A9676-6C75-70C3-EFE1-2BE04B06F040}"/>
                </a:ext>
              </a:extLst>
            </p:cNvPr>
            <p:cNvSpPr>
              <a:spLocks/>
            </p:cNvSpPr>
            <p:nvPr/>
          </p:nvSpPr>
          <p:spPr bwMode="auto">
            <a:xfrm>
              <a:off x="6710363" y="3908426"/>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46" name="Freeform 1151">
              <a:extLst>
                <a:ext uri="{FF2B5EF4-FFF2-40B4-BE49-F238E27FC236}">
                  <a16:creationId xmlns:a16="http://schemas.microsoft.com/office/drawing/2014/main" id="{FB487A3C-5C04-8D3E-583C-8D011F9CD4A9}"/>
                </a:ext>
              </a:extLst>
            </p:cNvPr>
            <p:cNvSpPr>
              <a:spLocks noEditPoints="1"/>
            </p:cNvSpPr>
            <p:nvPr/>
          </p:nvSpPr>
          <p:spPr bwMode="auto">
            <a:xfrm>
              <a:off x="6772276" y="3970338"/>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10" name="Group 9">
            <a:extLst>
              <a:ext uri="{FF2B5EF4-FFF2-40B4-BE49-F238E27FC236}">
                <a16:creationId xmlns:a16="http://schemas.microsoft.com/office/drawing/2014/main" id="{D71A160C-42C6-98E7-F7C7-9CC3ADB31972}"/>
              </a:ext>
            </a:extLst>
          </p:cNvPr>
          <p:cNvGrpSpPr/>
          <p:nvPr/>
        </p:nvGrpSpPr>
        <p:grpSpPr>
          <a:xfrm>
            <a:off x="4954449" y="1652125"/>
            <a:ext cx="6921211" cy="1966247"/>
            <a:chOff x="3705444" y="1216296"/>
            <a:chExt cx="5190908" cy="1474687"/>
          </a:xfrm>
        </p:grpSpPr>
        <p:sp>
          <p:nvSpPr>
            <p:cNvPr id="135" name="Rectangle 134">
              <a:extLst>
                <a:ext uri="{FF2B5EF4-FFF2-40B4-BE49-F238E27FC236}">
                  <a16:creationId xmlns:a16="http://schemas.microsoft.com/office/drawing/2014/main" id="{F47855AF-64DD-F03F-02CD-63E49CB8FE0F}"/>
                </a:ext>
              </a:extLst>
            </p:cNvPr>
            <p:cNvSpPr/>
            <p:nvPr/>
          </p:nvSpPr>
          <p:spPr>
            <a:xfrm>
              <a:off x="3705444" y="2004073"/>
              <a:ext cx="2165575" cy="438520"/>
            </a:xfrm>
            <a:prstGeom prst="rect">
              <a:avLst/>
            </a:prstGeom>
          </p:spPr>
          <p:txBody>
            <a:bodyPr wrap="square" lIns="121837" tIns="60919" rIns="121837" bIns="60919">
              <a:spAutoFit/>
            </a:bodyPr>
            <a:lstStyle/>
            <a:p>
              <a:pPr marL="0" marR="0" lvl="0" indent="0" algn="r" defTabSz="121821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pacer and C-18 fatty di-acid chain to lysine in position 26 </a:t>
              </a:r>
              <a:r>
                <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rovide strong binding to albumin</a:t>
              </a:r>
              <a:endParaRPr kumimoji="0" lang="en-GB" sz="1000" b="1" i="0" u="none" strike="noStrike" kern="120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2" name="TextBox 18">
              <a:extLst>
                <a:ext uri="{FF2B5EF4-FFF2-40B4-BE49-F238E27FC236}">
                  <a16:creationId xmlns:a16="http://schemas.microsoft.com/office/drawing/2014/main" id="{C68A40CD-DE7D-0967-F031-D7840ADDE4E9}"/>
                </a:ext>
              </a:extLst>
            </p:cNvPr>
            <p:cNvSpPr txBox="1">
              <a:spLocks noChangeArrowheads="1"/>
            </p:cNvSpPr>
            <p:nvPr/>
          </p:nvSpPr>
          <p:spPr bwMode="auto">
            <a:xfrm>
              <a:off x="3914106" y="1980213"/>
              <a:ext cx="1619224"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l" defTabSz="1218030" rtl="0" eaLnBrk="1" fontAlgn="base" latinLnBrk="0" hangingPunct="1">
                <a:lnSpc>
                  <a:spcPct val="100000"/>
                </a:lnSpc>
                <a:spcBef>
                  <a:spcPct val="0"/>
                </a:spcBef>
                <a:spcAft>
                  <a:spcPct val="0"/>
                </a:spcAft>
                <a:buClrTx/>
                <a:buSzTx/>
                <a:buFontTx/>
                <a:buNone/>
                <a:tabLst/>
                <a:defRPr/>
              </a:pPr>
              <a:endParaRPr kumimoji="0" lang="en-GB" sz="4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133" name="Straight Arrow Connector 250">
              <a:extLst>
                <a:ext uri="{FF2B5EF4-FFF2-40B4-BE49-F238E27FC236}">
                  <a16:creationId xmlns:a16="http://schemas.microsoft.com/office/drawing/2014/main" id="{29BC23FB-3836-D401-8716-C1FE057521FB}"/>
                </a:ext>
              </a:extLst>
            </p:cNvPr>
            <p:cNvCxnSpPr>
              <a:cxnSpLocks noChangeShapeType="1"/>
            </p:cNvCxnSpPr>
            <p:nvPr/>
          </p:nvCxnSpPr>
          <p:spPr bwMode="auto">
            <a:xfrm flipV="1">
              <a:off x="5212316" y="1870017"/>
              <a:ext cx="0" cy="145650"/>
            </a:xfrm>
            <a:prstGeom prst="straightConnector1">
              <a:avLst/>
            </a:prstGeom>
            <a:noFill/>
            <a:ln w="19050">
              <a:solidFill>
                <a:schemeClr val="accent5"/>
              </a:solidFill>
              <a:round/>
              <a:headEnd type="none" w="med" len="med"/>
              <a:tailEnd type="triangle" w="med" len="med"/>
            </a:ln>
            <a:extLst>
              <a:ext uri="{909E8E84-426E-40DD-AFC4-6F175D3DCCD1}">
                <a14:hiddenFill xmlns:a14="http://schemas.microsoft.com/office/drawing/2010/main">
                  <a:noFill/>
                </a14:hiddenFill>
              </a:ext>
            </a:extLst>
          </p:spPr>
        </p:cxnSp>
        <p:sp>
          <p:nvSpPr>
            <p:cNvPr id="136" name="Oval 135">
              <a:extLst>
                <a:ext uri="{FF2B5EF4-FFF2-40B4-BE49-F238E27FC236}">
                  <a16:creationId xmlns:a16="http://schemas.microsoft.com/office/drawing/2014/main" id="{F56F0C3E-41B3-32A8-C119-0BABB5D080D8}"/>
                </a:ext>
              </a:extLst>
            </p:cNvPr>
            <p:cNvSpPr>
              <a:spLocks noChangeArrowheads="1"/>
            </p:cNvSpPr>
            <p:nvPr/>
          </p:nvSpPr>
          <p:spPr bwMode="auto">
            <a:xfrm>
              <a:off x="5490721" y="1740317"/>
              <a:ext cx="670623" cy="111595"/>
            </a:xfrm>
            <a:prstGeom prst="ellipse">
              <a:avLst/>
            </a:prstGeom>
            <a:solidFill>
              <a:schemeClr val="accent6"/>
            </a:solidFill>
            <a:ln w="12700">
              <a:noFill/>
              <a:round/>
              <a:headEnd type="none" w="sm" len="sm"/>
              <a:tailEnd type="none" w="sm" len="sm"/>
            </a:ln>
            <a:effectLst/>
            <a:scene3d>
              <a:camera prst="orthographicFront">
                <a:rot lat="0" lon="0" rev="0"/>
              </a:camera>
              <a:lightRig rig="contrasting" dir="t">
                <a:rot lat="0" lon="0" rev="7800000"/>
              </a:lightRig>
            </a:scene3d>
            <a:sp3d>
              <a:bevelT w="139700" h="139700"/>
            </a:sp3d>
          </p:spPr>
          <p:txBody>
            <a:bodyPr wrap="none" lIns="64000" tIns="64000" rIns="64000" bIns="64000" anchor="ctr"/>
            <a:lstStyle>
              <a:defPPr>
                <a:defRPr lang="en-US"/>
              </a:defPPr>
              <a:lvl1pPr algn="l" rtl="0" fontAlgn="base">
                <a:spcBef>
                  <a:spcPct val="0"/>
                </a:spcBef>
                <a:spcAft>
                  <a:spcPct val="0"/>
                </a:spcAft>
                <a:defRPr sz="2400" kern="1200">
                  <a:solidFill>
                    <a:schemeClr val="tx1"/>
                  </a:solidFill>
                  <a:latin typeface="Verdana" pitchFamily="34" charset="0"/>
                  <a:ea typeface="MS PGothic" pitchFamily="34" charset="-128"/>
                  <a:cs typeface="+mn-cs"/>
                </a:defRPr>
              </a:lvl1pPr>
              <a:lvl2pPr marL="457200" algn="l" rtl="0" fontAlgn="base">
                <a:spcBef>
                  <a:spcPct val="0"/>
                </a:spcBef>
                <a:spcAft>
                  <a:spcPct val="0"/>
                </a:spcAft>
                <a:defRPr sz="2400" kern="1200">
                  <a:solidFill>
                    <a:schemeClr val="tx1"/>
                  </a:solidFill>
                  <a:latin typeface="Verdana" pitchFamily="34" charset="0"/>
                  <a:ea typeface="MS PGothic" pitchFamily="34" charset="-128"/>
                  <a:cs typeface="+mn-cs"/>
                </a:defRPr>
              </a:lvl2pPr>
              <a:lvl3pPr marL="914400" algn="l" rtl="0" fontAlgn="base">
                <a:spcBef>
                  <a:spcPct val="0"/>
                </a:spcBef>
                <a:spcAft>
                  <a:spcPct val="0"/>
                </a:spcAft>
                <a:defRPr sz="2400" kern="1200">
                  <a:solidFill>
                    <a:schemeClr val="tx1"/>
                  </a:solidFill>
                  <a:latin typeface="Verdana" pitchFamily="34" charset="0"/>
                  <a:ea typeface="MS PGothic" pitchFamily="34" charset="-128"/>
                  <a:cs typeface="+mn-cs"/>
                </a:defRPr>
              </a:lvl3pPr>
              <a:lvl4pPr marL="1371600" algn="l" rtl="0" fontAlgn="base">
                <a:spcBef>
                  <a:spcPct val="0"/>
                </a:spcBef>
                <a:spcAft>
                  <a:spcPct val="0"/>
                </a:spcAft>
                <a:defRPr sz="2400" kern="1200">
                  <a:solidFill>
                    <a:schemeClr val="tx1"/>
                  </a:solidFill>
                  <a:latin typeface="Verdana" pitchFamily="34" charset="0"/>
                  <a:ea typeface="MS PGothic" pitchFamily="34" charset="-128"/>
                  <a:cs typeface="+mn-cs"/>
                </a:defRPr>
              </a:lvl4pPr>
              <a:lvl5pPr marL="1828800" algn="l" rtl="0" fontAlgn="base">
                <a:spcBef>
                  <a:spcPct val="0"/>
                </a:spcBef>
                <a:spcAft>
                  <a:spcPct val="0"/>
                </a:spcAft>
                <a:defRPr sz="2400" kern="1200">
                  <a:solidFill>
                    <a:schemeClr val="tx1"/>
                  </a:solidFill>
                  <a:latin typeface="Verdana" pitchFamily="34" charset="0"/>
                  <a:ea typeface="MS PGothic" pitchFamily="34" charset="-128"/>
                  <a:cs typeface="+mn-cs"/>
                </a:defRPr>
              </a:lvl5pPr>
              <a:lvl6pPr marL="2286000" algn="l" defTabSz="914400" rtl="0" eaLnBrk="1" latinLnBrk="0" hangingPunct="1">
                <a:defRPr sz="2400" kern="1200">
                  <a:solidFill>
                    <a:schemeClr val="tx1"/>
                  </a:solidFill>
                  <a:latin typeface="Verdana" pitchFamily="34" charset="0"/>
                  <a:ea typeface="MS PGothic" pitchFamily="34" charset="-128"/>
                  <a:cs typeface="+mn-cs"/>
                </a:defRPr>
              </a:lvl6pPr>
              <a:lvl7pPr marL="2743200" algn="l" defTabSz="914400" rtl="0" eaLnBrk="1" latinLnBrk="0" hangingPunct="1">
                <a:defRPr sz="2400" kern="1200">
                  <a:solidFill>
                    <a:schemeClr val="tx1"/>
                  </a:solidFill>
                  <a:latin typeface="Verdana" pitchFamily="34" charset="0"/>
                  <a:ea typeface="MS PGothic" pitchFamily="34" charset="-128"/>
                  <a:cs typeface="+mn-cs"/>
                </a:defRPr>
              </a:lvl7pPr>
              <a:lvl8pPr marL="3200400" algn="l" defTabSz="914400" rtl="0" eaLnBrk="1" latinLnBrk="0" hangingPunct="1">
                <a:defRPr sz="2400" kern="1200">
                  <a:solidFill>
                    <a:schemeClr val="tx1"/>
                  </a:solidFill>
                  <a:latin typeface="Verdana" pitchFamily="34" charset="0"/>
                  <a:ea typeface="MS PGothic" pitchFamily="34" charset="-128"/>
                  <a:cs typeface="+mn-cs"/>
                </a:defRPr>
              </a:lvl8pPr>
              <a:lvl9pPr marL="3657600" algn="l" defTabSz="914400" rtl="0" eaLnBrk="1" latinLnBrk="0" hangingPunct="1">
                <a:defRPr sz="2400" kern="1200">
                  <a:solidFill>
                    <a:schemeClr val="tx1"/>
                  </a:solidFill>
                  <a:latin typeface="Verdana" pitchFamily="34" charset="0"/>
                  <a:ea typeface="MS PGothic" pitchFamily="34" charset="-128"/>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pacer</a:t>
              </a:r>
            </a:p>
          </p:txBody>
        </p:sp>
        <p:sp>
          <p:nvSpPr>
            <p:cNvPr id="137" name="Freeform 253">
              <a:extLst>
                <a:ext uri="{FF2B5EF4-FFF2-40B4-BE49-F238E27FC236}">
                  <a16:creationId xmlns:a16="http://schemas.microsoft.com/office/drawing/2014/main" id="{3F4F485E-7F2D-2766-008A-AE03072CB3D7}"/>
                </a:ext>
              </a:extLst>
            </p:cNvPr>
            <p:cNvSpPr>
              <a:spLocks/>
            </p:cNvSpPr>
            <p:nvPr/>
          </p:nvSpPr>
          <p:spPr bwMode="auto">
            <a:xfrm rot="10800000">
              <a:off x="4957214" y="1794738"/>
              <a:ext cx="533496" cy="45606"/>
            </a:xfrm>
            <a:custGeom>
              <a:avLst/>
              <a:gdLst>
                <a:gd name="T0" fmla="*/ 0 w 2499360"/>
                <a:gd name="T1" fmla="*/ 0 h 286702"/>
                <a:gd name="T2" fmla="*/ 1 w 2499360"/>
                <a:gd name="T3" fmla="*/ 0 h 286702"/>
                <a:gd name="T4" fmla="*/ 1 w 2499360"/>
                <a:gd name="T5" fmla="*/ 0 h 286702"/>
                <a:gd name="T6" fmla="*/ 1 w 2499360"/>
                <a:gd name="T7" fmla="*/ 0 h 286702"/>
                <a:gd name="T8" fmla="*/ 1 w 2499360"/>
                <a:gd name="T9" fmla="*/ 0 h 286702"/>
                <a:gd name="T10" fmla="*/ 1 w 2499360"/>
                <a:gd name="T11" fmla="*/ 0 h 286702"/>
                <a:gd name="T12" fmla="*/ 1 w 2499360"/>
                <a:gd name="T13" fmla="*/ 0 h 286702"/>
                <a:gd name="T14" fmla="*/ 1 w 2499360"/>
                <a:gd name="T15" fmla="*/ 0 h 286702"/>
                <a:gd name="T16" fmla="*/ 1 w 2499360"/>
                <a:gd name="T17" fmla="*/ 0 h 286702"/>
                <a:gd name="T18" fmla="*/ 1 w 2499360"/>
                <a:gd name="T19" fmla="*/ 0 h 286702"/>
                <a:gd name="T20" fmla="*/ 1 w 2499360"/>
                <a:gd name="T21" fmla="*/ 0 h 286702"/>
                <a:gd name="T22" fmla="*/ 1 w 2499360"/>
                <a:gd name="T23" fmla="*/ 0 h 286702"/>
                <a:gd name="T24" fmla="*/ 1 w 2499360"/>
                <a:gd name="T25" fmla="*/ 0 h 286702"/>
                <a:gd name="T26" fmla="*/ 1 w 2499360"/>
                <a:gd name="T27" fmla="*/ 0 h 286702"/>
                <a:gd name="T28" fmla="*/ 1 w 2499360"/>
                <a:gd name="T29" fmla="*/ 0 h 286702"/>
                <a:gd name="T30" fmla="*/ 1 w 2499360"/>
                <a:gd name="T31" fmla="*/ 0 h 286702"/>
                <a:gd name="T32" fmla="*/ 1 w 2499360"/>
                <a:gd name="T33" fmla="*/ 0 h 286702"/>
                <a:gd name="T34" fmla="*/ 1 w 2499360"/>
                <a:gd name="T35" fmla="*/ 0 h 286702"/>
                <a:gd name="T36" fmla="*/ 1 w 2499360"/>
                <a:gd name="T37" fmla="*/ 0 h 2867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99360"/>
                <a:gd name="T58" fmla="*/ 0 h 286702"/>
                <a:gd name="T59" fmla="*/ 2499360 w 2499360"/>
                <a:gd name="T60" fmla="*/ 286702 h 28670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99360" h="286702">
                  <a:moveTo>
                    <a:pt x="0" y="286702"/>
                  </a:moveTo>
                  <a:lnTo>
                    <a:pt x="91440" y="0"/>
                  </a:lnTo>
                  <a:lnTo>
                    <a:pt x="233680" y="285750"/>
                  </a:lnTo>
                  <a:lnTo>
                    <a:pt x="355600" y="0"/>
                  </a:lnTo>
                  <a:lnTo>
                    <a:pt x="518160" y="285750"/>
                  </a:lnTo>
                  <a:lnTo>
                    <a:pt x="650240" y="0"/>
                  </a:lnTo>
                  <a:lnTo>
                    <a:pt x="802640" y="285750"/>
                  </a:lnTo>
                  <a:lnTo>
                    <a:pt x="934720" y="0"/>
                  </a:lnTo>
                  <a:lnTo>
                    <a:pt x="1087120" y="285750"/>
                  </a:lnTo>
                  <a:lnTo>
                    <a:pt x="1239520" y="0"/>
                  </a:lnTo>
                  <a:lnTo>
                    <a:pt x="1361440" y="285750"/>
                  </a:lnTo>
                  <a:lnTo>
                    <a:pt x="1513840" y="0"/>
                  </a:lnTo>
                  <a:lnTo>
                    <a:pt x="1645920" y="285750"/>
                  </a:lnTo>
                  <a:lnTo>
                    <a:pt x="1808480" y="0"/>
                  </a:lnTo>
                  <a:lnTo>
                    <a:pt x="1930400" y="285750"/>
                  </a:lnTo>
                  <a:lnTo>
                    <a:pt x="2062480" y="0"/>
                  </a:lnTo>
                  <a:lnTo>
                    <a:pt x="2214880" y="285750"/>
                  </a:lnTo>
                  <a:lnTo>
                    <a:pt x="2377440" y="0"/>
                  </a:lnTo>
                  <a:lnTo>
                    <a:pt x="2499360" y="285750"/>
                  </a:lnTo>
                </a:path>
              </a:pathLst>
            </a:custGeom>
            <a:solidFill>
              <a:srgbClr val="FFFFFF"/>
            </a:solidFill>
            <a:ln w="19050" cap="flat" cmpd="sng">
              <a:solidFill>
                <a:schemeClr val="accent6"/>
              </a:solidFill>
              <a:prstDash val="solid"/>
              <a:round/>
              <a:headEnd type="none" w="med" len="med"/>
              <a:tailEnd type="none" w="med" len="med"/>
            </a:ln>
          </p:spPr>
          <p:txBody>
            <a:bodyPr/>
            <a:lstStyle/>
            <a:p>
              <a:pPr marL="0" marR="0" lvl="0" indent="0" algn="l" defTabSz="121803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38" name="TextBox 83">
              <a:extLst>
                <a:ext uri="{FF2B5EF4-FFF2-40B4-BE49-F238E27FC236}">
                  <a16:creationId xmlns:a16="http://schemas.microsoft.com/office/drawing/2014/main" id="{16712A53-84C9-70C9-D32A-5464E16C8D4F}"/>
                </a:ext>
              </a:extLst>
            </p:cNvPr>
            <p:cNvSpPr txBox="1">
              <a:spLocks noChangeArrowheads="1"/>
            </p:cNvSpPr>
            <p:nvPr/>
          </p:nvSpPr>
          <p:spPr bwMode="auto">
            <a:xfrm rot="16200000">
              <a:off x="4637133" y="1745196"/>
              <a:ext cx="47672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ctr" defTabSz="121803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COOH</a:t>
              </a:r>
            </a:p>
          </p:txBody>
        </p:sp>
        <p:grpSp>
          <p:nvGrpSpPr>
            <p:cNvPr id="5" name="Group 4">
              <a:extLst>
                <a:ext uri="{FF2B5EF4-FFF2-40B4-BE49-F238E27FC236}">
                  <a16:creationId xmlns:a16="http://schemas.microsoft.com/office/drawing/2014/main" id="{D140663D-FB3F-2935-DED5-09514CEB2BAA}"/>
                </a:ext>
              </a:extLst>
            </p:cNvPr>
            <p:cNvGrpSpPr/>
            <p:nvPr/>
          </p:nvGrpSpPr>
          <p:grpSpPr>
            <a:xfrm>
              <a:off x="5899120" y="1216296"/>
              <a:ext cx="2561332" cy="1145293"/>
              <a:chOff x="5899120" y="1216296"/>
              <a:chExt cx="2561332" cy="1145293"/>
            </a:xfrm>
          </p:grpSpPr>
          <p:sp>
            <p:nvSpPr>
              <p:cNvPr id="125" name="Oval 124">
                <a:extLst>
                  <a:ext uri="{FF2B5EF4-FFF2-40B4-BE49-F238E27FC236}">
                    <a16:creationId xmlns:a16="http://schemas.microsoft.com/office/drawing/2014/main" id="{A5D6AE8E-F55A-D576-90E9-BFA3E98A5A8A}"/>
                  </a:ext>
                </a:extLst>
              </p:cNvPr>
              <p:cNvSpPr/>
              <p:nvPr/>
            </p:nvSpPr>
            <p:spPr bwMode="auto">
              <a:xfrm>
                <a:off x="7289375" y="2177804"/>
                <a:ext cx="235930" cy="18378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rg</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41" name="Oval 140">
                <a:extLst>
                  <a:ext uri="{FF2B5EF4-FFF2-40B4-BE49-F238E27FC236}">
                    <a16:creationId xmlns:a16="http://schemas.microsoft.com/office/drawing/2014/main" id="{36F02F1F-8C4F-8ADB-0DEB-5D1C9B2344DE}"/>
                  </a:ext>
                </a:extLst>
              </p:cNvPr>
              <p:cNvSpPr/>
              <p:nvPr/>
            </p:nvSpPr>
            <p:spPr bwMode="auto">
              <a:xfrm>
                <a:off x="6126009" y="1791328"/>
                <a:ext cx="235929" cy="18378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ys</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4" name="Oval 53">
                <a:extLst>
                  <a:ext uri="{FF2B5EF4-FFF2-40B4-BE49-F238E27FC236}">
                    <a16:creationId xmlns:a16="http://schemas.microsoft.com/office/drawing/2014/main" id="{963EDC70-A936-9DE8-C887-2FA256907D86}"/>
                  </a:ext>
                </a:extLst>
              </p:cNvPr>
              <p:cNvSpPr/>
              <p:nvPr/>
            </p:nvSpPr>
            <p:spPr bwMode="auto">
              <a:xfrm>
                <a:off x="6058130" y="1396048"/>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His</a:t>
                </a:r>
              </a:p>
            </p:txBody>
          </p:sp>
          <p:sp>
            <p:nvSpPr>
              <p:cNvPr id="56" name="Oval 55">
                <a:extLst>
                  <a:ext uri="{FF2B5EF4-FFF2-40B4-BE49-F238E27FC236}">
                    <a16:creationId xmlns:a16="http://schemas.microsoft.com/office/drawing/2014/main" id="{8C86B05F-B561-538B-6344-7E95CD25D031}"/>
                  </a:ext>
                </a:extLst>
              </p:cNvPr>
              <p:cNvSpPr/>
              <p:nvPr/>
            </p:nvSpPr>
            <p:spPr bwMode="auto">
              <a:xfrm>
                <a:off x="7019787" y="1394086"/>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hr</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8" name="Oval 57">
                <a:extLst>
                  <a:ext uri="{FF2B5EF4-FFF2-40B4-BE49-F238E27FC236}">
                    <a16:creationId xmlns:a16="http://schemas.microsoft.com/office/drawing/2014/main" id="{98C645C5-4FDB-E3BC-026D-951FD2FD743D}"/>
                  </a:ext>
                </a:extLst>
              </p:cNvPr>
              <p:cNvSpPr/>
              <p:nvPr/>
            </p:nvSpPr>
            <p:spPr bwMode="auto">
              <a:xfrm>
                <a:off x="6366285" y="1792440"/>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la</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0" name="Oval 59">
                <a:extLst>
                  <a:ext uri="{FF2B5EF4-FFF2-40B4-BE49-F238E27FC236}">
                    <a16:creationId xmlns:a16="http://schemas.microsoft.com/office/drawing/2014/main" id="{A8FB9AF5-3AE7-3A14-CF43-8373092F5A43}"/>
                  </a:ext>
                </a:extLst>
              </p:cNvPr>
              <p:cNvSpPr/>
              <p:nvPr/>
            </p:nvSpPr>
            <p:spPr bwMode="auto">
              <a:xfrm>
                <a:off x="6607942" y="1791357"/>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la</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2" name="Oval 61">
                <a:extLst>
                  <a:ext uri="{FF2B5EF4-FFF2-40B4-BE49-F238E27FC236}">
                    <a16:creationId xmlns:a16="http://schemas.microsoft.com/office/drawing/2014/main" id="{DB44E403-7203-3AF5-E9A9-267D9CC508CF}"/>
                  </a:ext>
                </a:extLst>
              </p:cNvPr>
              <p:cNvSpPr/>
              <p:nvPr/>
            </p:nvSpPr>
            <p:spPr bwMode="auto">
              <a:xfrm>
                <a:off x="6320439" y="2174520"/>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la</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2" name="Oval 71">
                <a:extLst>
                  <a:ext uri="{FF2B5EF4-FFF2-40B4-BE49-F238E27FC236}">
                    <a16:creationId xmlns:a16="http://schemas.microsoft.com/office/drawing/2014/main" id="{0EC04A93-AF99-72B3-83A0-1CE33692CFBF}"/>
                  </a:ext>
                </a:extLst>
              </p:cNvPr>
              <p:cNvSpPr/>
              <p:nvPr/>
            </p:nvSpPr>
            <p:spPr bwMode="auto">
              <a:xfrm>
                <a:off x="7768396" y="2175024"/>
                <a:ext cx="235928"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rg</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4" name="Oval 73">
                <a:extLst>
                  <a:ext uri="{FF2B5EF4-FFF2-40B4-BE49-F238E27FC236}">
                    <a16:creationId xmlns:a16="http://schemas.microsoft.com/office/drawing/2014/main" id="{F272DFE9-BEBB-E593-5B62-D2E89BCE8A36}"/>
                  </a:ext>
                </a:extLst>
              </p:cNvPr>
              <p:cNvSpPr/>
              <p:nvPr/>
            </p:nvSpPr>
            <p:spPr bwMode="auto">
              <a:xfrm>
                <a:off x="7985288" y="1395576"/>
                <a:ext cx="235928"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sp</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6" name="Oval 75">
                <a:extLst>
                  <a:ext uri="{FF2B5EF4-FFF2-40B4-BE49-F238E27FC236}">
                    <a16:creationId xmlns:a16="http://schemas.microsoft.com/office/drawing/2014/main" id="{325E5B08-5891-7AD4-27A4-E9891FF871A9}"/>
                  </a:ext>
                </a:extLst>
              </p:cNvPr>
              <p:cNvSpPr/>
              <p:nvPr/>
            </p:nvSpPr>
            <p:spPr bwMode="auto">
              <a:xfrm>
                <a:off x="6542459" y="1394087"/>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u</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8" name="Oval 77">
                <a:extLst>
                  <a:ext uri="{FF2B5EF4-FFF2-40B4-BE49-F238E27FC236}">
                    <a16:creationId xmlns:a16="http://schemas.microsoft.com/office/drawing/2014/main" id="{EA05474D-6F6E-4374-BD28-1B6BBCBF8383}"/>
                  </a:ext>
                </a:extLst>
              </p:cNvPr>
              <p:cNvSpPr/>
              <p:nvPr/>
            </p:nvSpPr>
            <p:spPr bwMode="auto">
              <a:xfrm>
                <a:off x="7329458" y="1791584"/>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u</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0" name="Oval 79">
                <a:extLst>
                  <a:ext uri="{FF2B5EF4-FFF2-40B4-BE49-F238E27FC236}">
                    <a16:creationId xmlns:a16="http://schemas.microsoft.com/office/drawing/2014/main" id="{8EFCD4E7-82AE-5735-FFC3-7311A2D513D7}"/>
                  </a:ext>
                </a:extLst>
              </p:cNvPr>
              <p:cNvSpPr/>
              <p:nvPr/>
            </p:nvSpPr>
            <p:spPr bwMode="auto">
              <a:xfrm>
                <a:off x="5899120" y="1860087"/>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u</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2" name="Oval 81">
                <a:extLst>
                  <a:ext uri="{FF2B5EF4-FFF2-40B4-BE49-F238E27FC236}">
                    <a16:creationId xmlns:a16="http://schemas.microsoft.com/office/drawing/2014/main" id="{0554CBFF-8E65-47C6-C6BA-B95F991C119D}"/>
                  </a:ext>
                </a:extLst>
              </p:cNvPr>
              <p:cNvSpPr/>
              <p:nvPr/>
            </p:nvSpPr>
            <p:spPr bwMode="auto">
              <a:xfrm>
                <a:off x="6780219" y="1394997"/>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y</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4" name="Oval 83">
                <a:extLst>
                  <a:ext uri="{FF2B5EF4-FFF2-40B4-BE49-F238E27FC236}">
                    <a16:creationId xmlns:a16="http://schemas.microsoft.com/office/drawing/2014/main" id="{9E516934-C962-B370-5698-D441BCFDBD29}"/>
                  </a:ext>
                </a:extLst>
              </p:cNvPr>
              <p:cNvSpPr/>
              <p:nvPr/>
            </p:nvSpPr>
            <p:spPr bwMode="auto">
              <a:xfrm>
                <a:off x="7089279" y="1792307"/>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y</a:t>
                </a:r>
                <a:endParaRPr kumimoji="0" lang="en-US" sz="1067" b="0"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6" name="Oval 85">
                <a:extLst>
                  <a:ext uri="{FF2B5EF4-FFF2-40B4-BE49-F238E27FC236}">
                    <a16:creationId xmlns:a16="http://schemas.microsoft.com/office/drawing/2014/main" id="{5B2BF18E-13B2-C3DD-52F6-42AC92E18B62}"/>
                  </a:ext>
                </a:extLst>
              </p:cNvPr>
              <p:cNvSpPr/>
              <p:nvPr/>
            </p:nvSpPr>
            <p:spPr bwMode="auto">
              <a:xfrm>
                <a:off x="8009468" y="2174747"/>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y</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8" name="Oval 87">
                <a:extLst>
                  <a:ext uri="{FF2B5EF4-FFF2-40B4-BE49-F238E27FC236}">
                    <a16:creationId xmlns:a16="http://schemas.microsoft.com/office/drawing/2014/main" id="{D691AE0D-9329-BCC6-D3D8-AB433DA56547}"/>
                  </a:ext>
                </a:extLst>
              </p:cNvPr>
              <p:cNvSpPr/>
              <p:nvPr/>
            </p:nvSpPr>
            <p:spPr bwMode="auto">
              <a:xfrm>
                <a:off x="7527863" y="2174491"/>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y</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0" name="Oval 89">
                <a:extLst>
                  <a:ext uri="{FF2B5EF4-FFF2-40B4-BE49-F238E27FC236}">
                    <a16:creationId xmlns:a16="http://schemas.microsoft.com/office/drawing/2014/main" id="{66C75BA8-0C79-BF01-22AE-463F0FBF1FB5}"/>
                  </a:ext>
                </a:extLst>
              </p:cNvPr>
              <p:cNvSpPr/>
              <p:nvPr/>
            </p:nvSpPr>
            <p:spPr bwMode="auto">
              <a:xfrm>
                <a:off x="7502992" y="1394996"/>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hr</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2" name="Oval 91">
                <a:extLst>
                  <a:ext uri="{FF2B5EF4-FFF2-40B4-BE49-F238E27FC236}">
                    <a16:creationId xmlns:a16="http://schemas.microsoft.com/office/drawing/2014/main" id="{211F049F-4545-FEDF-B388-FD848145EB84}"/>
                  </a:ext>
                </a:extLst>
              </p:cNvPr>
              <p:cNvSpPr/>
              <p:nvPr/>
            </p:nvSpPr>
            <p:spPr bwMode="auto">
              <a:xfrm>
                <a:off x="7259655" y="1394863"/>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he</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4" name="Oval 93">
                <a:extLst>
                  <a:ext uri="{FF2B5EF4-FFF2-40B4-BE49-F238E27FC236}">
                    <a16:creationId xmlns:a16="http://schemas.microsoft.com/office/drawing/2014/main" id="{C9AE665A-1B48-0429-38FA-E3CA04242F10}"/>
                  </a:ext>
                </a:extLst>
              </p:cNvPr>
              <p:cNvSpPr/>
              <p:nvPr/>
            </p:nvSpPr>
            <p:spPr bwMode="auto">
              <a:xfrm>
                <a:off x="5902687" y="2050123"/>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he</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6" name="Oval 95">
                <a:extLst>
                  <a:ext uri="{FF2B5EF4-FFF2-40B4-BE49-F238E27FC236}">
                    <a16:creationId xmlns:a16="http://schemas.microsoft.com/office/drawing/2014/main" id="{FDA23E1E-DC41-A76B-0C27-1496C90E2564}"/>
                  </a:ext>
                </a:extLst>
              </p:cNvPr>
              <p:cNvSpPr/>
              <p:nvPr/>
            </p:nvSpPr>
            <p:spPr bwMode="auto">
              <a:xfrm>
                <a:off x="7745031" y="1394086"/>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r</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8" name="Oval 97">
                <a:extLst>
                  <a:ext uri="{FF2B5EF4-FFF2-40B4-BE49-F238E27FC236}">
                    <a16:creationId xmlns:a16="http://schemas.microsoft.com/office/drawing/2014/main" id="{CD867D3A-FDD5-AD31-6F41-D74C767EE5D4}"/>
                  </a:ext>
                </a:extLst>
              </p:cNvPr>
              <p:cNvSpPr/>
              <p:nvPr/>
            </p:nvSpPr>
            <p:spPr bwMode="auto">
              <a:xfrm>
                <a:off x="8049851" y="1788898"/>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r</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0" name="Oval 99">
                <a:extLst>
                  <a:ext uri="{FF2B5EF4-FFF2-40B4-BE49-F238E27FC236}">
                    <a16:creationId xmlns:a16="http://schemas.microsoft.com/office/drawing/2014/main" id="{9D7CD5F3-5DB9-2BE8-0640-06A429649ADF}"/>
                  </a:ext>
                </a:extLst>
              </p:cNvPr>
              <p:cNvSpPr/>
              <p:nvPr/>
            </p:nvSpPr>
            <p:spPr bwMode="auto">
              <a:xfrm>
                <a:off x="8224522" y="1660397"/>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r</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2" name="Oval 101">
                <a:extLst>
                  <a:ext uri="{FF2B5EF4-FFF2-40B4-BE49-F238E27FC236}">
                    <a16:creationId xmlns:a16="http://schemas.microsoft.com/office/drawing/2014/main" id="{0777A9DF-EE69-0588-26A9-BDE075AE8D2D}"/>
                  </a:ext>
                </a:extLst>
              </p:cNvPr>
              <p:cNvSpPr/>
              <p:nvPr/>
            </p:nvSpPr>
            <p:spPr bwMode="auto">
              <a:xfrm>
                <a:off x="8205849" y="1471562"/>
                <a:ext cx="235931"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Val</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4" name="Oval 103">
                <a:extLst>
                  <a:ext uri="{FF2B5EF4-FFF2-40B4-BE49-F238E27FC236}">
                    <a16:creationId xmlns:a16="http://schemas.microsoft.com/office/drawing/2014/main" id="{86504778-BDF3-31B3-0F5E-7527404F902F}"/>
                  </a:ext>
                </a:extLst>
              </p:cNvPr>
              <p:cNvSpPr/>
              <p:nvPr/>
            </p:nvSpPr>
            <p:spPr bwMode="auto">
              <a:xfrm>
                <a:off x="7046586" y="2175664"/>
                <a:ext cx="235931"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Val</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6" name="Oval 105">
                <a:extLst>
                  <a:ext uri="{FF2B5EF4-FFF2-40B4-BE49-F238E27FC236}">
                    <a16:creationId xmlns:a16="http://schemas.microsoft.com/office/drawing/2014/main" id="{BDFDA3BE-3F8C-FA9D-AD79-6789903FBF53}"/>
                  </a:ext>
                </a:extLst>
              </p:cNvPr>
              <p:cNvSpPr/>
              <p:nvPr/>
            </p:nvSpPr>
            <p:spPr bwMode="auto">
              <a:xfrm>
                <a:off x="6849188" y="1791481"/>
                <a:ext cx="235929"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ln</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8" name="Oval 107">
                <a:extLst>
                  <a:ext uri="{FF2B5EF4-FFF2-40B4-BE49-F238E27FC236}">
                    <a16:creationId xmlns:a16="http://schemas.microsoft.com/office/drawing/2014/main" id="{10C98FBF-F172-5798-73BC-62B602BA81EC}"/>
                  </a:ext>
                </a:extLst>
              </p:cNvPr>
              <p:cNvSpPr/>
              <p:nvPr/>
            </p:nvSpPr>
            <p:spPr bwMode="auto">
              <a:xfrm>
                <a:off x="7571207" y="1791491"/>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eu</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0" name="Oval 109">
                <a:extLst>
                  <a:ext uri="{FF2B5EF4-FFF2-40B4-BE49-F238E27FC236}">
                    <a16:creationId xmlns:a16="http://schemas.microsoft.com/office/drawing/2014/main" id="{4235A4F0-C373-63A1-8214-DF678BE8E233}"/>
                  </a:ext>
                </a:extLst>
              </p:cNvPr>
              <p:cNvSpPr/>
              <p:nvPr/>
            </p:nvSpPr>
            <p:spPr bwMode="auto">
              <a:xfrm>
                <a:off x="7811976" y="1791451"/>
                <a:ext cx="235931"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yr</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2" name="Oval 111">
                <a:extLst>
                  <a:ext uri="{FF2B5EF4-FFF2-40B4-BE49-F238E27FC236}">
                    <a16:creationId xmlns:a16="http://schemas.microsoft.com/office/drawing/2014/main" id="{F800D898-9EA3-C9F8-04BB-2132C719CA80}"/>
                  </a:ext>
                </a:extLst>
              </p:cNvPr>
              <p:cNvSpPr/>
              <p:nvPr/>
            </p:nvSpPr>
            <p:spPr bwMode="auto">
              <a:xfrm>
                <a:off x="6806603" y="2175136"/>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eu</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4" name="Oval 113">
                <a:extLst>
                  <a:ext uri="{FF2B5EF4-FFF2-40B4-BE49-F238E27FC236}">
                    <a16:creationId xmlns:a16="http://schemas.microsoft.com/office/drawing/2014/main" id="{7393E64F-2A62-AC39-77D5-D0B29DAAA4AB}"/>
                  </a:ext>
                </a:extLst>
              </p:cNvPr>
              <p:cNvSpPr/>
              <p:nvPr/>
            </p:nvSpPr>
            <p:spPr bwMode="auto">
              <a:xfrm>
                <a:off x="6078638" y="2175412"/>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le</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6" name="Oval 115">
                <a:extLst>
                  <a:ext uri="{FF2B5EF4-FFF2-40B4-BE49-F238E27FC236}">
                    <a16:creationId xmlns:a16="http://schemas.microsoft.com/office/drawing/2014/main" id="{4769FF77-1F69-C2CD-35DE-295CEA7A7534}"/>
                  </a:ext>
                </a:extLst>
              </p:cNvPr>
              <p:cNvSpPr/>
              <p:nvPr/>
            </p:nvSpPr>
            <p:spPr bwMode="auto">
              <a:xfrm>
                <a:off x="6564385" y="2174518"/>
                <a:ext cx="235930" cy="18378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CA"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p</a:t>
                </a: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8" name="Oval 117">
                <a:extLst>
                  <a:ext uri="{FF2B5EF4-FFF2-40B4-BE49-F238E27FC236}">
                    <a16:creationId xmlns:a16="http://schemas.microsoft.com/office/drawing/2014/main" id="{29B09168-F89C-9DF2-2FC8-D81E2C3FED64}"/>
                  </a:ext>
                </a:extLst>
              </p:cNvPr>
              <p:cNvSpPr/>
              <p:nvPr/>
            </p:nvSpPr>
            <p:spPr bwMode="auto">
              <a:xfrm>
                <a:off x="6301364" y="1394105"/>
                <a:ext cx="235930" cy="18378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marL="0" marR="0" lvl="0" indent="0" algn="ctr" defTabSz="12180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ib</a:t>
                </a:r>
                <a:endParaRPr kumimoji="0" lang="en-GB" sz="10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1" name="TextBox 247">
                <a:extLst>
                  <a:ext uri="{FF2B5EF4-FFF2-40B4-BE49-F238E27FC236}">
                    <a16:creationId xmlns:a16="http://schemas.microsoft.com/office/drawing/2014/main" id="{60E32AC1-62B7-CA78-6E98-5F8D2E3307EF}"/>
                  </a:ext>
                </a:extLst>
              </p:cNvPr>
              <p:cNvSpPr txBox="1">
                <a:spLocks noChangeArrowheads="1"/>
              </p:cNvSpPr>
              <p:nvPr/>
            </p:nvSpPr>
            <p:spPr bwMode="auto">
              <a:xfrm>
                <a:off x="6313376" y="1216296"/>
                <a:ext cx="20462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ctr" defTabSz="121803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a:t>
                </a:r>
                <a:endParaRPr kumimoji="0" lang="en-GB" sz="1467"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3" name="TextBox 249">
                <a:extLst>
                  <a:ext uri="{FF2B5EF4-FFF2-40B4-BE49-F238E27FC236}">
                    <a16:creationId xmlns:a16="http://schemas.microsoft.com/office/drawing/2014/main" id="{F8045DDC-CFDB-A237-AD33-7FA885391F18}"/>
                  </a:ext>
                </a:extLst>
              </p:cNvPr>
              <p:cNvSpPr txBox="1">
                <a:spLocks noChangeArrowheads="1"/>
              </p:cNvSpPr>
              <p:nvPr/>
            </p:nvSpPr>
            <p:spPr bwMode="auto">
              <a:xfrm>
                <a:off x="6106991" y="1953509"/>
                <a:ext cx="27074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ctr" defTabSz="121803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6</a:t>
                </a:r>
                <a:endParaRPr kumimoji="0" lang="en-GB" sz="1467"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6" name="TextBox 16">
                <a:extLst>
                  <a:ext uri="{FF2B5EF4-FFF2-40B4-BE49-F238E27FC236}">
                    <a16:creationId xmlns:a16="http://schemas.microsoft.com/office/drawing/2014/main" id="{B49416F6-F556-F1E0-CF4A-F6AF9B6FF552}"/>
                  </a:ext>
                </a:extLst>
              </p:cNvPr>
              <p:cNvSpPr txBox="1">
                <a:spLocks noChangeArrowheads="1"/>
              </p:cNvSpPr>
              <p:nvPr/>
            </p:nvSpPr>
            <p:spPr bwMode="auto">
              <a:xfrm>
                <a:off x="7279996" y="1996497"/>
                <a:ext cx="27074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ctr" defTabSz="121803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4</a:t>
                </a:r>
                <a:endParaRPr kumimoji="0" lang="en-GB" sz="1467"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47" name="TextBox 11">
              <a:extLst>
                <a:ext uri="{FF2B5EF4-FFF2-40B4-BE49-F238E27FC236}">
                  <a16:creationId xmlns:a16="http://schemas.microsoft.com/office/drawing/2014/main" id="{EFF4092D-4941-ED03-DC1F-24B40ABD537A}"/>
                </a:ext>
              </a:extLst>
            </p:cNvPr>
            <p:cNvSpPr txBox="1">
              <a:spLocks noChangeArrowheads="1"/>
            </p:cNvSpPr>
            <p:nvPr/>
          </p:nvSpPr>
          <p:spPr bwMode="auto">
            <a:xfrm>
              <a:off x="4165789" y="1239370"/>
              <a:ext cx="1916630" cy="415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type="arrow" w="med" len="me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r" defTabSz="121803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mino acid substitution at position 8</a:t>
              </a:r>
            </a:p>
            <a:p>
              <a:pPr marL="0" marR="0" lvl="0" indent="0" algn="r" defTabSz="121803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lanine to alpha-</a:t>
              </a:r>
              <a:r>
                <a:rPr kumimoji="0" lang="en-GB" sz="10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minoisobutyric</a:t>
              </a:r>
              <a:r>
                <a:rPr kumimoji="0" lang="en-GB"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cid) </a:t>
              </a:r>
              <a:br>
                <a:rPr kumimoji="0" lang="en-GB"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altLang="en-US"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rotects against DPP-4 degradation</a:t>
              </a:r>
              <a:r>
                <a:rPr kumimoji="0" lang="en-GB" altLang="en-US" sz="1000" b="0"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a:t>
              </a:r>
              <a:endParaRPr kumimoji="0" lang="en-GB" sz="1000" b="1"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48" name="TextBox 245">
              <a:extLst>
                <a:ext uri="{FF2B5EF4-FFF2-40B4-BE49-F238E27FC236}">
                  <a16:creationId xmlns:a16="http://schemas.microsoft.com/office/drawing/2014/main" id="{EF36B438-A26B-64BE-EAB5-91BF10BBAF36}"/>
                </a:ext>
              </a:extLst>
            </p:cNvPr>
            <p:cNvSpPr txBox="1">
              <a:spLocks noChangeArrowheads="1"/>
            </p:cNvSpPr>
            <p:nvPr/>
          </p:nvSpPr>
          <p:spPr bwMode="auto">
            <a:xfrm>
              <a:off x="5802676" y="2390900"/>
              <a:ext cx="3093676"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type="arrow" w="med" len="med"/>
                </a14:hiddenLine>
              </a:ext>
            </a:extLst>
          </p:spPr>
          <p:txBody>
            <a:bodyPr wrap="squar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marL="0" marR="0" lvl="0" indent="0" algn="l" defTabSz="121803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mino acid substitution at position 34 </a:t>
              </a:r>
              <a:r>
                <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ysine to arginine) </a:t>
              </a:r>
              <a:r>
                <a:rPr kumimoji="0" lang="en-GB" alt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revents C-18 fatty di-acid binding at the wrong site</a:t>
              </a:r>
              <a:endParaRPr kumimoji="0" lang="en-GB" altLang="en-US" sz="1000" b="0" i="0" u="none" strike="noStrike" kern="120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92" name="TextBox 191">
            <a:extLst>
              <a:ext uri="{FF2B5EF4-FFF2-40B4-BE49-F238E27FC236}">
                <a16:creationId xmlns:a16="http://schemas.microsoft.com/office/drawing/2014/main" id="{D1F3A0B7-2860-2AB8-14B4-C3C067A5EDFD}"/>
              </a:ext>
            </a:extLst>
          </p:cNvPr>
          <p:cNvSpPr txBox="1"/>
          <p:nvPr/>
        </p:nvSpPr>
        <p:spPr>
          <a:xfrm>
            <a:off x="11122664" y="2926797"/>
            <a:ext cx="272510" cy="240259"/>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pis For Office"/>
                <a:ea typeface="+mn-ea"/>
                <a:cs typeface="+mn-cs"/>
              </a:rPr>
              <a:t>OH</a:t>
            </a:r>
          </a:p>
        </p:txBody>
      </p:sp>
      <p:cxnSp>
        <p:nvCxnSpPr>
          <p:cNvPr id="193" name="Straight Connector 192">
            <a:extLst>
              <a:ext uri="{FF2B5EF4-FFF2-40B4-BE49-F238E27FC236}">
                <a16:creationId xmlns:a16="http://schemas.microsoft.com/office/drawing/2014/main" id="{A839C2C0-C20E-4B25-997F-013CA3C63E92}"/>
              </a:ext>
            </a:extLst>
          </p:cNvPr>
          <p:cNvCxnSpPr>
            <a:cxnSpLocks/>
          </p:cNvCxnSpPr>
          <p:nvPr/>
        </p:nvCxnSpPr>
        <p:spPr>
          <a:xfrm flipH="1">
            <a:off x="11007808" y="3053275"/>
            <a:ext cx="107512" cy="62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4" name="Group 193">
            <a:extLst>
              <a:ext uri="{FF2B5EF4-FFF2-40B4-BE49-F238E27FC236}">
                <a16:creationId xmlns:a16="http://schemas.microsoft.com/office/drawing/2014/main" id="{D96FB500-9A29-D0D1-F097-1583EEFC242A}"/>
              </a:ext>
            </a:extLst>
          </p:cNvPr>
          <p:cNvGrpSpPr/>
          <p:nvPr/>
        </p:nvGrpSpPr>
        <p:grpSpPr>
          <a:xfrm>
            <a:off x="510999" y="3797442"/>
            <a:ext cx="6076364" cy="2469132"/>
            <a:chOff x="907010" y="3715383"/>
            <a:chExt cx="6074669" cy="2468444"/>
          </a:xfrm>
        </p:grpSpPr>
        <p:grpSp>
          <p:nvGrpSpPr>
            <p:cNvPr id="195" name="Group 194">
              <a:extLst>
                <a:ext uri="{FF2B5EF4-FFF2-40B4-BE49-F238E27FC236}">
                  <a16:creationId xmlns:a16="http://schemas.microsoft.com/office/drawing/2014/main" id="{667C586C-C8BE-799F-06F6-2993E3502666}"/>
                </a:ext>
              </a:extLst>
            </p:cNvPr>
            <p:cNvGrpSpPr/>
            <p:nvPr/>
          </p:nvGrpSpPr>
          <p:grpSpPr>
            <a:xfrm>
              <a:off x="907010" y="3715383"/>
              <a:ext cx="6074669" cy="2468444"/>
              <a:chOff x="907010" y="3715383"/>
              <a:chExt cx="6074669" cy="2468444"/>
            </a:xfrm>
          </p:grpSpPr>
          <p:grpSp>
            <p:nvGrpSpPr>
              <p:cNvPr id="197" name="Group 196">
                <a:extLst>
                  <a:ext uri="{FF2B5EF4-FFF2-40B4-BE49-F238E27FC236}">
                    <a16:creationId xmlns:a16="http://schemas.microsoft.com/office/drawing/2014/main" id="{1E7ADE1D-CEE7-EBF3-AC1F-D72F31F941DD}"/>
                  </a:ext>
                </a:extLst>
              </p:cNvPr>
              <p:cNvGrpSpPr/>
              <p:nvPr/>
            </p:nvGrpSpPr>
            <p:grpSpPr>
              <a:xfrm>
                <a:off x="907010" y="3715383"/>
                <a:ext cx="6074669" cy="2468444"/>
                <a:chOff x="310635" y="2803625"/>
                <a:chExt cx="5301340" cy="2154202"/>
              </a:xfrm>
            </p:grpSpPr>
            <p:grpSp>
              <p:nvGrpSpPr>
                <p:cNvPr id="208" name="Group 4">
                  <a:extLst>
                    <a:ext uri="{FF2B5EF4-FFF2-40B4-BE49-F238E27FC236}">
                      <a16:creationId xmlns:a16="http://schemas.microsoft.com/office/drawing/2014/main" id="{4D72EE8E-02E5-C660-8F70-55CE9A3226E7}"/>
                    </a:ext>
                  </a:extLst>
                </p:cNvPr>
                <p:cNvGrpSpPr>
                  <a:grpSpLocks noChangeAspect="1"/>
                </p:cNvGrpSpPr>
                <p:nvPr/>
              </p:nvGrpSpPr>
              <p:grpSpPr bwMode="auto">
                <a:xfrm>
                  <a:off x="400936" y="2803625"/>
                  <a:ext cx="4006205" cy="1740465"/>
                  <a:chOff x="1079" y="1295"/>
                  <a:chExt cx="3553" cy="1544"/>
                </a:xfrm>
                <a:solidFill>
                  <a:schemeClr val="bg2">
                    <a:lumMod val="60000"/>
                    <a:lumOff val="40000"/>
                  </a:schemeClr>
                </a:solidFill>
              </p:grpSpPr>
              <p:grpSp>
                <p:nvGrpSpPr>
                  <p:cNvPr id="223" name="Group 5">
                    <a:extLst>
                      <a:ext uri="{FF2B5EF4-FFF2-40B4-BE49-F238E27FC236}">
                        <a16:creationId xmlns:a16="http://schemas.microsoft.com/office/drawing/2014/main" id="{07D44643-E763-CC9A-2B1F-DDA0072E021A}"/>
                      </a:ext>
                    </a:extLst>
                  </p:cNvPr>
                  <p:cNvGrpSpPr>
                    <a:grpSpLocks noChangeAspect="1"/>
                  </p:cNvGrpSpPr>
                  <p:nvPr/>
                </p:nvGrpSpPr>
                <p:grpSpPr bwMode="auto">
                  <a:xfrm>
                    <a:off x="1079" y="1295"/>
                    <a:ext cx="3529" cy="1544"/>
                    <a:chOff x="1079" y="1295"/>
                    <a:chExt cx="3529" cy="1544"/>
                  </a:xfrm>
                  <a:grpFill/>
                </p:grpSpPr>
                <p:sp>
                  <p:nvSpPr>
                    <p:cNvPr id="232" name="Freeform 6">
                      <a:extLst>
                        <a:ext uri="{FF2B5EF4-FFF2-40B4-BE49-F238E27FC236}">
                          <a16:creationId xmlns:a16="http://schemas.microsoft.com/office/drawing/2014/main" id="{A9E95121-7A43-AA0B-1607-9E84013ADCAE}"/>
                        </a:ext>
                      </a:extLst>
                    </p:cNvPr>
                    <p:cNvSpPr>
                      <a:spLocks noChangeAspect="1"/>
                    </p:cNvSpPr>
                    <p:nvPr/>
                  </p:nvSpPr>
                  <p:spPr bwMode="auto">
                    <a:xfrm>
                      <a:off x="1079" y="1295"/>
                      <a:ext cx="3529" cy="1544"/>
                    </a:xfrm>
                    <a:custGeom>
                      <a:avLst/>
                      <a:gdLst>
                        <a:gd name="T0" fmla="*/ 1476 w 1494"/>
                        <a:gd name="T1" fmla="*/ 594 h 654"/>
                        <a:gd name="T2" fmla="*/ 1359 w 1494"/>
                        <a:gd name="T3" fmla="*/ 621 h 654"/>
                        <a:gd name="T4" fmla="*/ 1173 w 1494"/>
                        <a:gd name="T5" fmla="*/ 629 h 654"/>
                        <a:gd name="T6" fmla="*/ 1100 w 1494"/>
                        <a:gd name="T7" fmla="*/ 624 h 654"/>
                        <a:gd name="T8" fmla="*/ 1007 w 1494"/>
                        <a:gd name="T9" fmla="*/ 548 h 654"/>
                        <a:gd name="T10" fmla="*/ 1018 w 1494"/>
                        <a:gd name="T11" fmla="*/ 523 h 654"/>
                        <a:gd name="T12" fmla="*/ 961 w 1494"/>
                        <a:gd name="T13" fmla="*/ 515 h 654"/>
                        <a:gd name="T14" fmla="*/ 961 w 1494"/>
                        <a:gd name="T15" fmla="*/ 550 h 654"/>
                        <a:gd name="T16" fmla="*/ 863 w 1494"/>
                        <a:gd name="T17" fmla="*/ 632 h 654"/>
                        <a:gd name="T18" fmla="*/ 699 w 1494"/>
                        <a:gd name="T19" fmla="*/ 629 h 654"/>
                        <a:gd name="T20" fmla="*/ 587 w 1494"/>
                        <a:gd name="T21" fmla="*/ 578 h 654"/>
                        <a:gd name="T22" fmla="*/ 504 w 1494"/>
                        <a:gd name="T23" fmla="*/ 580 h 654"/>
                        <a:gd name="T24" fmla="*/ 347 w 1494"/>
                        <a:gd name="T25" fmla="*/ 477 h 654"/>
                        <a:gd name="T26" fmla="*/ 52 w 1494"/>
                        <a:gd name="T27" fmla="*/ 292 h 654"/>
                        <a:gd name="T28" fmla="*/ 68 w 1494"/>
                        <a:gd name="T29" fmla="*/ 146 h 654"/>
                        <a:gd name="T30" fmla="*/ 255 w 1494"/>
                        <a:gd name="T31" fmla="*/ 123 h 654"/>
                        <a:gd name="T32" fmla="*/ 304 w 1494"/>
                        <a:gd name="T33" fmla="*/ 171 h 654"/>
                        <a:gd name="T34" fmla="*/ 306 w 1494"/>
                        <a:gd name="T35" fmla="*/ 178 h 654"/>
                        <a:gd name="T36" fmla="*/ 303 w 1494"/>
                        <a:gd name="T37" fmla="*/ 148 h 654"/>
                        <a:gd name="T38" fmla="*/ 328 w 1494"/>
                        <a:gd name="T39" fmla="*/ 112 h 654"/>
                        <a:gd name="T40" fmla="*/ 1001 w 1494"/>
                        <a:gd name="T41" fmla="*/ 31 h 654"/>
                        <a:gd name="T42" fmla="*/ 1024 w 1494"/>
                        <a:gd name="T43" fmla="*/ 98 h 654"/>
                        <a:gd name="T44" fmla="*/ 1017 w 1494"/>
                        <a:gd name="T45" fmla="*/ 104 h 654"/>
                        <a:gd name="T46" fmla="*/ 1021 w 1494"/>
                        <a:gd name="T47" fmla="*/ 100 h 654"/>
                        <a:gd name="T48" fmla="*/ 1141 w 1494"/>
                        <a:gd name="T49" fmla="*/ 113 h 654"/>
                        <a:gd name="T50" fmla="*/ 1144 w 1494"/>
                        <a:gd name="T51" fmla="*/ 121 h 654"/>
                        <a:gd name="T52" fmla="*/ 1158 w 1494"/>
                        <a:gd name="T53" fmla="*/ 102 h 654"/>
                        <a:gd name="T54" fmla="*/ 1203 w 1494"/>
                        <a:gd name="T55" fmla="*/ 106 h 654"/>
                        <a:gd name="T56" fmla="*/ 1185 w 1494"/>
                        <a:gd name="T57" fmla="*/ 208 h 654"/>
                        <a:gd name="T58" fmla="*/ 1178 w 1494"/>
                        <a:gd name="T59" fmla="*/ 201 h 654"/>
                        <a:gd name="T60" fmla="*/ 1174 w 1494"/>
                        <a:gd name="T61" fmla="*/ 219 h 654"/>
                        <a:gd name="T62" fmla="*/ 1158 w 1494"/>
                        <a:gd name="T63" fmla="*/ 269 h 654"/>
                        <a:gd name="T64" fmla="*/ 1177 w 1494"/>
                        <a:gd name="T65" fmla="*/ 323 h 654"/>
                        <a:gd name="T66" fmla="*/ 1218 w 1494"/>
                        <a:gd name="T67" fmla="*/ 375 h 654"/>
                        <a:gd name="T68" fmla="*/ 1237 w 1494"/>
                        <a:gd name="T69" fmla="*/ 375 h 654"/>
                        <a:gd name="T70" fmla="*/ 1345 w 1494"/>
                        <a:gd name="T71" fmla="*/ 404 h 654"/>
                        <a:gd name="T72" fmla="*/ 1398 w 1494"/>
                        <a:gd name="T73" fmla="*/ 404 h 654"/>
                        <a:gd name="T74" fmla="*/ 1494 w 1494"/>
                        <a:gd name="T75" fmla="*/ 446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4" h="654">
                          <a:moveTo>
                            <a:pt x="1476" y="594"/>
                          </a:moveTo>
                          <a:cubicBezTo>
                            <a:pt x="1474" y="588"/>
                            <a:pt x="1379" y="616"/>
                            <a:pt x="1359" y="621"/>
                          </a:cubicBezTo>
                          <a:cubicBezTo>
                            <a:pt x="1291" y="638"/>
                            <a:pt x="1173" y="629"/>
                            <a:pt x="1173" y="629"/>
                          </a:cubicBezTo>
                          <a:cubicBezTo>
                            <a:pt x="1149" y="635"/>
                            <a:pt x="1124" y="635"/>
                            <a:pt x="1100" y="624"/>
                          </a:cubicBezTo>
                          <a:cubicBezTo>
                            <a:pt x="1097" y="621"/>
                            <a:pt x="1005" y="586"/>
                            <a:pt x="1007" y="548"/>
                          </a:cubicBezTo>
                          <a:cubicBezTo>
                            <a:pt x="1007" y="542"/>
                            <a:pt x="1019" y="529"/>
                            <a:pt x="1018" y="523"/>
                          </a:cubicBezTo>
                          <a:cubicBezTo>
                            <a:pt x="1012" y="489"/>
                            <a:pt x="968" y="489"/>
                            <a:pt x="961" y="515"/>
                          </a:cubicBezTo>
                          <a:cubicBezTo>
                            <a:pt x="957" y="528"/>
                            <a:pt x="971" y="539"/>
                            <a:pt x="961" y="550"/>
                          </a:cubicBezTo>
                          <a:cubicBezTo>
                            <a:pt x="955" y="559"/>
                            <a:pt x="874" y="627"/>
                            <a:pt x="863" y="632"/>
                          </a:cubicBezTo>
                          <a:cubicBezTo>
                            <a:pt x="835" y="649"/>
                            <a:pt x="765" y="654"/>
                            <a:pt x="699" y="629"/>
                          </a:cubicBezTo>
                          <a:cubicBezTo>
                            <a:pt x="688" y="626"/>
                            <a:pt x="631" y="583"/>
                            <a:pt x="587" y="578"/>
                          </a:cubicBezTo>
                          <a:cubicBezTo>
                            <a:pt x="564" y="574"/>
                            <a:pt x="523" y="586"/>
                            <a:pt x="504" y="580"/>
                          </a:cubicBezTo>
                          <a:cubicBezTo>
                            <a:pt x="494" y="577"/>
                            <a:pt x="378" y="525"/>
                            <a:pt x="347" y="477"/>
                          </a:cubicBezTo>
                          <a:cubicBezTo>
                            <a:pt x="338" y="462"/>
                            <a:pt x="104" y="371"/>
                            <a:pt x="52" y="292"/>
                          </a:cubicBezTo>
                          <a:cubicBezTo>
                            <a:pt x="0" y="213"/>
                            <a:pt x="29" y="172"/>
                            <a:pt x="68" y="146"/>
                          </a:cubicBezTo>
                          <a:cubicBezTo>
                            <a:pt x="89" y="132"/>
                            <a:pt x="213" y="101"/>
                            <a:pt x="255" y="123"/>
                          </a:cubicBezTo>
                          <a:cubicBezTo>
                            <a:pt x="300" y="147"/>
                            <a:pt x="304" y="171"/>
                            <a:pt x="304" y="171"/>
                          </a:cubicBezTo>
                          <a:cubicBezTo>
                            <a:pt x="306" y="178"/>
                            <a:pt x="306" y="178"/>
                            <a:pt x="306" y="178"/>
                          </a:cubicBezTo>
                          <a:cubicBezTo>
                            <a:pt x="303" y="167"/>
                            <a:pt x="302" y="157"/>
                            <a:pt x="303" y="148"/>
                          </a:cubicBezTo>
                          <a:cubicBezTo>
                            <a:pt x="303" y="132"/>
                            <a:pt x="317" y="121"/>
                            <a:pt x="328" y="112"/>
                          </a:cubicBezTo>
                          <a:cubicBezTo>
                            <a:pt x="387" y="64"/>
                            <a:pt x="908" y="0"/>
                            <a:pt x="1001" y="31"/>
                          </a:cubicBezTo>
                          <a:cubicBezTo>
                            <a:pt x="1085" y="59"/>
                            <a:pt x="1024" y="98"/>
                            <a:pt x="1024" y="98"/>
                          </a:cubicBezTo>
                          <a:cubicBezTo>
                            <a:pt x="1017" y="104"/>
                            <a:pt x="1017" y="104"/>
                            <a:pt x="1017" y="104"/>
                          </a:cubicBezTo>
                          <a:cubicBezTo>
                            <a:pt x="1018" y="103"/>
                            <a:pt x="1019" y="102"/>
                            <a:pt x="1021" y="100"/>
                          </a:cubicBezTo>
                          <a:cubicBezTo>
                            <a:pt x="1062" y="68"/>
                            <a:pt x="1146" y="81"/>
                            <a:pt x="1141" y="113"/>
                          </a:cubicBezTo>
                          <a:cubicBezTo>
                            <a:pt x="1141" y="118"/>
                            <a:pt x="1141" y="118"/>
                            <a:pt x="1144" y="121"/>
                          </a:cubicBezTo>
                          <a:cubicBezTo>
                            <a:pt x="1144" y="121"/>
                            <a:pt x="1152" y="110"/>
                            <a:pt x="1158" y="102"/>
                          </a:cubicBezTo>
                          <a:cubicBezTo>
                            <a:pt x="1178" y="75"/>
                            <a:pt x="1194" y="87"/>
                            <a:pt x="1203" y="106"/>
                          </a:cubicBezTo>
                          <a:cubicBezTo>
                            <a:pt x="1223" y="146"/>
                            <a:pt x="1189" y="208"/>
                            <a:pt x="1185" y="208"/>
                          </a:cubicBezTo>
                          <a:cubicBezTo>
                            <a:pt x="1181" y="208"/>
                            <a:pt x="1181" y="199"/>
                            <a:pt x="1178" y="201"/>
                          </a:cubicBezTo>
                          <a:cubicBezTo>
                            <a:pt x="1178" y="204"/>
                            <a:pt x="1179" y="208"/>
                            <a:pt x="1174" y="219"/>
                          </a:cubicBezTo>
                          <a:cubicBezTo>
                            <a:pt x="1168" y="228"/>
                            <a:pt x="1160" y="241"/>
                            <a:pt x="1158" y="269"/>
                          </a:cubicBezTo>
                          <a:cubicBezTo>
                            <a:pt x="1158" y="296"/>
                            <a:pt x="1177" y="323"/>
                            <a:pt x="1177" y="323"/>
                          </a:cubicBezTo>
                          <a:cubicBezTo>
                            <a:pt x="1223" y="347"/>
                            <a:pt x="1218" y="375"/>
                            <a:pt x="1218" y="375"/>
                          </a:cubicBezTo>
                          <a:cubicBezTo>
                            <a:pt x="1220" y="380"/>
                            <a:pt x="1208" y="385"/>
                            <a:pt x="1237" y="375"/>
                          </a:cubicBezTo>
                          <a:cubicBezTo>
                            <a:pt x="1263" y="365"/>
                            <a:pt x="1323" y="377"/>
                            <a:pt x="1345" y="404"/>
                          </a:cubicBezTo>
                          <a:cubicBezTo>
                            <a:pt x="1353" y="412"/>
                            <a:pt x="1364" y="387"/>
                            <a:pt x="1398" y="404"/>
                          </a:cubicBezTo>
                          <a:cubicBezTo>
                            <a:pt x="1439" y="425"/>
                            <a:pt x="1494" y="446"/>
                            <a:pt x="1494" y="446"/>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4" name="Freeform 8">
                      <a:extLst>
                        <a:ext uri="{FF2B5EF4-FFF2-40B4-BE49-F238E27FC236}">
                          <a16:creationId xmlns:a16="http://schemas.microsoft.com/office/drawing/2014/main" id="{25032D1F-EA45-A863-DAD9-1C02D1426605}"/>
                        </a:ext>
                      </a:extLst>
                    </p:cNvPr>
                    <p:cNvSpPr>
                      <a:spLocks noChangeAspect="1"/>
                    </p:cNvSpPr>
                    <p:nvPr/>
                  </p:nvSpPr>
                  <p:spPr bwMode="auto">
                    <a:xfrm>
                      <a:off x="2673" y="1864"/>
                      <a:ext cx="411" cy="321"/>
                    </a:xfrm>
                    <a:custGeom>
                      <a:avLst/>
                      <a:gdLst>
                        <a:gd name="T0" fmla="*/ 119 w 174"/>
                        <a:gd name="T1" fmla="*/ 10 h 136"/>
                        <a:gd name="T2" fmla="*/ 73 w 174"/>
                        <a:gd name="T3" fmla="*/ 14 h 136"/>
                        <a:gd name="T4" fmla="*/ 68 w 174"/>
                        <a:gd name="T5" fmla="*/ 5 h 136"/>
                        <a:gd name="T6" fmla="*/ 43 w 174"/>
                        <a:gd name="T7" fmla="*/ 46 h 136"/>
                        <a:gd name="T8" fmla="*/ 24 w 174"/>
                        <a:gd name="T9" fmla="*/ 71 h 136"/>
                        <a:gd name="T10" fmla="*/ 3 w 174"/>
                        <a:gd name="T11" fmla="*/ 112 h 136"/>
                        <a:gd name="T12" fmla="*/ 8 w 174"/>
                        <a:gd name="T13" fmla="*/ 136 h 136"/>
                        <a:gd name="T14" fmla="*/ 24 w 174"/>
                        <a:gd name="T15" fmla="*/ 123 h 136"/>
                        <a:gd name="T16" fmla="*/ 41 w 174"/>
                        <a:gd name="T17" fmla="*/ 77 h 136"/>
                        <a:gd name="T18" fmla="*/ 68 w 174"/>
                        <a:gd name="T19" fmla="*/ 41 h 136"/>
                        <a:gd name="T20" fmla="*/ 116 w 174"/>
                        <a:gd name="T21" fmla="*/ 12 h 136"/>
                        <a:gd name="T22" fmla="*/ 123 w 174"/>
                        <a:gd name="T23" fmla="*/ 9 h 136"/>
                        <a:gd name="T24" fmla="*/ 174 w 174"/>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36">
                          <a:moveTo>
                            <a:pt x="119" y="10"/>
                          </a:moveTo>
                          <a:cubicBezTo>
                            <a:pt x="108" y="13"/>
                            <a:pt x="80" y="25"/>
                            <a:pt x="73" y="14"/>
                          </a:cubicBezTo>
                          <a:cubicBezTo>
                            <a:pt x="68" y="5"/>
                            <a:pt x="68" y="5"/>
                            <a:pt x="68" y="5"/>
                          </a:cubicBezTo>
                          <a:cubicBezTo>
                            <a:pt x="68" y="5"/>
                            <a:pt x="46" y="41"/>
                            <a:pt x="43" y="46"/>
                          </a:cubicBezTo>
                          <a:cubicBezTo>
                            <a:pt x="41" y="52"/>
                            <a:pt x="32" y="60"/>
                            <a:pt x="24" y="71"/>
                          </a:cubicBezTo>
                          <a:cubicBezTo>
                            <a:pt x="16" y="79"/>
                            <a:pt x="6" y="98"/>
                            <a:pt x="3" y="112"/>
                          </a:cubicBezTo>
                          <a:cubicBezTo>
                            <a:pt x="0" y="128"/>
                            <a:pt x="0" y="136"/>
                            <a:pt x="8" y="136"/>
                          </a:cubicBezTo>
                          <a:cubicBezTo>
                            <a:pt x="16" y="136"/>
                            <a:pt x="22" y="128"/>
                            <a:pt x="24" y="123"/>
                          </a:cubicBezTo>
                          <a:cubicBezTo>
                            <a:pt x="24" y="118"/>
                            <a:pt x="38" y="85"/>
                            <a:pt x="41" y="77"/>
                          </a:cubicBezTo>
                          <a:cubicBezTo>
                            <a:pt x="43" y="69"/>
                            <a:pt x="54" y="52"/>
                            <a:pt x="68" y="41"/>
                          </a:cubicBezTo>
                          <a:cubicBezTo>
                            <a:pt x="81" y="33"/>
                            <a:pt x="108" y="15"/>
                            <a:pt x="116" y="12"/>
                          </a:cubicBezTo>
                          <a:cubicBezTo>
                            <a:pt x="123" y="9"/>
                            <a:pt x="123" y="9"/>
                            <a:pt x="123" y="9"/>
                          </a:cubicBezTo>
                          <a:cubicBezTo>
                            <a:pt x="144" y="6"/>
                            <a:pt x="155" y="3"/>
                            <a:pt x="174" y="0"/>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7" name="Freeform 9">
                      <a:extLst>
                        <a:ext uri="{FF2B5EF4-FFF2-40B4-BE49-F238E27FC236}">
                          <a16:creationId xmlns:a16="http://schemas.microsoft.com/office/drawing/2014/main" id="{9EC549C3-5AFA-0BD5-FED3-40F8F2F63668}"/>
                        </a:ext>
                      </a:extLst>
                    </p:cNvPr>
                    <p:cNvSpPr>
                      <a:spLocks noChangeAspect="1"/>
                    </p:cNvSpPr>
                    <p:nvPr/>
                  </p:nvSpPr>
                  <p:spPr bwMode="auto">
                    <a:xfrm>
                      <a:off x="2217" y="1552"/>
                      <a:ext cx="1030" cy="524"/>
                    </a:xfrm>
                    <a:custGeom>
                      <a:avLst/>
                      <a:gdLst>
                        <a:gd name="T0" fmla="*/ 208 w 436"/>
                        <a:gd name="T1" fmla="*/ 97 h 222"/>
                        <a:gd name="T2" fmla="*/ 93 w 436"/>
                        <a:gd name="T3" fmla="*/ 156 h 222"/>
                        <a:gd name="T4" fmla="*/ 31 w 436"/>
                        <a:gd name="T5" fmla="*/ 193 h 222"/>
                        <a:gd name="T6" fmla="*/ 222 w 436"/>
                        <a:gd name="T7" fmla="*/ 69 h 222"/>
                        <a:gd name="T8" fmla="*/ 427 w 436"/>
                        <a:gd name="T9" fmla="*/ 42 h 222"/>
                        <a:gd name="T10" fmla="*/ 420 w 436"/>
                        <a:gd name="T11" fmla="*/ 71 h 222"/>
                        <a:gd name="T12" fmla="*/ 292 w 436"/>
                        <a:gd name="T13" fmla="*/ 65 h 222"/>
                        <a:gd name="T14" fmla="*/ 208 w 436"/>
                        <a:gd name="T15" fmla="*/ 97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6" h="222">
                          <a:moveTo>
                            <a:pt x="208" y="97"/>
                          </a:moveTo>
                          <a:cubicBezTo>
                            <a:pt x="203" y="99"/>
                            <a:pt x="142" y="126"/>
                            <a:pt x="93" y="156"/>
                          </a:cubicBezTo>
                          <a:cubicBezTo>
                            <a:pt x="59" y="178"/>
                            <a:pt x="41" y="222"/>
                            <a:pt x="31" y="193"/>
                          </a:cubicBezTo>
                          <a:cubicBezTo>
                            <a:pt x="0" y="106"/>
                            <a:pt x="198" y="80"/>
                            <a:pt x="222" y="69"/>
                          </a:cubicBezTo>
                          <a:cubicBezTo>
                            <a:pt x="236" y="64"/>
                            <a:pt x="381" y="0"/>
                            <a:pt x="427" y="42"/>
                          </a:cubicBezTo>
                          <a:cubicBezTo>
                            <a:pt x="436" y="51"/>
                            <a:pt x="432" y="67"/>
                            <a:pt x="420" y="71"/>
                          </a:cubicBezTo>
                          <a:cubicBezTo>
                            <a:pt x="410" y="76"/>
                            <a:pt x="354" y="39"/>
                            <a:pt x="292" y="65"/>
                          </a:cubicBezTo>
                          <a:lnTo>
                            <a:pt x="208" y="97"/>
                          </a:lnTo>
                          <a:close/>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8" name="Freeform 10">
                      <a:extLst>
                        <a:ext uri="{FF2B5EF4-FFF2-40B4-BE49-F238E27FC236}">
                          <a16:creationId xmlns:a16="http://schemas.microsoft.com/office/drawing/2014/main" id="{19D4C961-526D-7B58-5079-9EE345DAC05E}"/>
                        </a:ext>
                      </a:extLst>
                    </p:cNvPr>
                    <p:cNvSpPr>
                      <a:spLocks noChangeAspect="1"/>
                    </p:cNvSpPr>
                    <p:nvPr/>
                  </p:nvSpPr>
                  <p:spPr bwMode="auto">
                    <a:xfrm>
                      <a:off x="2621" y="1727"/>
                      <a:ext cx="232" cy="373"/>
                    </a:xfrm>
                    <a:custGeom>
                      <a:avLst/>
                      <a:gdLst>
                        <a:gd name="T0" fmla="*/ 38 w 98"/>
                        <a:gd name="T1" fmla="*/ 23 h 158"/>
                        <a:gd name="T2" fmla="*/ 43 w 98"/>
                        <a:gd name="T3" fmla="*/ 40 h 158"/>
                        <a:gd name="T4" fmla="*/ 22 w 98"/>
                        <a:gd name="T5" fmla="*/ 72 h 158"/>
                        <a:gd name="T6" fmla="*/ 23 w 98"/>
                        <a:gd name="T7" fmla="*/ 108 h 158"/>
                        <a:gd name="T8" fmla="*/ 32 w 98"/>
                        <a:gd name="T9" fmla="*/ 149 h 158"/>
                        <a:gd name="T10" fmla="*/ 43 w 98"/>
                        <a:gd name="T11" fmla="*/ 93 h 158"/>
                        <a:gd name="T12" fmla="*/ 79 w 98"/>
                        <a:gd name="T13" fmla="*/ 20 h 158"/>
                        <a:gd name="T14" fmla="*/ 98 w 98"/>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58">
                          <a:moveTo>
                            <a:pt x="38" y="23"/>
                          </a:moveTo>
                          <a:cubicBezTo>
                            <a:pt x="40" y="23"/>
                            <a:pt x="43" y="35"/>
                            <a:pt x="43" y="40"/>
                          </a:cubicBezTo>
                          <a:cubicBezTo>
                            <a:pt x="44" y="52"/>
                            <a:pt x="23" y="56"/>
                            <a:pt x="22" y="72"/>
                          </a:cubicBezTo>
                          <a:cubicBezTo>
                            <a:pt x="21" y="80"/>
                            <a:pt x="23" y="104"/>
                            <a:pt x="23" y="108"/>
                          </a:cubicBezTo>
                          <a:cubicBezTo>
                            <a:pt x="20" y="116"/>
                            <a:pt x="0" y="158"/>
                            <a:pt x="32" y="149"/>
                          </a:cubicBezTo>
                          <a:cubicBezTo>
                            <a:pt x="27" y="151"/>
                            <a:pt x="35" y="104"/>
                            <a:pt x="43" y="93"/>
                          </a:cubicBezTo>
                          <a:cubicBezTo>
                            <a:pt x="57" y="72"/>
                            <a:pt x="65" y="42"/>
                            <a:pt x="79" y="20"/>
                          </a:cubicBezTo>
                          <a:cubicBezTo>
                            <a:pt x="89" y="4"/>
                            <a:pt x="98" y="0"/>
                            <a:pt x="98" y="0"/>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9" name="Freeform 11">
                      <a:extLst>
                        <a:ext uri="{FF2B5EF4-FFF2-40B4-BE49-F238E27FC236}">
                          <a16:creationId xmlns:a16="http://schemas.microsoft.com/office/drawing/2014/main" id="{A03176DC-4E21-7394-2C58-83621951626A}"/>
                        </a:ext>
                      </a:extLst>
                    </p:cNvPr>
                    <p:cNvSpPr>
                      <a:spLocks noChangeAspect="1"/>
                    </p:cNvSpPr>
                    <p:nvPr/>
                  </p:nvSpPr>
                  <p:spPr bwMode="auto">
                    <a:xfrm>
                      <a:off x="2874" y="1942"/>
                      <a:ext cx="461" cy="418"/>
                    </a:xfrm>
                    <a:custGeom>
                      <a:avLst/>
                      <a:gdLst>
                        <a:gd name="T0" fmla="*/ 143 w 195"/>
                        <a:gd name="T1" fmla="*/ 0 h 177"/>
                        <a:gd name="T2" fmla="*/ 122 w 195"/>
                        <a:gd name="T3" fmla="*/ 19 h 177"/>
                        <a:gd name="T4" fmla="*/ 127 w 195"/>
                        <a:gd name="T5" fmla="*/ 39 h 177"/>
                        <a:gd name="T6" fmla="*/ 141 w 195"/>
                        <a:gd name="T7" fmla="*/ 71 h 177"/>
                        <a:gd name="T8" fmla="*/ 150 w 195"/>
                        <a:gd name="T9" fmla="*/ 98 h 177"/>
                        <a:gd name="T10" fmla="*/ 176 w 195"/>
                        <a:gd name="T11" fmla="*/ 130 h 177"/>
                        <a:gd name="T12" fmla="*/ 193 w 195"/>
                        <a:gd name="T13" fmla="*/ 177 h 177"/>
                        <a:gd name="T14" fmla="*/ 174 w 195"/>
                        <a:gd name="T15" fmla="*/ 140 h 177"/>
                        <a:gd name="T16" fmla="*/ 138 w 195"/>
                        <a:gd name="T17" fmla="*/ 102 h 177"/>
                        <a:gd name="T18" fmla="*/ 122 w 195"/>
                        <a:gd name="T19" fmla="*/ 66 h 177"/>
                        <a:gd name="T20" fmla="*/ 68 w 195"/>
                        <a:gd name="T21" fmla="*/ 41 h 177"/>
                        <a:gd name="T22" fmla="*/ 0 w 195"/>
                        <a:gd name="T23" fmla="*/ 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77">
                          <a:moveTo>
                            <a:pt x="143" y="0"/>
                          </a:moveTo>
                          <a:cubicBezTo>
                            <a:pt x="123" y="0"/>
                            <a:pt x="122" y="16"/>
                            <a:pt x="122" y="19"/>
                          </a:cubicBezTo>
                          <a:cubicBezTo>
                            <a:pt x="122" y="28"/>
                            <a:pt x="124" y="30"/>
                            <a:pt x="127" y="39"/>
                          </a:cubicBezTo>
                          <a:cubicBezTo>
                            <a:pt x="130" y="49"/>
                            <a:pt x="135" y="60"/>
                            <a:pt x="141" y="71"/>
                          </a:cubicBezTo>
                          <a:cubicBezTo>
                            <a:pt x="146" y="82"/>
                            <a:pt x="144" y="84"/>
                            <a:pt x="150" y="98"/>
                          </a:cubicBezTo>
                          <a:cubicBezTo>
                            <a:pt x="155" y="109"/>
                            <a:pt x="168" y="114"/>
                            <a:pt x="176" y="130"/>
                          </a:cubicBezTo>
                          <a:cubicBezTo>
                            <a:pt x="182" y="139"/>
                            <a:pt x="195" y="177"/>
                            <a:pt x="193" y="177"/>
                          </a:cubicBezTo>
                          <a:cubicBezTo>
                            <a:pt x="187" y="175"/>
                            <a:pt x="179" y="150"/>
                            <a:pt x="174" y="140"/>
                          </a:cubicBezTo>
                          <a:cubicBezTo>
                            <a:pt x="166" y="126"/>
                            <a:pt x="148" y="113"/>
                            <a:pt x="138" y="102"/>
                          </a:cubicBezTo>
                          <a:cubicBezTo>
                            <a:pt x="127" y="88"/>
                            <a:pt x="130" y="82"/>
                            <a:pt x="122" y="66"/>
                          </a:cubicBezTo>
                          <a:cubicBezTo>
                            <a:pt x="111" y="41"/>
                            <a:pt x="89" y="41"/>
                            <a:pt x="68" y="41"/>
                          </a:cubicBezTo>
                          <a:cubicBezTo>
                            <a:pt x="44" y="41"/>
                            <a:pt x="24" y="22"/>
                            <a:pt x="0" y="25"/>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0" name="Freeform 12">
                      <a:extLst>
                        <a:ext uri="{FF2B5EF4-FFF2-40B4-BE49-F238E27FC236}">
                          <a16:creationId xmlns:a16="http://schemas.microsoft.com/office/drawing/2014/main" id="{A34A6DB1-D75B-57B4-FD4A-4EA85D18E9F4}"/>
                        </a:ext>
                      </a:extLst>
                    </p:cNvPr>
                    <p:cNvSpPr>
                      <a:spLocks noChangeAspect="1"/>
                    </p:cNvSpPr>
                    <p:nvPr/>
                  </p:nvSpPr>
                  <p:spPr bwMode="auto">
                    <a:xfrm>
                      <a:off x="2825" y="1679"/>
                      <a:ext cx="387" cy="197"/>
                    </a:xfrm>
                    <a:custGeom>
                      <a:avLst/>
                      <a:gdLst>
                        <a:gd name="T0" fmla="*/ 164 w 164"/>
                        <a:gd name="T1" fmla="*/ 17 h 83"/>
                        <a:gd name="T2" fmla="*/ 140 w 164"/>
                        <a:gd name="T3" fmla="*/ 22 h 83"/>
                        <a:gd name="T4" fmla="*/ 97 w 164"/>
                        <a:gd name="T5" fmla="*/ 2 h 83"/>
                        <a:gd name="T6" fmla="*/ 47 w 164"/>
                        <a:gd name="T7" fmla="*/ 7 h 83"/>
                        <a:gd name="T8" fmla="*/ 4 w 164"/>
                        <a:gd name="T9" fmla="*/ 34 h 83"/>
                        <a:gd name="T10" fmla="*/ 32 w 164"/>
                        <a:gd name="T11" fmla="*/ 76 h 83"/>
                        <a:gd name="T12" fmla="*/ 4 w 164"/>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64" h="83">
                          <a:moveTo>
                            <a:pt x="164" y="17"/>
                          </a:moveTo>
                          <a:cubicBezTo>
                            <a:pt x="164" y="17"/>
                            <a:pt x="154" y="28"/>
                            <a:pt x="140" y="22"/>
                          </a:cubicBezTo>
                          <a:cubicBezTo>
                            <a:pt x="126" y="14"/>
                            <a:pt x="112" y="4"/>
                            <a:pt x="97" y="2"/>
                          </a:cubicBezTo>
                          <a:cubicBezTo>
                            <a:pt x="78" y="1"/>
                            <a:pt x="70" y="0"/>
                            <a:pt x="47" y="7"/>
                          </a:cubicBezTo>
                          <a:cubicBezTo>
                            <a:pt x="24" y="14"/>
                            <a:pt x="7" y="18"/>
                            <a:pt x="4" y="34"/>
                          </a:cubicBezTo>
                          <a:cubicBezTo>
                            <a:pt x="0" y="51"/>
                            <a:pt x="18" y="65"/>
                            <a:pt x="32" y="76"/>
                          </a:cubicBezTo>
                          <a:cubicBezTo>
                            <a:pt x="29" y="73"/>
                            <a:pt x="2" y="69"/>
                            <a:pt x="4" y="83"/>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1" name="Freeform 13">
                      <a:extLst>
                        <a:ext uri="{FF2B5EF4-FFF2-40B4-BE49-F238E27FC236}">
                          <a16:creationId xmlns:a16="http://schemas.microsoft.com/office/drawing/2014/main" id="{6B76482B-9F08-6AC2-F4A3-F758C459DB17}"/>
                        </a:ext>
                      </a:extLst>
                    </p:cNvPr>
                    <p:cNvSpPr>
                      <a:spLocks noChangeAspect="1"/>
                    </p:cNvSpPr>
                    <p:nvPr/>
                  </p:nvSpPr>
                  <p:spPr bwMode="auto">
                    <a:xfrm>
                      <a:off x="3366" y="1578"/>
                      <a:ext cx="510" cy="364"/>
                    </a:xfrm>
                    <a:custGeom>
                      <a:avLst/>
                      <a:gdLst>
                        <a:gd name="T0" fmla="*/ 0 w 216"/>
                        <a:gd name="T1" fmla="*/ 154 h 154"/>
                        <a:gd name="T2" fmla="*/ 143 w 216"/>
                        <a:gd name="T3" fmla="*/ 64 h 154"/>
                        <a:gd name="T4" fmla="*/ 176 w 216"/>
                        <a:gd name="T5" fmla="*/ 0 h 154"/>
                        <a:gd name="T6" fmla="*/ 159 w 216"/>
                        <a:gd name="T7" fmla="*/ 69 h 154"/>
                        <a:gd name="T8" fmla="*/ 1 w 216"/>
                        <a:gd name="T9" fmla="*/ 154 h 154"/>
                        <a:gd name="T10" fmla="*/ 0 w 216"/>
                        <a:gd name="T11" fmla="*/ 154 h 154"/>
                      </a:gdLst>
                      <a:ahLst/>
                      <a:cxnLst>
                        <a:cxn ang="0">
                          <a:pos x="T0" y="T1"/>
                        </a:cxn>
                        <a:cxn ang="0">
                          <a:pos x="T2" y="T3"/>
                        </a:cxn>
                        <a:cxn ang="0">
                          <a:pos x="T4" y="T5"/>
                        </a:cxn>
                        <a:cxn ang="0">
                          <a:pos x="T6" y="T7"/>
                        </a:cxn>
                        <a:cxn ang="0">
                          <a:pos x="T8" y="T9"/>
                        </a:cxn>
                        <a:cxn ang="0">
                          <a:pos x="T10" y="T11"/>
                        </a:cxn>
                      </a:cxnLst>
                      <a:rect l="0" t="0" r="r" b="b"/>
                      <a:pathLst>
                        <a:path w="216" h="154">
                          <a:moveTo>
                            <a:pt x="0" y="154"/>
                          </a:moveTo>
                          <a:cubicBezTo>
                            <a:pt x="39" y="88"/>
                            <a:pt x="55" y="107"/>
                            <a:pt x="143" y="64"/>
                          </a:cubicBezTo>
                          <a:cubicBezTo>
                            <a:pt x="183" y="44"/>
                            <a:pt x="186" y="9"/>
                            <a:pt x="176" y="0"/>
                          </a:cubicBezTo>
                          <a:cubicBezTo>
                            <a:pt x="216" y="33"/>
                            <a:pt x="173" y="64"/>
                            <a:pt x="159" y="69"/>
                          </a:cubicBezTo>
                          <a:cubicBezTo>
                            <a:pt x="103" y="89"/>
                            <a:pt x="54" y="99"/>
                            <a:pt x="1" y="154"/>
                          </a:cubicBezTo>
                          <a:lnTo>
                            <a:pt x="0" y="154"/>
                          </a:lnTo>
                          <a:close/>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2" name="Freeform 14">
                      <a:extLst>
                        <a:ext uri="{FF2B5EF4-FFF2-40B4-BE49-F238E27FC236}">
                          <a16:creationId xmlns:a16="http://schemas.microsoft.com/office/drawing/2014/main" id="{F5A82B0E-729A-F47C-EF9C-F56A9436AD8C}"/>
                        </a:ext>
                      </a:extLst>
                    </p:cNvPr>
                    <p:cNvSpPr>
                      <a:spLocks noChangeAspect="1"/>
                    </p:cNvSpPr>
                    <p:nvPr/>
                  </p:nvSpPr>
                  <p:spPr bwMode="auto">
                    <a:xfrm>
                      <a:off x="1802" y="1715"/>
                      <a:ext cx="101" cy="257"/>
                    </a:xfrm>
                    <a:custGeom>
                      <a:avLst/>
                      <a:gdLst>
                        <a:gd name="T0" fmla="*/ 0 w 43"/>
                        <a:gd name="T1" fmla="*/ 0 h 109"/>
                        <a:gd name="T2" fmla="*/ 43 w 43"/>
                        <a:gd name="T3" fmla="*/ 109 h 109"/>
                      </a:gdLst>
                      <a:ahLst/>
                      <a:cxnLst>
                        <a:cxn ang="0">
                          <a:pos x="T0" y="T1"/>
                        </a:cxn>
                        <a:cxn ang="0">
                          <a:pos x="T2" y="T3"/>
                        </a:cxn>
                      </a:cxnLst>
                      <a:rect l="0" t="0" r="r" b="b"/>
                      <a:pathLst>
                        <a:path w="43" h="109">
                          <a:moveTo>
                            <a:pt x="0" y="0"/>
                          </a:moveTo>
                          <a:cubicBezTo>
                            <a:pt x="10" y="50"/>
                            <a:pt x="43" y="109"/>
                            <a:pt x="43" y="109"/>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3" name="Freeform 15">
                      <a:extLst>
                        <a:ext uri="{FF2B5EF4-FFF2-40B4-BE49-F238E27FC236}">
                          <a16:creationId xmlns:a16="http://schemas.microsoft.com/office/drawing/2014/main" id="{114F520E-564E-07BB-FF93-0F1C9A6C63FB}"/>
                        </a:ext>
                      </a:extLst>
                    </p:cNvPr>
                    <p:cNvSpPr>
                      <a:spLocks noChangeAspect="1"/>
                    </p:cNvSpPr>
                    <p:nvPr/>
                  </p:nvSpPr>
                  <p:spPr bwMode="auto">
                    <a:xfrm>
                      <a:off x="3103" y="1722"/>
                      <a:ext cx="229" cy="161"/>
                    </a:xfrm>
                    <a:custGeom>
                      <a:avLst/>
                      <a:gdLst>
                        <a:gd name="T0" fmla="*/ 0 w 97"/>
                        <a:gd name="T1" fmla="*/ 58 h 68"/>
                        <a:gd name="T2" fmla="*/ 22 w 97"/>
                        <a:gd name="T3" fmla="*/ 60 h 68"/>
                        <a:gd name="T4" fmla="*/ 41 w 97"/>
                        <a:gd name="T5" fmla="*/ 60 h 68"/>
                        <a:gd name="T6" fmla="*/ 82 w 97"/>
                        <a:gd name="T7" fmla="*/ 19 h 68"/>
                        <a:gd name="T8" fmla="*/ 97 w 97"/>
                        <a:gd name="T9" fmla="*/ 0 h 68"/>
                      </a:gdLst>
                      <a:ahLst/>
                      <a:cxnLst>
                        <a:cxn ang="0">
                          <a:pos x="T0" y="T1"/>
                        </a:cxn>
                        <a:cxn ang="0">
                          <a:pos x="T2" y="T3"/>
                        </a:cxn>
                        <a:cxn ang="0">
                          <a:pos x="T4" y="T5"/>
                        </a:cxn>
                        <a:cxn ang="0">
                          <a:pos x="T6" y="T7"/>
                        </a:cxn>
                        <a:cxn ang="0">
                          <a:pos x="T8" y="T9"/>
                        </a:cxn>
                      </a:cxnLst>
                      <a:rect l="0" t="0" r="r" b="b"/>
                      <a:pathLst>
                        <a:path w="97" h="68">
                          <a:moveTo>
                            <a:pt x="0" y="58"/>
                          </a:moveTo>
                          <a:cubicBezTo>
                            <a:pt x="7" y="55"/>
                            <a:pt x="17" y="57"/>
                            <a:pt x="22" y="60"/>
                          </a:cubicBezTo>
                          <a:cubicBezTo>
                            <a:pt x="25" y="63"/>
                            <a:pt x="30" y="68"/>
                            <a:pt x="41" y="60"/>
                          </a:cubicBezTo>
                          <a:cubicBezTo>
                            <a:pt x="52" y="52"/>
                            <a:pt x="73" y="33"/>
                            <a:pt x="82" y="19"/>
                          </a:cubicBezTo>
                          <a:cubicBezTo>
                            <a:pt x="93" y="8"/>
                            <a:pt x="95" y="3"/>
                            <a:pt x="97" y="0"/>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4" name="Freeform 16">
                      <a:extLst>
                        <a:ext uri="{FF2B5EF4-FFF2-40B4-BE49-F238E27FC236}">
                          <a16:creationId xmlns:a16="http://schemas.microsoft.com/office/drawing/2014/main" id="{9D92BA09-9D17-469B-1A8C-08EA8463EA75}"/>
                        </a:ext>
                      </a:extLst>
                    </p:cNvPr>
                    <p:cNvSpPr>
                      <a:spLocks noChangeAspect="1"/>
                    </p:cNvSpPr>
                    <p:nvPr/>
                  </p:nvSpPr>
                  <p:spPr bwMode="auto">
                    <a:xfrm>
                      <a:off x="2995" y="1540"/>
                      <a:ext cx="486" cy="305"/>
                    </a:xfrm>
                    <a:custGeom>
                      <a:avLst/>
                      <a:gdLst>
                        <a:gd name="T0" fmla="*/ 206 w 206"/>
                        <a:gd name="T1" fmla="*/ 0 h 129"/>
                        <a:gd name="T2" fmla="*/ 160 w 206"/>
                        <a:gd name="T3" fmla="*/ 45 h 129"/>
                        <a:gd name="T4" fmla="*/ 145 w 206"/>
                        <a:gd name="T5" fmla="*/ 75 h 129"/>
                        <a:gd name="T6" fmla="*/ 125 w 206"/>
                        <a:gd name="T7" fmla="*/ 86 h 129"/>
                        <a:gd name="T8" fmla="*/ 114 w 206"/>
                        <a:gd name="T9" fmla="*/ 99 h 129"/>
                        <a:gd name="T10" fmla="*/ 63 w 206"/>
                        <a:gd name="T11" fmla="*/ 124 h 129"/>
                        <a:gd name="T12" fmla="*/ 0 w 206"/>
                        <a:gd name="T13" fmla="*/ 96 h 129"/>
                      </a:gdLst>
                      <a:ahLst/>
                      <a:cxnLst>
                        <a:cxn ang="0">
                          <a:pos x="T0" y="T1"/>
                        </a:cxn>
                        <a:cxn ang="0">
                          <a:pos x="T2" y="T3"/>
                        </a:cxn>
                        <a:cxn ang="0">
                          <a:pos x="T4" y="T5"/>
                        </a:cxn>
                        <a:cxn ang="0">
                          <a:pos x="T6" y="T7"/>
                        </a:cxn>
                        <a:cxn ang="0">
                          <a:pos x="T8" y="T9"/>
                        </a:cxn>
                        <a:cxn ang="0">
                          <a:pos x="T10" y="T11"/>
                        </a:cxn>
                        <a:cxn ang="0">
                          <a:pos x="T12" y="T13"/>
                        </a:cxn>
                      </a:cxnLst>
                      <a:rect l="0" t="0" r="r" b="b"/>
                      <a:pathLst>
                        <a:path w="206" h="129">
                          <a:moveTo>
                            <a:pt x="206" y="0"/>
                          </a:moveTo>
                          <a:cubicBezTo>
                            <a:pt x="160" y="45"/>
                            <a:pt x="160" y="45"/>
                            <a:pt x="160" y="45"/>
                          </a:cubicBezTo>
                          <a:cubicBezTo>
                            <a:pt x="160" y="45"/>
                            <a:pt x="158" y="64"/>
                            <a:pt x="145" y="75"/>
                          </a:cubicBezTo>
                          <a:cubicBezTo>
                            <a:pt x="134" y="86"/>
                            <a:pt x="125" y="86"/>
                            <a:pt x="125" y="86"/>
                          </a:cubicBezTo>
                          <a:cubicBezTo>
                            <a:pt x="125" y="86"/>
                            <a:pt x="123" y="91"/>
                            <a:pt x="114" y="99"/>
                          </a:cubicBezTo>
                          <a:cubicBezTo>
                            <a:pt x="101" y="107"/>
                            <a:pt x="73" y="129"/>
                            <a:pt x="63" y="124"/>
                          </a:cubicBezTo>
                          <a:cubicBezTo>
                            <a:pt x="52" y="121"/>
                            <a:pt x="16" y="96"/>
                            <a:pt x="0" y="96"/>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224" name="Group 17">
                    <a:extLst>
                      <a:ext uri="{FF2B5EF4-FFF2-40B4-BE49-F238E27FC236}">
                        <a16:creationId xmlns:a16="http://schemas.microsoft.com/office/drawing/2014/main" id="{FCB94E91-FA27-B3EC-BE4D-E7AA4996CF80}"/>
                      </a:ext>
                    </a:extLst>
                  </p:cNvPr>
                  <p:cNvGrpSpPr>
                    <a:grpSpLocks noChangeAspect="1"/>
                  </p:cNvGrpSpPr>
                  <p:nvPr/>
                </p:nvGrpSpPr>
                <p:grpSpPr bwMode="auto">
                  <a:xfrm>
                    <a:off x="3807" y="1439"/>
                    <a:ext cx="825" cy="845"/>
                    <a:chOff x="3807" y="1439"/>
                    <a:chExt cx="825" cy="845"/>
                  </a:xfrm>
                  <a:grpFill/>
                </p:grpSpPr>
                <p:sp>
                  <p:nvSpPr>
                    <p:cNvPr id="225" name="Freeform 23">
                      <a:extLst>
                        <a:ext uri="{FF2B5EF4-FFF2-40B4-BE49-F238E27FC236}">
                          <a16:creationId xmlns:a16="http://schemas.microsoft.com/office/drawing/2014/main" id="{A8BDAFE0-9240-B451-ABE2-A6E506D1152B}"/>
                        </a:ext>
                      </a:extLst>
                    </p:cNvPr>
                    <p:cNvSpPr>
                      <a:spLocks noChangeAspect="1"/>
                    </p:cNvSpPr>
                    <p:nvPr/>
                  </p:nvSpPr>
                  <p:spPr bwMode="auto">
                    <a:xfrm>
                      <a:off x="3807" y="1439"/>
                      <a:ext cx="825" cy="845"/>
                    </a:xfrm>
                    <a:custGeom>
                      <a:avLst/>
                      <a:gdLst>
                        <a:gd name="T0" fmla="*/ 68 w 349"/>
                        <a:gd name="T1" fmla="*/ 85 h 358"/>
                        <a:gd name="T2" fmla="*/ 62 w 349"/>
                        <a:gd name="T3" fmla="*/ 79 h 358"/>
                        <a:gd name="T4" fmla="*/ 48 w 349"/>
                        <a:gd name="T5" fmla="*/ 46 h 358"/>
                        <a:gd name="T6" fmla="*/ 51 w 349"/>
                        <a:gd name="T7" fmla="*/ 19 h 358"/>
                        <a:gd name="T8" fmla="*/ 112 w 349"/>
                        <a:gd name="T9" fmla="*/ 5 h 358"/>
                        <a:gd name="T10" fmla="*/ 147 w 349"/>
                        <a:gd name="T11" fmla="*/ 25 h 358"/>
                        <a:gd name="T12" fmla="*/ 153 w 349"/>
                        <a:gd name="T13" fmla="*/ 48 h 358"/>
                        <a:gd name="T14" fmla="*/ 152 w 349"/>
                        <a:gd name="T15" fmla="*/ 46 h 358"/>
                        <a:gd name="T16" fmla="*/ 157 w 349"/>
                        <a:gd name="T17" fmla="*/ 36 h 358"/>
                        <a:gd name="T18" fmla="*/ 234 w 349"/>
                        <a:gd name="T19" fmla="*/ 73 h 358"/>
                        <a:gd name="T20" fmla="*/ 272 w 349"/>
                        <a:gd name="T21" fmla="*/ 125 h 358"/>
                        <a:gd name="T22" fmla="*/ 267 w 349"/>
                        <a:gd name="T23" fmla="*/ 133 h 358"/>
                        <a:gd name="T24" fmla="*/ 270 w 349"/>
                        <a:gd name="T25" fmla="*/ 130 h 358"/>
                        <a:gd name="T26" fmla="*/ 288 w 349"/>
                        <a:gd name="T27" fmla="*/ 144 h 358"/>
                        <a:gd name="T28" fmla="*/ 300 w 349"/>
                        <a:gd name="T29" fmla="*/ 196 h 358"/>
                        <a:gd name="T30" fmla="*/ 302 w 349"/>
                        <a:gd name="T31" fmla="*/ 195 h 358"/>
                        <a:gd name="T32" fmla="*/ 313 w 349"/>
                        <a:gd name="T33" fmla="*/ 263 h 358"/>
                        <a:gd name="T34" fmla="*/ 312 w 349"/>
                        <a:gd name="T35" fmla="*/ 263 h 358"/>
                        <a:gd name="T36" fmla="*/ 321 w 349"/>
                        <a:gd name="T37" fmla="*/ 265 h 358"/>
                        <a:gd name="T38" fmla="*/ 343 w 349"/>
                        <a:gd name="T39" fmla="*/ 308 h 358"/>
                        <a:gd name="T40" fmla="*/ 338 w 349"/>
                        <a:gd name="T41" fmla="*/ 355 h 358"/>
                        <a:gd name="T42" fmla="*/ 314 w 349"/>
                        <a:gd name="T43" fmla="*/ 355 h 358"/>
                        <a:gd name="T44" fmla="*/ 256 w 349"/>
                        <a:gd name="T45" fmla="*/ 333 h 358"/>
                        <a:gd name="T46" fmla="*/ 209 w 349"/>
                        <a:gd name="T47" fmla="*/ 311 h 358"/>
                        <a:gd name="T48" fmla="*/ 177 w 349"/>
                        <a:gd name="T49" fmla="*/ 265 h 358"/>
                        <a:gd name="T50" fmla="*/ 163 w 349"/>
                        <a:gd name="T51" fmla="*/ 307 h 358"/>
                        <a:gd name="T52" fmla="*/ 133 w 349"/>
                        <a:gd name="T53" fmla="*/ 276 h 358"/>
                        <a:gd name="T54" fmla="*/ 123 w 349"/>
                        <a:gd name="T55" fmla="*/ 265 h 358"/>
                        <a:gd name="T56" fmla="*/ 95 w 349"/>
                        <a:gd name="T57" fmla="*/ 273 h 358"/>
                        <a:gd name="T58" fmla="*/ 57 w 349"/>
                        <a:gd name="T59" fmla="*/ 273 h 358"/>
                        <a:gd name="T60" fmla="*/ 22 w 349"/>
                        <a:gd name="T61" fmla="*/ 235 h 358"/>
                        <a:gd name="T62" fmla="*/ 30 w 349"/>
                        <a:gd name="T63" fmla="*/ 147 h 358"/>
                        <a:gd name="T64" fmla="*/ 35 w 349"/>
                        <a:gd name="T65" fmla="*/ 148 h 358"/>
                        <a:gd name="T66" fmla="*/ 48 w 349"/>
                        <a:gd name="T67" fmla="*/ 115 h 358"/>
                        <a:gd name="T68" fmla="*/ 59 w 349"/>
                        <a:gd name="T69" fmla="*/ 87 h 358"/>
                        <a:gd name="T70" fmla="*/ 83 w 349"/>
                        <a:gd name="T71" fmla="*/ 85 h 358"/>
                        <a:gd name="T72" fmla="*/ 124 w 349"/>
                        <a:gd name="T73" fmla="*/ 18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9" h="358">
                          <a:moveTo>
                            <a:pt x="68" y="85"/>
                          </a:moveTo>
                          <a:cubicBezTo>
                            <a:pt x="68" y="85"/>
                            <a:pt x="62" y="85"/>
                            <a:pt x="62" y="79"/>
                          </a:cubicBezTo>
                          <a:cubicBezTo>
                            <a:pt x="59" y="71"/>
                            <a:pt x="54" y="54"/>
                            <a:pt x="48" y="46"/>
                          </a:cubicBezTo>
                          <a:cubicBezTo>
                            <a:pt x="44" y="38"/>
                            <a:pt x="35" y="27"/>
                            <a:pt x="51" y="19"/>
                          </a:cubicBezTo>
                          <a:cubicBezTo>
                            <a:pt x="68" y="8"/>
                            <a:pt x="87" y="0"/>
                            <a:pt x="112" y="5"/>
                          </a:cubicBezTo>
                          <a:cubicBezTo>
                            <a:pt x="138" y="11"/>
                            <a:pt x="141" y="11"/>
                            <a:pt x="147" y="25"/>
                          </a:cubicBezTo>
                          <a:cubicBezTo>
                            <a:pt x="147" y="25"/>
                            <a:pt x="149" y="36"/>
                            <a:pt x="153" y="48"/>
                          </a:cubicBezTo>
                          <a:cubicBezTo>
                            <a:pt x="152" y="46"/>
                            <a:pt x="152" y="46"/>
                            <a:pt x="152" y="46"/>
                          </a:cubicBezTo>
                          <a:cubicBezTo>
                            <a:pt x="152" y="46"/>
                            <a:pt x="149" y="36"/>
                            <a:pt x="157" y="36"/>
                          </a:cubicBezTo>
                          <a:cubicBezTo>
                            <a:pt x="168" y="36"/>
                            <a:pt x="203" y="41"/>
                            <a:pt x="234" y="73"/>
                          </a:cubicBezTo>
                          <a:cubicBezTo>
                            <a:pt x="269" y="109"/>
                            <a:pt x="275" y="122"/>
                            <a:pt x="272" y="125"/>
                          </a:cubicBezTo>
                          <a:cubicBezTo>
                            <a:pt x="272" y="127"/>
                            <a:pt x="271" y="130"/>
                            <a:pt x="267" y="133"/>
                          </a:cubicBezTo>
                          <a:cubicBezTo>
                            <a:pt x="270" y="130"/>
                            <a:pt x="270" y="130"/>
                            <a:pt x="270" y="130"/>
                          </a:cubicBezTo>
                          <a:cubicBezTo>
                            <a:pt x="270" y="130"/>
                            <a:pt x="283" y="130"/>
                            <a:pt x="288" y="144"/>
                          </a:cubicBezTo>
                          <a:cubicBezTo>
                            <a:pt x="291" y="154"/>
                            <a:pt x="314" y="189"/>
                            <a:pt x="300" y="196"/>
                          </a:cubicBezTo>
                          <a:cubicBezTo>
                            <a:pt x="302" y="195"/>
                            <a:pt x="302" y="195"/>
                            <a:pt x="302" y="195"/>
                          </a:cubicBezTo>
                          <a:cubicBezTo>
                            <a:pt x="302" y="195"/>
                            <a:pt x="339" y="251"/>
                            <a:pt x="313" y="263"/>
                          </a:cubicBezTo>
                          <a:cubicBezTo>
                            <a:pt x="312" y="263"/>
                            <a:pt x="312" y="263"/>
                            <a:pt x="312" y="263"/>
                          </a:cubicBezTo>
                          <a:cubicBezTo>
                            <a:pt x="316" y="264"/>
                            <a:pt x="319" y="264"/>
                            <a:pt x="321" y="265"/>
                          </a:cubicBezTo>
                          <a:cubicBezTo>
                            <a:pt x="329" y="268"/>
                            <a:pt x="341" y="276"/>
                            <a:pt x="343" y="308"/>
                          </a:cubicBezTo>
                          <a:cubicBezTo>
                            <a:pt x="349" y="347"/>
                            <a:pt x="346" y="352"/>
                            <a:pt x="338" y="355"/>
                          </a:cubicBezTo>
                          <a:cubicBezTo>
                            <a:pt x="338" y="355"/>
                            <a:pt x="327" y="358"/>
                            <a:pt x="314" y="355"/>
                          </a:cubicBezTo>
                          <a:cubicBezTo>
                            <a:pt x="302" y="349"/>
                            <a:pt x="278" y="336"/>
                            <a:pt x="256" y="333"/>
                          </a:cubicBezTo>
                          <a:cubicBezTo>
                            <a:pt x="234" y="331"/>
                            <a:pt x="209" y="331"/>
                            <a:pt x="209" y="311"/>
                          </a:cubicBezTo>
                          <a:cubicBezTo>
                            <a:pt x="206" y="293"/>
                            <a:pt x="194" y="273"/>
                            <a:pt x="177" y="265"/>
                          </a:cubicBezTo>
                          <a:cubicBezTo>
                            <a:pt x="203" y="295"/>
                            <a:pt x="185" y="313"/>
                            <a:pt x="163" y="307"/>
                          </a:cubicBezTo>
                          <a:cubicBezTo>
                            <a:pt x="141" y="302"/>
                            <a:pt x="139" y="287"/>
                            <a:pt x="133" y="276"/>
                          </a:cubicBezTo>
                          <a:cubicBezTo>
                            <a:pt x="130" y="267"/>
                            <a:pt x="130" y="265"/>
                            <a:pt x="123" y="265"/>
                          </a:cubicBezTo>
                          <a:cubicBezTo>
                            <a:pt x="117" y="262"/>
                            <a:pt x="109" y="267"/>
                            <a:pt x="95" y="273"/>
                          </a:cubicBezTo>
                          <a:cubicBezTo>
                            <a:pt x="84" y="276"/>
                            <a:pt x="71" y="278"/>
                            <a:pt x="57" y="273"/>
                          </a:cubicBezTo>
                          <a:cubicBezTo>
                            <a:pt x="46" y="270"/>
                            <a:pt x="22" y="235"/>
                            <a:pt x="22" y="235"/>
                          </a:cubicBezTo>
                          <a:cubicBezTo>
                            <a:pt x="0" y="196"/>
                            <a:pt x="30" y="147"/>
                            <a:pt x="30" y="147"/>
                          </a:cubicBezTo>
                          <a:cubicBezTo>
                            <a:pt x="35" y="148"/>
                            <a:pt x="35" y="148"/>
                            <a:pt x="35" y="148"/>
                          </a:cubicBezTo>
                          <a:cubicBezTo>
                            <a:pt x="35" y="148"/>
                            <a:pt x="46" y="123"/>
                            <a:pt x="48" y="115"/>
                          </a:cubicBezTo>
                          <a:cubicBezTo>
                            <a:pt x="51" y="104"/>
                            <a:pt x="54" y="90"/>
                            <a:pt x="59" y="87"/>
                          </a:cubicBezTo>
                          <a:cubicBezTo>
                            <a:pt x="62" y="87"/>
                            <a:pt x="76" y="82"/>
                            <a:pt x="83" y="85"/>
                          </a:cubicBezTo>
                          <a:cubicBezTo>
                            <a:pt x="94" y="87"/>
                            <a:pt x="117" y="85"/>
                            <a:pt x="124" y="182"/>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8" name="Freeform 24">
                      <a:extLst>
                        <a:ext uri="{FF2B5EF4-FFF2-40B4-BE49-F238E27FC236}">
                          <a16:creationId xmlns:a16="http://schemas.microsoft.com/office/drawing/2014/main" id="{30D18ECB-1DD0-A6E8-46D5-9782D375BFD5}"/>
                        </a:ext>
                      </a:extLst>
                    </p:cNvPr>
                    <p:cNvSpPr>
                      <a:spLocks noChangeAspect="1"/>
                    </p:cNvSpPr>
                    <p:nvPr/>
                  </p:nvSpPr>
                  <p:spPr bwMode="auto">
                    <a:xfrm>
                      <a:off x="3923" y="1517"/>
                      <a:ext cx="605" cy="637"/>
                    </a:xfrm>
                    <a:custGeom>
                      <a:avLst/>
                      <a:gdLst>
                        <a:gd name="T0" fmla="*/ 49 w 256"/>
                        <a:gd name="T1" fmla="*/ 231 h 270"/>
                        <a:gd name="T2" fmla="*/ 44 w 256"/>
                        <a:gd name="T3" fmla="*/ 204 h 270"/>
                        <a:gd name="T4" fmla="*/ 11 w 256"/>
                        <a:gd name="T5" fmla="*/ 188 h 270"/>
                        <a:gd name="T6" fmla="*/ 3 w 256"/>
                        <a:gd name="T7" fmla="*/ 177 h 270"/>
                        <a:gd name="T8" fmla="*/ 35 w 256"/>
                        <a:gd name="T9" fmla="*/ 183 h 270"/>
                        <a:gd name="T10" fmla="*/ 47 w 256"/>
                        <a:gd name="T11" fmla="*/ 158 h 270"/>
                        <a:gd name="T12" fmla="*/ 33 w 256"/>
                        <a:gd name="T13" fmla="*/ 108 h 270"/>
                        <a:gd name="T14" fmla="*/ 41 w 256"/>
                        <a:gd name="T15" fmla="*/ 117 h 270"/>
                        <a:gd name="T16" fmla="*/ 66 w 256"/>
                        <a:gd name="T17" fmla="*/ 174 h 270"/>
                        <a:gd name="T18" fmla="*/ 101 w 256"/>
                        <a:gd name="T19" fmla="*/ 163 h 270"/>
                        <a:gd name="T20" fmla="*/ 101 w 256"/>
                        <a:gd name="T21" fmla="*/ 100 h 270"/>
                        <a:gd name="T22" fmla="*/ 60 w 256"/>
                        <a:gd name="T23" fmla="*/ 21 h 270"/>
                        <a:gd name="T24" fmla="*/ 44 w 256"/>
                        <a:gd name="T25" fmla="*/ 0 h 270"/>
                        <a:gd name="T26" fmla="*/ 63 w 256"/>
                        <a:gd name="T27" fmla="*/ 8 h 270"/>
                        <a:gd name="T28" fmla="*/ 85 w 256"/>
                        <a:gd name="T29" fmla="*/ 49 h 270"/>
                        <a:gd name="T30" fmla="*/ 109 w 256"/>
                        <a:gd name="T31" fmla="*/ 117 h 270"/>
                        <a:gd name="T32" fmla="*/ 136 w 256"/>
                        <a:gd name="T33" fmla="*/ 163 h 270"/>
                        <a:gd name="T34" fmla="*/ 177 w 256"/>
                        <a:gd name="T35" fmla="*/ 108 h 270"/>
                        <a:gd name="T36" fmla="*/ 169 w 256"/>
                        <a:gd name="T37" fmla="*/ 62 h 270"/>
                        <a:gd name="T38" fmla="*/ 150 w 256"/>
                        <a:gd name="T39" fmla="*/ 43 h 270"/>
                        <a:gd name="T40" fmla="*/ 139 w 256"/>
                        <a:gd name="T41" fmla="*/ 29 h 270"/>
                        <a:gd name="T42" fmla="*/ 163 w 256"/>
                        <a:gd name="T43" fmla="*/ 49 h 270"/>
                        <a:gd name="T44" fmla="*/ 188 w 256"/>
                        <a:gd name="T45" fmla="*/ 76 h 270"/>
                        <a:gd name="T46" fmla="*/ 186 w 256"/>
                        <a:gd name="T47" fmla="*/ 125 h 270"/>
                        <a:gd name="T48" fmla="*/ 215 w 256"/>
                        <a:gd name="T49" fmla="*/ 131 h 270"/>
                        <a:gd name="T50" fmla="*/ 215 w 256"/>
                        <a:gd name="T51" fmla="*/ 131 h 270"/>
                        <a:gd name="T52" fmla="*/ 191 w 256"/>
                        <a:gd name="T53" fmla="*/ 131 h 270"/>
                        <a:gd name="T54" fmla="*/ 172 w 256"/>
                        <a:gd name="T55" fmla="*/ 161 h 270"/>
                        <a:gd name="T56" fmla="*/ 212 w 256"/>
                        <a:gd name="T57" fmla="*/ 183 h 270"/>
                        <a:gd name="T58" fmla="*/ 232 w 256"/>
                        <a:gd name="T59" fmla="*/ 190 h 270"/>
                        <a:gd name="T60" fmla="*/ 207 w 256"/>
                        <a:gd name="T61" fmla="*/ 188 h 270"/>
                        <a:gd name="T62" fmla="*/ 166 w 256"/>
                        <a:gd name="T63" fmla="*/ 174 h 270"/>
                        <a:gd name="T64" fmla="*/ 155 w 256"/>
                        <a:gd name="T65" fmla="*/ 202 h 270"/>
                        <a:gd name="T66" fmla="*/ 199 w 256"/>
                        <a:gd name="T67" fmla="*/ 251 h 270"/>
                        <a:gd name="T68" fmla="*/ 237 w 256"/>
                        <a:gd name="T69" fmla="*/ 265 h 270"/>
                        <a:gd name="T70" fmla="*/ 250 w 256"/>
                        <a:gd name="T71" fmla="*/ 270 h 270"/>
                        <a:gd name="T72" fmla="*/ 239 w 256"/>
                        <a:gd name="T73" fmla="*/ 270 h 270"/>
                        <a:gd name="T74" fmla="*/ 183 w 256"/>
                        <a:gd name="T75" fmla="*/ 248 h 270"/>
                        <a:gd name="T76" fmla="*/ 134 w 256"/>
                        <a:gd name="T77" fmla="*/ 210 h 270"/>
                        <a:gd name="T78" fmla="*/ 112 w 256"/>
                        <a:gd name="T79" fmla="*/ 221 h 270"/>
                        <a:gd name="T80" fmla="*/ 82 w 256"/>
                        <a:gd name="T81" fmla="*/ 231 h 270"/>
                        <a:gd name="T82" fmla="*/ 90 w 256"/>
                        <a:gd name="T83" fmla="*/ 224 h 270"/>
                        <a:gd name="T84" fmla="*/ 118 w 256"/>
                        <a:gd name="T85" fmla="*/ 179 h 270"/>
                        <a:gd name="T86" fmla="*/ 98 w 256"/>
                        <a:gd name="T87" fmla="*/ 188 h 270"/>
                        <a:gd name="T88" fmla="*/ 69 w 256"/>
                        <a:gd name="T89" fmla="*/ 196 h 270"/>
                        <a:gd name="T90" fmla="*/ 51 w 256"/>
                        <a:gd name="T91" fmla="*/ 231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6" h="270">
                          <a:moveTo>
                            <a:pt x="49" y="231"/>
                          </a:moveTo>
                          <a:cubicBezTo>
                            <a:pt x="49" y="231"/>
                            <a:pt x="55" y="213"/>
                            <a:pt x="44" y="204"/>
                          </a:cubicBezTo>
                          <a:cubicBezTo>
                            <a:pt x="35" y="196"/>
                            <a:pt x="17" y="193"/>
                            <a:pt x="11" y="188"/>
                          </a:cubicBezTo>
                          <a:cubicBezTo>
                            <a:pt x="6" y="183"/>
                            <a:pt x="6" y="183"/>
                            <a:pt x="3" y="177"/>
                          </a:cubicBezTo>
                          <a:cubicBezTo>
                            <a:pt x="0" y="172"/>
                            <a:pt x="14" y="193"/>
                            <a:pt x="35" y="183"/>
                          </a:cubicBezTo>
                          <a:cubicBezTo>
                            <a:pt x="55" y="172"/>
                            <a:pt x="49" y="169"/>
                            <a:pt x="47" y="158"/>
                          </a:cubicBezTo>
                          <a:cubicBezTo>
                            <a:pt x="44" y="149"/>
                            <a:pt x="35" y="114"/>
                            <a:pt x="33" y="108"/>
                          </a:cubicBezTo>
                          <a:cubicBezTo>
                            <a:pt x="31" y="100"/>
                            <a:pt x="31" y="87"/>
                            <a:pt x="41" y="117"/>
                          </a:cubicBezTo>
                          <a:cubicBezTo>
                            <a:pt x="49" y="147"/>
                            <a:pt x="49" y="172"/>
                            <a:pt x="66" y="174"/>
                          </a:cubicBezTo>
                          <a:cubicBezTo>
                            <a:pt x="79" y="180"/>
                            <a:pt x="93" y="180"/>
                            <a:pt x="101" y="163"/>
                          </a:cubicBezTo>
                          <a:cubicBezTo>
                            <a:pt x="107" y="147"/>
                            <a:pt x="104" y="108"/>
                            <a:pt x="101" y="100"/>
                          </a:cubicBezTo>
                          <a:cubicBezTo>
                            <a:pt x="98" y="90"/>
                            <a:pt x="74" y="35"/>
                            <a:pt x="60" y="21"/>
                          </a:cubicBezTo>
                          <a:cubicBezTo>
                            <a:pt x="47" y="8"/>
                            <a:pt x="44" y="0"/>
                            <a:pt x="44" y="0"/>
                          </a:cubicBezTo>
                          <a:cubicBezTo>
                            <a:pt x="44" y="0"/>
                            <a:pt x="58" y="5"/>
                            <a:pt x="63" y="8"/>
                          </a:cubicBezTo>
                          <a:cubicBezTo>
                            <a:pt x="69" y="13"/>
                            <a:pt x="79" y="38"/>
                            <a:pt x="85" y="49"/>
                          </a:cubicBezTo>
                          <a:cubicBezTo>
                            <a:pt x="93" y="56"/>
                            <a:pt x="109" y="87"/>
                            <a:pt x="109" y="117"/>
                          </a:cubicBezTo>
                          <a:cubicBezTo>
                            <a:pt x="112" y="149"/>
                            <a:pt x="120" y="166"/>
                            <a:pt x="136" y="163"/>
                          </a:cubicBezTo>
                          <a:cubicBezTo>
                            <a:pt x="155" y="161"/>
                            <a:pt x="174" y="139"/>
                            <a:pt x="177" y="108"/>
                          </a:cubicBezTo>
                          <a:cubicBezTo>
                            <a:pt x="177" y="81"/>
                            <a:pt x="177" y="67"/>
                            <a:pt x="169" y="62"/>
                          </a:cubicBezTo>
                          <a:cubicBezTo>
                            <a:pt x="158" y="54"/>
                            <a:pt x="155" y="51"/>
                            <a:pt x="150" y="43"/>
                          </a:cubicBezTo>
                          <a:cubicBezTo>
                            <a:pt x="145" y="38"/>
                            <a:pt x="139" y="32"/>
                            <a:pt x="139" y="29"/>
                          </a:cubicBezTo>
                          <a:cubicBezTo>
                            <a:pt x="136" y="27"/>
                            <a:pt x="153" y="43"/>
                            <a:pt x="163" y="49"/>
                          </a:cubicBezTo>
                          <a:cubicBezTo>
                            <a:pt x="172" y="56"/>
                            <a:pt x="188" y="67"/>
                            <a:pt x="188" y="76"/>
                          </a:cubicBezTo>
                          <a:cubicBezTo>
                            <a:pt x="188" y="84"/>
                            <a:pt x="180" y="120"/>
                            <a:pt x="186" y="125"/>
                          </a:cubicBezTo>
                          <a:cubicBezTo>
                            <a:pt x="186" y="125"/>
                            <a:pt x="201" y="131"/>
                            <a:pt x="215" y="131"/>
                          </a:cubicBezTo>
                          <a:cubicBezTo>
                            <a:pt x="232" y="128"/>
                            <a:pt x="224" y="131"/>
                            <a:pt x="215" y="131"/>
                          </a:cubicBezTo>
                          <a:cubicBezTo>
                            <a:pt x="210" y="133"/>
                            <a:pt x="201" y="131"/>
                            <a:pt x="191" y="131"/>
                          </a:cubicBezTo>
                          <a:cubicBezTo>
                            <a:pt x="180" y="133"/>
                            <a:pt x="169" y="144"/>
                            <a:pt x="172" y="161"/>
                          </a:cubicBezTo>
                          <a:cubicBezTo>
                            <a:pt x="174" y="174"/>
                            <a:pt x="201" y="177"/>
                            <a:pt x="212" y="183"/>
                          </a:cubicBezTo>
                          <a:cubicBezTo>
                            <a:pt x="224" y="185"/>
                            <a:pt x="232" y="185"/>
                            <a:pt x="232" y="190"/>
                          </a:cubicBezTo>
                          <a:cubicBezTo>
                            <a:pt x="229" y="193"/>
                            <a:pt x="218" y="190"/>
                            <a:pt x="207" y="188"/>
                          </a:cubicBezTo>
                          <a:cubicBezTo>
                            <a:pt x="199" y="185"/>
                            <a:pt x="174" y="172"/>
                            <a:pt x="166" y="174"/>
                          </a:cubicBezTo>
                          <a:cubicBezTo>
                            <a:pt x="158" y="177"/>
                            <a:pt x="150" y="185"/>
                            <a:pt x="155" y="202"/>
                          </a:cubicBezTo>
                          <a:cubicBezTo>
                            <a:pt x="158" y="221"/>
                            <a:pt x="188" y="245"/>
                            <a:pt x="199" y="251"/>
                          </a:cubicBezTo>
                          <a:cubicBezTo>
                            <a:pt x="207" y="259"/>
                            <a:pt x="229" y="265"/>
                            <a:pt x="237" y="265"/>
                          </a:cubicBezTo>
                          <a:cubicBezTo>
                            <a:pt x="245" y="267"/>
                            <a:pt x="245" y="267"/>
                            <a:pt x="250" y="270"/>
                          </a:cubicBezTo>
                          <a:cubicBezTo>
                            <a:pt x="256" y="270"/>
                            <a:pt x="256" y="270"/>
                            <a:pt x="239" y="270"/>
                          </a:cubicBezTo>
                          <a:cubicBezTo>
                            <a:pt x="226" y="267"/>
                            <a:pt x="196" y="259"/>
                            <a:pt x="183" y="248"/>
                          </a:cubicBezTo>
                          <a:cubicBezTo>
                            <a:pt x="169" y="237"/>
                            <a:pt x="147" y="207"/>
                            <a:pt x="134" y="210"/>
                          </a:cubicBezTo>
                          <a:cubicBezTo>
                            <a:pt x="120" y="210"/>
                            <a:pt x="120" y="215"/>
                            <a:pt x="112" y="221"/>
                          </a:cubicBezTo>
                          <a:cubicBezTo>
                            <a:pt x="101" y="226"/>
                            <a:pt x="90" y="231"/>
                            <a:pt x="82" y="231"/>
                          </a:cubicBezTo>
                          <a:cubicBezTo>
                            <a:pt x="74" y="237"/>
                            <a:pt x="87" y="229"/>
                            <a:pt x="90" y="224"/>
                          </a:cubicBezTo>
                          <a:cubicBezTo>
                            <a:pt x="96" y="218"/>
                            <a:pt x="123" y="181"/>
                            <a:pt x="118" y="179"/>
                          </a:cubicBezTo>
                          <a:cubicBezTo>
                            <a:pt x="115" y="179"/>
                            <a:pt x="112" y="183"/>
                            <a:pt x="98" y="188"/>
                          </a:cubicBezTo>
                          <a:cubicBezTo>
                            <a:pt x="85" y="193"/>
                            <a:pt x="74" y="197"/>
                            <a:pt x="69" y="196"/>
                          </a:cubicBezTo>
                          <a:cubicBezTo>
                            <a:pt x="45" y="192"/>
                            <a:pt x="53" y="222"/>
                            <a:pt x="51" y="231"/>
                          </a:cubicBezTo>
                        </a:path>
                      </a:pathLst>
                    </a:custGeom>
                    <a:grpFill/>
                    <a:ln w="19050" cap="rnd">
                      <a:solidFill>
                        <a:schemeClr val="tx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9" name="Freeform 19">
                      <a:extLst>
                        <a:ext uri="{FF2B5EF4-FFF2-40B4-BE49-F238E27FC236}">
                          <a16:creationId xmlns:a16="http://schemas.microsoft.com/office/drawing/2014/main" id="{C749BE7F-1961-EC71-EF68-0C672377E758}"/>
                        </a:ext>
                      </a:extLst>
                    </p:cNvPr>
                    <p:cNvSpPr>
                      <a:spLocks noChangeAspect="1"/>
                    </p:cNvSpPr>
                    <p:nvPr/>
                  </p:nvSpPr>
                  <p:spPr bwMode="auto">
                    <a:xfrm>
                      <a:off x="4169" y="1552"/>
                      <a:ext cx="101" cy="264"/>
                    </a:xfrm>
                    <a:custGeom>
                      <a:avLst/>
                      <a:gdLst>
                        <a:gd name="T0" fmla="*/ 0 w 43"/>
                        <a:gd name="T1" fmla="*/ 0 h 112"/>
                        <a:gd name="T2" fmla="*/ 13 w 43"/>
                        <a:gd name="T3" fmla="*/ 28 h 112"/>
                        <a:gd name="T4" fmla="*/ 35 w 43"/>
                        <a:gd name="T5" fmla="*/ 112 h 112"/>
                      </a:gdLst>
                      <a:ahLst/>
                      <a:cxnLst>
                        <a:cxn ang="0">
                          <a:pos x="T0" y="T1"/>
                        </a:cxn>
                        <a:cxn ang="0">
                          <a:pos x="T2" y="T3"/>
                        </a:cxn>
                        <a:cxn ang="0">
                          <a:pos x="T4" y="T5"/>
                        </a:cxn>
                      </a:cxnLst>
                      <a:rect l="0" t="0" r="r" b="b"/>
                      <a:pathLst>
                        <a:path w="43" h="112">
                          <a:moveTo>
                            <a:pt x="0" y="0"/>
                          </a:moveTo>
                          <a:cubicBezTo>
                            <a:pt x="3" y="11"/>
                            <a:pt x="8" y="23"/>
                            <a:pt x="13" y="28"/>
                          </a:cubicBezTo>
                          <a:cubicBezTo>
                            <a:pt x="24" y="39"/>
                            <a:pt x="43" y="63"/>
                            <a:pt x="35" y="112"/>
                          </a:cubicBezTo>
                        </a:path>
                      </a:pathLst>
                    </a:custGeom>
                    <a:grpFill/>
                    <a:ln w="19050" cap="rnd">
                      <a:solidFill>
                        <a:schemeClr val="accent3"/>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0" name="Freeform 20">
                      <a:extLst>
                        <a:ext uri="{FF2B5EF4-FFF2-40B4-BE49-F238E27FC236}">
                          <a16:creationId xmlns:a16="http://schemas.microsoft.com/office/drawing/2014/main" id="{F08013C1-2500-728A-97D1-5E7ECFEEA96D}"/>
                        </a:ext>
                      </a:extLst>
                    </p:cNvPr>
                    <p:cNvSpPr>
                      <a:spLocks noChangeAspect="1"/>
                    </p:cNvSpPr>
                    <p:nvPr/>
                  </p:nvSpPr>
                  <p:spPr bwMode="auto">
                    <a:xfrm>
                      <a:off x="4410" y="1753"/>
                      <a:ext cx="28" cy="4"/>
                    </a:xfrm>
                    <a:custGeom>
                      <a:avLst/>
                      <a:gdLst>
                        <a:gd name="T0" fmla="*/ 12 w 12"/>
                        <a:gd name="T1" fmla="*/ 0 h 2"/>
                        <a:gd name="T2" fmla="*/ 0 w 12"/>
                        <a:gd name="T3" fmla="*/ 2 h 2"/>
                      </a:gdLst>
                      <a:ahLst/>
                      <a:cxnLst>
                        <a:cxn ang="0">
                          <a:pos x="T0" y="T1"/>
                        </a:cxn>
                        <a:cxn ang="0">
                          <a:pos x="T2" y="T3"/>
                        </a:cxn>
                      </a:cxnLst>
                      <a:rect l="0" t="0" r="r" b="b"/>
                      <a:pathLst>
                        <a:path w="12" h="2">
                          <a:moveTo>
                            <a:pt x="12" y="0"/>
                          </a:moveTo>
                          <a:cubicBezTo>
                            <a:pt x="10" y="1"/>
                            <a:pt x="6" y="2"/>
                            <a:pt x="0" y="2"/>
                          </a:cubicBezTo>
                        </a:path>
                      </a:pathLst>
                    </a:custGeom>
                    <a:grpFill/>
                    <a:ln w="19050" cap="rnd">
                      <a:solidFill>
                        <a:schemeClr val="accent3"/>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1" name="Freeform 22">
                      <a:extLst>
                        <a:ext uri="{FF2B5EF4-FFF2-40B4-BE49-F238E27FC236}">
                          <a16:creationId xmlns:a16="http://schemas.microsoft.com/office/drawing/2014/main" id="{964246E8-BB7E-78F7-C833-29569627D5E4}"/>
                        </a:ext>
                      </a:extLst>
                    </p:cNvPr>
                    <p:cNvSpPr>
                      <a:spLocks noChangeAspect="1"/>
                    </p:cNvSpPr>
                    <p:nvPr/>
                  </p:nvSpPr>
                  <p:spPr bwMode="auto">
                    <a:xfrm>
                      <a:off x="4412" y="1883"/>
                      <a:ext cx="104" cy="21"/>
                    </a:xfrm>
                    <a:custGeom>
                      <a:avLst/>
                      <a:gdLst>
                        <a:gd name="T0" fmla="*/ 44 w 44"/>
                        <a:gd name="T1" fmla="*/ 8 h 9"/>
                        <a:gd name="T2" fmla="*/ 35 w 44"/>
                        <a:gd name="T3" fmla="*/ 9 h 9"/>
                        <a:gd name="T4" fmla="*/ 0 w 44"/>
                        <a:gd name="T5" fmla="*/ 3 h 9"/>
                      </a:gdLst>
                      <a:ahLst/>
                      <a:cxnLst>
                        <a:cxn ang="0">
                          <a:pos x="T0" y="T1"/>
                        </a:cxn>
                        <a:cxn ang="0">
                          <a:pos x="T2" y="T3"/>
                        </a:cxn>
                        <a:cxn ang="0">
                          <a:pos x="T4" y="T5"/>
                        </a:cxn>
                      </a:cxnLst>
                      <a:rect l="0" t="0" r="r" b="b"/>
                      <a:pathLst>
                        <a:path w="44" h="9">
                          <a:moveTo>
                            <a:pt x="44" y="8"/>
                          </a:moveTo>
                          <a:cubicBezTo>
                            <a:pt x="42" y="9"/>
                            <a:pt x="39" y="9"/>
                            <a:pt x="35" y="9"/>
                          </a:cubicBezTo>
                          <a:cubicBezTo>
                            <a:pt x="22" y="9"/>
                            <a:pt x="8" y="0"/>
                            <a:pt x="0" y="3"/>
                          </a:cubicBezTo>
                        </a:path>
                      </a:pathLst>
                    </a:custGeom>
                    <a:grpFill/>
                    <a:ln w="19050" cap="rnd">
                      <a:solidFill>
                        <a:schemeClr val="accent3"/>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sp>
              <p:nvSpPr>
                <p:cNvPr id="209" name="Freeform: Shape 208">
                  <a:extLst>
                    <a:ext uri="{FF2B5EF4-FFF2-40B4-BE49-F238E27FC236}">
                      <a16:creationId xmlns:a16="http://schemas.microsoft.com/office/drawing/2014/main" id="{DD0F2522-F650-255D-163B-901B9F4C45F5}"/>
                    </a:ext>
                  </a:extLst>
                </p:cNvPr>
                <p:cNvSpPr/>
                <p:nvPr/>
              </p:nvSpPr>
              <p:spPr>
                <a:xfrm>
                  <a:off x="2084717" y="4117807"/>
                  <a:ext cx="662429" cy="196199"/>
                </a:xfrm>
                <a:custGeom>
                  <a:avLst/>
                  <a:gdLst>
                    <a:gd name="connsiteX0" fmla="*/ 55880 w 767080"/>
                    <a:gd name="connsiteY0" fmla="*/ 111760 h 320040"/>
                    <a:gd name="connsiteX1" fmla="*/ 248920 w 767080"/>
                    <a:gd name="connsiteY1" fmla="*/ 5080 h 320040"/>
                    <a:gd name="connsiteX2" fmla="*/ 619760 w 767080"/>
                    <a:gd name="connsiteY2" fmla="*/ 0 h 320040"/>
                    <a:gd name="connsiteX3" fmla="*/ 746760 w 767080"/>
                    <a:gd name="connsiteY3" fmla="*/ 30480 h 320040"/>
                    <a:gd name="connsiteX4" fmla="*/ 767080 w 767080"/>
                    <a:gd name="connsiteY4" fmla="*/ 152400 h 320040"/>
                    <a:gd name="connsiteX5" fmla="*/ 614680 w 767080"/>
                    <a:gd name="connsiteY5" fmla="*/ 320040 h 320040"/>
                    <a:gd name="connsiteX6" fmla="*/ 264160 w 767080"/>
                    <a:gd name="connsiteY6" fmla="*/ 299720 h 320040"/>
                    <a:gd name="connsiteX7" fmla="*/ 147320 w 767080"/>
                    <a:gd name="connsiteY7" fmla="*/ 254000 h 320040"/>
                    <a:gd name="connsiteX8" fmla="*/ 50800 w 767080"/>
                    <a:gd name="connsiteY8" fmla="*/ 259080 h 320040"/>
                    <a:gd name="connsiteX9" fmla="*/ 0 w 767080"/>
                    <a:gd name="connsiteY9" fmla="*/ 228600 h 320040"/>
                    <a:gd name="connsiteX10" fmla="*/ 55880 w 767080"/>
                    <a:gd name="connsiteY10" fmla="*/ 111760 h 320040"/>
                    <a:gd name="connsiteX0" fmla="*/ 55880 w 777070"/>
                    <a:gd name="connsiteY0" fmla="*/ 111760 h 320040"/>
                    <a:gd name="connsiteX1" fmla="*/ 248920 w 777070"/>
                    <a:gd name="connsiteY1" fmla="*/ 5080 h 320040"/>
                    <a:gd name="connsiteX2" fmla="*/ 619760 w 777070"/>
                    <a:gd name="connsiteY2" fmla="*/ 0 h 320040"/>
                    <a:gd name="connsiteX3" fmla="*/ 746760 w 777070"/>
                    <a:gd name="connsiteY3" fmla="*/ 30480 h 320040"/>
                    <a:gd name="connsiteX4" fmla="*/ 767080 w 777070"/>
                    <a:gd name="connsiteY4" fmla="*/ 152400 h 320040"/>
                    <a:gd name="connsiteX5" fmla="*/ 614680 w 777070"/>
                    <a:gd name="connsiteY5" fmla="*/ 320040 h 320040"/>
                    <a:gd name="connsiteX6" fmla="*/ 264160 w 777070"/>
                    <a:gd name="connsiteY6" fmla="*/ 299720 h 320040"/>
                    <a:gd name="connsiteX7" fmla="*/ 147320 w 777070"/>
                    <a:gd name="connsiteY7" fmla="*/ 254000 h 320040"/>
                    <a:gd name="connsiteX8" fmla="*/ 50800 w 777070"/>
                    <a:gd name="connsiteY8" fmla="*/ 259080 h 320040"/>
                    <a:gd name="connsiteX9" fmla="*/ 0 w 777070"/>
                    <a:gd name="connsiteY9" fmla="*/ 228600 h 320040"/>
                    <a:gd name="connsiteX10" fmla="*/ 55880 w 777070"/>
                    <a:gd name="connsiteY10" fmla="*/ 111760 h 320040"/>
                    <a:gd name="connsiteX0" fmla="*/ 55880 w 777070"/>
                    <a:gd name="connsiteY0" fmla="*/ 111760 h 320302"/>
                    <a:gd name="connsiteX1" fmla="*/ 248920 w 777070"/>
                    <a:gd name="connsiteY1" fmla="*/ 5080 h 320302"/>
                    <a:gd name="connsiteX2" fmla="*/ 619760 w 777070"/>
                    <a:gd name="connsiteY2" fmla="*/ 0 h 320302"/>
                    <a:gd name="connsiteX3" fmla="*/ 746760 w 777070"/>
                    <a:gd name="connsiteY3" fmla="*/ 30480 h 320302"/>
                    <a:gd name="connsiteX4" fmla="*/ 767080 w 777070"/>
                    <a:gd name="connsiteY4" fmla="*/ 152400 h 320302"/>
                    <a:gd name="connsiteX5" fmla="*/ 614680 w 777070"/>
                    <a:gd name="connsiteY5" fmla="*/ 320040 h 320302"/>
                    <a:gd name="connsiteX6" fmla="*/ 264160 w 777070"/>
                    <a:gd name="connsiteY6" fmla="*/ 299720 h 320302"/>
                    <a:gd name="connsiteX7" fmla="*/ 147320 w 777070"/>
                    <a:gd name="connsiteY7" fmla="*/ 254000 h 320302"/>
                    <a:gd name="connsiteX8" fmla="*/ 50800 w 777070"/>
                    <a:gd name="connsiteY8" fmla="*/ 259080 h 320302"/>
                    <a:gd name="connsiteX9" fmla="*/ 0 w 777070"/>
                    <a:gd name="connsiteY9" fmla="*/ 228600 h 320302"/>
                    <a:gd name="connsiteX10" fmla="*/ 55880 w 777070"/>
                    <a:gd name="connsiteY10" fmla="*/ 111760 h 320302"/>
                    <a:gd name="connsiteX0" fmla="*/ 55880 w 777070"/>
                    <a:gd name="connsiteY0" fmla="*/ 111760 h 320302"/>
                    <a:gd name="connsiteX1" fmla="*/ 248920 w 777070"/>
                    <a:gd name="connsiteY1" fmla="*/ 5080 h 320302"/>
                    <a:gd name="connsiteX2" fmla="*/ 619760 w 777070"/>
                    <a:gd name="connsiteY2" fmla="*/ 0 h 320302"/>
                    <a:gd name="connsiteX3" fmla="*/ 746760 w 777070"/>
                    <a:gd name="connsiteY3" fmla="*/ 30480 h 320302"/>
                    <a:gd name="connsiteX4" fmla="*/ 767080 w 777070"/>
                    <a:gd name="connsiteY4" fmla="*/ 152400 h 320302"/>
                    <a:gd name="connsiteX5" fmla="*/ 614680 w 777070"/>
                    <a:gd name="connsiteY5" fmla="*/ 320040 h 320302"/>
                    <a:gd name="connsiteX6" fmla="*/ 264160 w 777070"/>
                    <a:gd name="connsiteY6" fmla="*/ 299720 h 320302"/>
                    <a:gd name="connsiteX7" fmla="*/ 147320 w 777070"/>
                    <a:gd name="connsiteY7" fmla="*/ 254000 h 320302"/>
                    <a:gd name="connsiteX8" fmla="*/ 50800 w 777070"/>
                    <a:gd name="connsiteY8" fmla="*/ 259080 h 320302"/>
                    <a:gd name="connsiteX9" fmla="*/ 0 w 777070"/>
                    <a:gd name="connsiteY9" fmla="*/ 228600 h 320302"/>
                    <a:gd name="connsiteX10" fmla="*/ 55880 w 777070"/>
                    <a:gd name="connsiteY10" fmla="*/ 111760 h 320302"/>
                    <a:gd name="connsiteX0" fmla="*/ 55880 w 777070"/>
                    <a:gd name="connsiteY0" fmla="*/ 111760 h 320302"/>
                    <a:gd name="connsiteX1" fmla="*/ 248920 w 777070"/>
                    <a:gd name="connsiteY1" fmla="*/ 5080 h 320302"/>
                    <a:gd name="connsiteX2" fmla="*/ 619760 w 777070"/>
                    <a:gd name="connsiteY2" fmla="*/ 0 h 320302"/>
                    <a:gd name="connsiteX3" fmla="*/ 746760 w 777070"/>
                    <a:gd name="connsiteY3" fmla="*/ 30480 h 320302"/>
                    <a:gd name="connsiteX4" fmla="*/ 767080 w 777070"/>
                    <a:gd name="connsiteY4" fmla="*/ 152400 h 320302"/>
                    <a:gd name="connsiteX5" fmla="*/ 614680 w 777070"/>
                    <a:gd name="connsiteY5" fmla="*/ 320040 h 320302"/>
                    <a:gd name="connsiteX6" fmla="*/ 264160 w 777070"/>
                    <a:gd name="connsiteY6" fmla="*/ 299720 h 320302"/>
                    <a:gd name="connsiteX7" fmla="*/ 147320 w 777070"/>
                    <a:gd name="connsiteY7" fmla="*/ 254000 h 320302"/>
                    <a:gd name="connsiteX8" fmla="*/ 50800 w 777070"/>
                    <a:gd name="connsiteY8" fmla="*/ 259080 h 320302"/>
                    <a:gd name="connsiteX9" fmla="*/ 0 w 777070"/>
                    <a:gd name="connsiteY9" fmla="*/ 228600 h 320302"/>
                    <a:gd name="connsiteX10" fmla="*/ 55880 w 777070"/>
                    <a:gd name="connsiteY10" fmla="*/ 111760 h 320302"/>
                    <a:gd name="connsiteX0" fmla="*/ 55906 w 777096"/>
                    <a:gd name="connsiteY0" fmla="*/ 111760 h 320302"/>
                    <a:gd name="connsiteX1" fmla="*/ 248946 w 777096"/>
                    <a:gd name="connsiteY1" fmla="*/ 5080 h 320302"/>
                    <a:gd name="connsiteX2" fmla="*/ 619786 w 777096"/>
                    <a:gd name="connsiteY2" fmla="*/ 0 h 320302"/>
                    <a:gd name="connsiteX3" fmla="*/ 746786 w 777096"/>
                    <a:gd name="connsiteY3" fmla="*/ 30480 h 320302"/>
                    <a:gd name="connsiteX4" fmla="*/ 767106 w 777096"/>
                    <a:gd name="connsiteY4" fmla="*/ 152400 h 320302"/>
                    <a:gd name="connsiteX5" fmla="*/ 614706 w 777096"/>
                    <a:gd name="connsiteY5" fmla="*/ 320040 h 320302"/>
                    <a:gd name="connsiteX6" fmla="*/ 264186 w 777096"/>
                    <a:gd name="connsiteY6" fmla="*/ 299720 h 320302"/>
                    <a:gd name="connsiteX7" fmla="*/ 147346 w 777096"/>
                    <a:gd name="connsiteY7" fmla="*/ 254000 h 320302"/>
                    <a:gd name="connsiteX8" fmla="*/ 50826 w 777096"/>
                    <a:gd name="connsiteY8" fmla="*/ 259080 h 320302"/>
                    <a:gd name="connsiteX9" fmla="*/ 26 w 777096"/>
                    <a:gd name="connsiteY9" fmla="*/ 228600 h 320302"/>
                    <a:gd name="connsiteX10" fmla="*/ 55906 w 777096"/>
                    <a:gd name="connsiteY10" fmla="*/ 111760 h 320302"/>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60290 w 781480"/>
                    <a:gd name="connsiteY0" fmla="*/ 112004 h 320546"/>
                    <a:gd name="connsiteX1" fmla="*/ 253330 w 781480"/>
                    <a:gd name="connsiteY1" fmla="*/ 5324 h 320546"/>
                    <a:gd name="connsiteX2" fmla="*/ 624170 w 781480"/>
                    <a:gd name="connsiteY2" fmla="*/ 244 h 320546"/>
                    <a:gd name="connsiteX3" fmla="*/ 751170 w 781480"/>
                    <a:gd name="connsiteY3" fmla="*/ 30724 h 320546"/>
                    <a:gd name="connsiteX4" fmla="*/ 771490 w 781480"/>
                    <a:gd name="connsiteY4" fmla="*/ 152644 h 320546"/>
                    <a:gd name="connsiteX5" fmla="*/ 619090 w 781480"/>
                    <a:gd name="connsiteY5" fmla="*/ 320284 h 320546"/>
                    <a:gd name="connsiteX6" fmla="*/ 268570 w 781480"/>
                    <a:gd name="connsiteY6" fmla="*/ 299964 h 320546"/>
                    <a:gd name="connsiteX7" fmla="*/ 151730 w 781480"/>
                    <a:gd name="connsiteY7" fmla="*/ 254244 h 320546"/>
                    <a:gd name="connsiteX8" fmla="*/ 55210 w 781480"/>
                    <a:gd name="connsiteY8" fmla="*/ 259324 h 320546"/>
                    <a:gd name="connsiteX9" fmla="*/ 4410 w 781480"/>
                    <a:gd name="connsiteY9" fmla="*/ 228844 h 320546"/>
                    <a:gd name="connsiteX10" fmla="*/ 60290 w 781480"/>
                    <a:gd name="connsiteY10" fmla="*/ 112004 h 320546"/>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20748 w 741938"/>
                    <a:gd name="connsiteY0" fmla="*/ 111760 h 320302"/>
                    <a:gd name="connsiteX1" fmla="*/ 213788 w 741938"/>
                    <a:gd name="connsiteY1" fmla="*/ 5080 h 320302"/>
                    <a:gd name="connsiteX2" fmla="*/ 584628 w 741938"/>
                    <a:gd name="connsiteY2" fmla="*/ 0 h 320302"/>
                    <a:gd name="connsiteX3" fmla="*/ 711628 w 741938"/>
                    <a:gd name="connsiteY3" fmla="*/ 30480 h 320302"/>
                    <a:gd name="connsiteX4" fmla="*/ 731948 w 741938"/>
                    <a:gd name="connsiteY4" fmla="*/ 152400 h 320302"/>
                    <a:gd name="connsiteX5" fmla="*/ 579548 w 741938"/>
                    <a:gd name="connsiteY5" fmla="*/ 320040 h 320302"/>
                    <a:gd name="connsiteX6" fmla="*/ 229028 w 741938"/>
                    <a:gd name="connsiteY6" fmla="*/ 299720 h 320302"/>
                    <a:gd name="connsiteX7" fmla="*/ 112188 w 741938"/>
                    <a:gd name="connsiteY7" fmla="*/ 254000 h 320302"/>
                    <a:gd name="connsiteX8" fmla="*/ 15668 w 741938"/>
                    <a:gd name="connsiteY8" fmla="*/ 259080 h 320302"/>
                    <a:gd name="connsiteX9" fmla="*/ 20748 w 741938"/>
                    <a:gd name="connsiteY9" fmla="*/ 111760 h 320302"/>
                    <a:gd name="connsiteX0" fmla="*/ 34991 w 756181"/>
                    <a:gd name="connsiteY0" fmla="*/ 111760 h 320302"/>
                    <a:gd name="connsiteX1" fmla="*/ 228031 w 756181"/>
                    <a:gd name="connsiteY1" fmla="*/ 5080 h 320302"/>
                    <a:gd name="connsiteX2" fmla="*/ 598871 w 756181"/>
                    <a:gd name="connsiteY2" fmla="*/ 0 h 320302"/>
                    <a:gd name="connsiteX3" fmla="*/ 725871 w 756181"/>
                    <a:gd name="connsiteY3" fmla="*/ 30480 h 320302"/>
                    <a:gd name="connsiteX4" fmla="*/ 746191 w 756181"/>
                    <a:gd name="connsiteY4" fmla="*/ 152400 h 320302"/>
                    <a:gd name="connsiteX5" fmla="*/ 593791 w 756181"/>
                    <a:gd name="connsiteY5" fmla="*/ 320040 h 320302"/>
                    <a:gd name="connsiteX6" fmla="*/ 243271 w 756181"/>
                    <a:gd name="connsiteY6" fmla="*/ 299720 h 320302"/>
                    <a:gd name="connsiteX7" fmla="*/ 126431 w 756181"/>
                    <a:gd name="connsiteY7" fmla="*/ 254000 h 320302"/>
                    <a:gd name="connsiteX8" fmla="*/ 29911 w 756181"/>
                    <a:gd name="connsiteY8" fmla="*/ 259080 h 320302"/>
                    <a:gd name="connsiteX9" fmla="*/ 34991 w 756181"/>
                    <a:gd name="connsiteY9" fmla="*/ 111760 h 320302"/>
                    <a:gd name="connsiteX0" fmla="*/ 34991 w 756181"/>
                    <a:gd name="connsiteY0" fmla="*/ 111760 h 320302"/>
                    <a:gd name="connsiteX1" fmla="*/ 228031 w 756181"/>
                    <a:gd name="connsiteY1" fmla="*/ 5080 h 320302"/>
                    <a:gd name="connsiteX2" fmla="*/ 598871 w 756181"/>
                    <a:gd name="connsiteY2" fmla="*/ 0 h 320302"/>
                    <a:gd name="connsiteX3" fmla="*/ 725871 w 756181"/>
                    <a:gd name="connsiteY3" fmla="*/ 30480 h 320302"/>
                    <a:gd name="connsiteX4" fmla="*/ 746191 w 756181"/>
                    <a:gd name="connsiteY4" fmla="*/ 152400 h 320302"/>
                    <a:gd name="connsiteX5" fmla="*/ 593791 w 756181"/>
                    <a:gd name="connsiteY5" fmla="*/ 320040 h 320302"/>
                    <a:gd name="connsiteX6" fmla="*/ 243271 w 756181"/>
                    <a:gd name="connsiteY6" fmla="*/ 299720 h 320302"/>
                    <a:gd name="connsiteX7" fmla="*/ 126431 w 756181"/>
                    <a:gd name="connsiteY7" fmla="*/ 254000 h 320302"/>
                    <a:gd name="connsiteX8" fmla="*/ 29911 w 756181"/>
                    <a:gd name="connsiteY8" fmla="*/ 259080 h 320302"/>
                    <a:gd name="connsiteX9" fmla="*/ 34991 w 756181"/>
                    <a:gd name="connsiteY9" fmla="*/ 111760 h 320302"/>
                    <a:gd name="connsiteX0" fmla="*/ 20639 w 741829"/>
                    <a:gd name="connsiteY0" fmla="*/ 111760 h 320302"/>
                    <a:gd name="connsiteX1" fmla="*/ 213679 w 741829"/>
                    <a:gd name="connsiteY1" fmla="*/ 5080 h 320302"/>
                    <a:gd name="connsiteX2" fmla="*/ 584519 w 741829"/>
                    <a:gd name="connsiteY2" fmla="*/ 0 h 320302"/>
                    <a:gd name="connsiteX3" fmla="*/ 711519 w 741829"/>
                    <a:gd name="connsiteY3" fmla="*/ 30480 h 320302"/>
                    <a:gd name="connsiteX4" fmla="*/ 731839 w 741829"/>
                    <a:gd name="connsiteY4" fmla="*/ 152400 h 320302"/>
                    <a:gd name="connsiteX5" fmla="*/ 579439 w 741829"/>
                    <a:gd name="connsiteY5" fmla="*/ 320040 h 320302"/>
                    <a:gd name="connsiteX6" fmla="*/ 228919 w 741829"/>
                    <a:gd name="connsiteY6" fmla="*/ 299720 h 320302"/>
                    <a:gd name="connsiteX7" fmla="*/ 110174 w 741829"/>
                    <a:gd name="connsiteY7" fmla="*/ 259715 h 320302"/>
                    <a:gd name="connsiteX8" fmla="*/ 15559 w 741829"/>
                    <a:gd name="connsiteY8" fmla="*/ 259080 h 320302"/>
                    <a:gd name="connsiteX9" fmla="*/ 20639 w 741829"/>
                    <a:gd name="connsiteY9" fmla="*/ 111760 h 32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1829" h="320302">
                      <a:moveTo>
                        <a:pt x="20639" y="111760"/>
                      </a:moveTo>
                      <a:cubicBezTo>
                        <a:pt x="53659" y="69427"/>
                        <a:pt x="90066" y="6773"/>
                        <a:pt x="213679" y="5080"/>
                      </a:cubicBezTo>
                      <a:lnTo>
                        <a:pt x="584519" y="0"/>
                      </a:lnTo>
                      <a:cubicBezTo>
                        <a:pt x="667492" y="4233"/>
                        <a:pt x="686966" y="5080"/>
                        <a:pt x="711519" y="30480"/>
                      </a:cubicBezTo>
                      <a:cubicBezTo>
                        <a:pt x="736072" y="55880"/>
                        <a:pt x="753852" y="104140"/>
                        <a:pt x="731839" y="152400"/>
                      </a:cubicBezTo>
                      <a:cubicBezTo>
                        <a:pt x="709826" y="200660"/>
                        <a:pt x="696279" y="326813"/>
                        <a:pt x="579439" y="320040"/>
                      </a:cubicBezTo>
                      <a:cubicBezTo>
                        <a:pt x="462599" y="313267"/>
                        <a:pt x="307130" y="309774"/>
                        <a:pt x="228919" y="299720"/>
                      </a:cubicBezTo>
                      <a:cubicBezTo>
                        <a:pt x="150708" y="289666"/>
                        <a:pt x="144252" y="263737"/>
                        <a:pt x="110174" y="259715"/>
                      </a:cubicBezTo>
                      <a:cubicBezTo>
                        <a:pt x="76096" y="255693"/>
                        <a:pt x="30481" y="283739"/>
                        <a:pt x="15559" y="259080"/>
                      </a:cubicBezTo>
                      <a:cubicBezTo>
                        <a:pt x="637" y="234421"/>
                        <a:pt x="-12381" y="154093"/>
                        <a:pt x="20639" y="111760"/>
                      </a:cubicBezTo>
                      <a:close/>
                    </a:path>
                  </a:pathLst>
                </a:custGeom>
                <a:solidFill>
                  <a:srgbClr val="005AD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HYP</a:t>
                  </a:r>
                  <a:endParaRPr kumimoji="0" lang="en-GB" sz="9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0" name="Freeform: Shape 209">
                  <a:extLst>
                    <a:ext uri="{FF2B5EF4-FFF2-40B4-BE49-F238E27FC236}">
                      <a16:creationId xmlns:a16="http://schemas.microsoft.com/office/drawing/2014/main" id="{E754EAA3-3CA4-7888-FF0F-666595550B40}"/>
                    </a:ext>
                  </a:extLst>
                </p:cNvPr>
                <p:cNvSpPr/>
                <p:nvPr/>
              </p:nvSpPr>
              <p:spPr>
                <a:xfrm>
                  <a:off x="3210353" y="3431873"/>
                  <a:ext cx="503434" cy="367554"/>
                </a:xfrm>
                <a:custGeom>
                  <a:avLst/>
                  <a:gdLst>
                    <a:gd name="connsiteX0" fmla="*/ 270510 w 487680"/>
                    <a:gd name="connsiteY0" fmla="*/ 0 h 426720"/>
                    <a:gd name="connsiteX1" fmla="*/ 350520 w 487680"/>
                    <a:gd name="connsiteY1" fmla="*/ 220980 h 426720"/>
                    <a:gd name="connsiteX2" fmla="*/ 487680 w 487680"/>
                    <a:gd name="connsiteY2" fmla="*/ 350520 h 426720"/>
                    <a:gd name="connsiteX3" fmla="*/ 335280 w 487680"/>
                    <a:gd name="connsiteY3" fmla="*/ 426720 h 426720"/>
                    <a:gd name="connsiteX4" fmla="*/ 247650 w 487680"/>
                    <a:gd name="connsiteY4" fmla="*/ 377190 h 426720"/>
                    <a:gd name="connsiteX5" fmla="*/ 11430 w 487680"/>
                    <a:gd name="connsiteY5" fmla="*/ 331470 h 426720"/>
                    <a:gd name="connsiteX6" fmla="*/ 0 w 487680"/>
                    <a:gd name="connsiteY6" fmla="*/ 152400 h 426720"/>
                    <a:gd name="connsiteX7" fmla="*/ 198120 w 487680"/>
                    <a:gd name="connsiteY7" fmla="*/ 118110 h 426720"/>
                    <a:gd name="connsiteX8" fmla="*/ 270510 w 487680"/>
                    <a:gd name="connsiteY8" fmla="*/ 0 h 426720"/>
                    <a:gd name="connsiteX0" fmla="*/ 270510 w 487680"/>
                    <a:gd name="connsiteY0" fmla="*/ 1807 h 428527"/>
                    <a:gd name="connsiteX1" fmla="*/ 350520 w 487680"/>
                    <a:gd name="connsiteY1" fmla="*/ 222787 h 428527"/>
                    <a:gd name="connsiteX2" fmla="*/ 487680 w 487680"/>
                    <a:gd name="connsiteY2" fmla="*/ 352327 h 428527"/>
                    <a:gd name="connsiteX3" fmla="*/ 335280 w 487680"/>
                    <a:gd name="connsiteY3" fmla="*/ 428527 h 428527"/>
                    <a:gd name="connsiteX4" fmla="*/ 247650 w 487680"/>
                    <a:gd name="connsiteY4" fmla="*/ 378997 h 428527"/>
                    <a:gd name="connsiteX5" fmla="*/ 11430 w 487680"/>
                    <a:gd name="connsiteY5" fmla="*/ 333277 h 428527"/>
                    <a:gd name="connsiteX6" fmla="*/ 0 w 487680"/>
                    <a:gd name="connsiteY6" fmla="*/ 154207 h 428527"/>
                    <a:gd name="connsiteX7" fmla="*/ 198120 w 487680"/>
                    <a:gd name="connsiteY7" fmla="*/ 119917 h 428527"/>
                    <a:gd name="connsiteX8" fmla="*/ 270510 w 487680"/>
                    <a:gd name="connsiteY8" fmla="*/ 1807 h 428527"/>
                    <a:gd name="connsiteX0" fmla="*/ 270510 w 487680"/>
                    <a:gd name="connsiteY0" fmla="*/ 1807 h 428527"/>
                    <a:gd name="connsiteX1" fmla="*/ 350520 w 487680"/>
                    <a:gd name="connsiteY1" fmla="*/ 222787 h 428527"/>
                    <a:gd name="connsiteX2" fmla="*/ 487680 w 487680"/>
                    <a:gd name="connsiteY2" fmla="*/ 352327 h 428527"/>
                    <a:gd name="connsiteX3" fmla="*/ 335280 w 487680"/>
                    <a:gd name="connsiteY3" fmla="*/ 428527 h 428527"/>
                    <a:gd name="connsiteX4" fmla="*/ 247650 w 487680"/>
                    <a:gd name="connsiteY4" fmla="*/ 378997 h 428527"/>
                    <a:gd name="connsiteX5" fmla="*/ 11430 w 487680"/>
                    <a:gd name="connsiteY5" fmla="*/ 333277 h 428527"/>
                    <a:gd name="connsiteX6" fmla="*/ 0 w 487680"/>
                    <a:gd name="connsiteY6" fmla="*/ 154207 h 428527"/>
                    <a:gd name="connsiteX7" fmla="*/ 198120 w 487680"/>
                    <a:gd name="connsiteY7" fmla="*/ 119917 h 428527"/>
                    <a:gd name="connsiteX8" fmla="*/ 270510 w 487680"/>
                    <a:gd name="connsiteY8" fmla="*/ 1807 h 428527"/>
                    <a:gd name="connsiteX0" fmla="*/ 270510 w 487680"/>
                    <a:gd name="connsiteY0" fmla="*/ 1807 h 428527"/>
                    <a:gd name="connsiteX1" fmla="*/ 350520 w 487680"/>
                    <a:gd name="connsiteY1" fmla="*/ 222787 h 428527"/>
                    <a:gd name="connsiteX2" fmla="*/ 487680 w 487680"/>
                    <a:gd name="connsiteY2" fmla="*/ 352327 h 428527"/>
                    <a:gd name="connsiteX3" fmla="*/ 335280 w 487680"/>
                    <a:gd name="connsiteY3" fmla="*/ 428527 h 428527"/>
                    <a:gd name="connsiteX4" fmla="*/ 247650 w 487680"/>
                    <a:gd name="connsiteY4" fmla="*/ 378997 h 428527"/>
                    <a:gd name="connsiteX5" fmla="*/ 11430 w 487680"/>
                    <a:gd name="connsiteY5" fmla="*/ 333277 h 428527"/>
                    <a:gd name="connsiteX6" fmla="*/ 0 w 487680"/>
                    <a:gd name="connsiteY6" fmla="*/ 154207 h 428527"/>
                    <a:gd name="connsiteX7" fmla="*/ 198120 w 487680"/>
                    <a:gd name="connsiteY7" fmla="*/ 119917 h 428527"/>
                    <a:gd name="connsiteX8" fmla="*/ 270510 w 487680"/>
                    <a:gd name="connsiteY8" fmla="*/ 1807 h 428527"/>
                    <a:gd name="connsiteX0" fmla="*/ 270510 w 495899"/>
                    <a:gd name="connsiteY0" fmla="*/ 1807 h 428527"/>
                    <a:gd name="connsiteX1" fmla="*/ 350520 w 495899"/>
                    <a:gd name="connsiteY1" fmla="*/ 222787 h 428527"/>
                    <a:gd name="connsiteX2" fmla="*/ 487680 w 495899"/>
                    <a:gd name="connsiteY2" fmla="*/ 352327 h 428527"/>
                    <a:gd name="connsiteX3" fmla="*/ 335280 w 495899"/>
                    <a:gd name="connsiteY3" fmla="*/ 428527 h 428527"/>
                    <a:gd name="connsiteX4" fmla="*/ 247650 w 495899"/>
                    <a:gd name="connsiteY4" fmla="*/ 378997 h 428527"/>
                    <a:gd name="connsiteX5" fmla="*/ 11430 w 495899"/>
                    <a:gd name="connsiteY5" fmla="*/ 333277 h 428527"/>
                    <a:gd name="connsiteX6" fmla="*/ 0 w 495899"/>
                    <a:gd name="connsiteY6" fmla="*/ 154207 h 428527"/>
                    <a:gd name="connsiteX7" fmla="*/ 198120 w 495899"/>
                    <a:gd name="connsiteY7" fmla="*/ 119917 h 428527"/>
                    <a:gd name="connsiteX8" fmla="*/ 270510 w 495899"/>
                    <a:gd name="connsiteY8" fmla="*/ 1807 h 428527"/>
                    <a:gd name="connsiteX0" fmla="*/ 270510 w 487680"/>
                    <a:gd name="connsiteY0" fmla="*/ 1807 h 431404"/>
                    <a:gd name="connsiteX1" fmla="*/ 350520 w 487680"/>
                    <a:gd name="connsiteY1" fmla="*/ 222787 h 431404"/>
                    <a:gd name="connsiteX2" fmla="*/ 487680 w 487680"/>
                    <a:gd name="connsiteY2" fmla="*/ 352327 h 431404"/>
                    <a:gd name="connsiteX3" fmla="*/ 335280 w 487680"/>
                    <a:gd name="connsiteY3" fmla="*/ 428527 h 431404"/>
                    <a:gd name="connsiteX4" fmla="*/ 247650 w 487680"/>
                    <a:gd name="connsiteY4" fmla="*/ 378997 h 431404"/>
                    <a:gd name="connsiteX5" fmla="*/ 11430 w 487680"/>
                    <a:gd name="connsiteY5" fmla="*/ 333277 h 431404"/>
                    <a:gd name="connsiteX6" fmla="*/ 0 w 487680"/>
                    <a:gd name="connsiteY6" fmla="*/ 154207 h 431404"/>
                    <a:gd name="connsiteX7" fmla="*/ 198120 w 487680"/>
                    <a:gd name="connsiteY7" fmla="*/ 119917 h 431404"/>
                    <a:gd name="connsiteX8" fmla="*/ 270510 w 487680"/>
                    <a:gd name="connsiteY8" fmla="*/ 1807 h 431404"/>
                    <a:gd name="connsiteX0" fmla="*/ 270510 w 487680"/>
                    <a:gd name="connsiteY0" fmla="*/ 1807 h 431404"/>
                    <a:gd name="connsiteX1" fmla="*/ 350520 w 487680"/>
                    <a:gd name="connsiteY1" fmla="*/ 222787 h 431404"/>
                    <a:gd name="connsiteX2" fmla="*/ 487680 w 487680"/>
                    <a:gd name="connsiteY2" fmla="*/ 352327 h 431404"/>
                    <a:gd name="connsiteX3" fmla="*/ 335280 w 487680"/>
                    <a:gd name="connsiteY3" fmla="*/ 428527 h 431404"/>
                    <a:gd name="connsiteX4" fmla="*/ 247650 w 487680"/>
                    <a:gd name="connsiteY4" fmla="*/ 378997 h 431404"/>
                    <a:gd name="connsiteX5" fmla="*/ 11430 w 487680"/>
                    <a:gd name="connsiteY5" fmla="*/ 333277 h 431404"/>
                    <a:gd name="connsiteX6" fmla="*/ 0 w 487680"/>
                    <a:gd name="connsiteY6" fmla="*/ 154207 h 431404"/>
                    <a:gd name="connsiteX7" fmla="*/ 198120 w 487680"/>
                    <a:gd name="connsiteY7" fmla="*/ 119917 h 431404"/>
                    <a:gd name="connsiteX8" fmla="*/ 270510 w 487680"/>
                    <a:gd name="connsiteY8" fmla="*/ 1807 h 431404"/>
                    <a:gd name="connsiteX0" fmla="*/ 270510 w 487680"/>
                    <a:gd name="connsiteY0" fmla="*/ 1807 h 431404"/>
                    <a:gd name="connsiteX1" fmla="*/ 350520 w 487680"/>
                    <a:gd name="connsiteY1" fmla="*/ 222787 h 431404"/>
                    <a:gd name="connsiteX2" fmla="*/ 487680 w 487680"/>
                    <a:gd name="connsiteY2" fmla="*/ 352327 h 431404"/>
                    <a:gd name="connsiteX3" fmla="*/ 335280 w 487680"/>
                    <a:gd name="connsiteY3" fmla="*/ 428527 h 431404"/>
                    <a:gd name="connsiteX4" fmla="*/ 247650 w 487680"/>
                    <a:gd name="connsiteY4" fmla="*/ 378997 h 431404"/>
                    <a:gd name="connsiteX5" fmla="*/ 11430 w 487680"/>
                    <a:gd name="connsiteY5" fmla="*/ 333277 h 431404"/>
                    <a:gd name="connsiteX6" fmla="*/ 0 w 487680"/>
                    <a:gd name="connsiteY6" fmla="*/ 154207 h 431404"/>
                    <a:gd name="connsiteX7" fmla="*/ 198120 w 487680"/>
                    <a:gd name="connsiteY7" fmla="*/ 119917 h 431404"/>
                    <a:gd name="connsiteX8" fmla="*/ 270510 w 487680"/>
                    <a:gd name="connsiteY8" fmla="*/ 1807 h 431404"/>
                    <a:gd name="connsiteX0" fmla="*/ 270578 w 487748"/>
                    <a:gd name="connsiteY0" fmla="*/ 1807 h 431404"/>
                    <a:gd name="connsiteX1" fmla="*/ 350588 w 487748"/>
                    <a:gd name="connsiteY1" fmla="*/ 222787 h 431404"/>
                    <a:gd name="connsiteX2" fmla="*/ 487748 w 487748"/>
                    <a:gd name="connsiteY2" fmla="*/ 352327 h 431404"/>
                    <a:gd name="connsiteX3" fmla="*/ 335348 w 487748"/>
                    <a:gd name="connsiteY3" fmla="*/ 428527 h 431404"/>
                    <a:gd name="connsiteX4" fmla="*/ 247718 w 487748"/>
                    <a:gd name="connsiteY4" fmla="*/ 378997 h 431404"/>
                    <a:gd name="connsiteX5" fmla="*/ 11498 w 487748"/>
                    <a:gd name="connsiteY5" fmla="*/ 333277 h 431404"/>
                    <a:gd name="connsiteX6" fmla="*/ 68 w 487748"/>
                    <a:gd name="connsiteY6" fmla="*/ 154207 h 431404"/>
                    <a:gd name="connsiteX7" fmla="*/ 198188 w 487748"/>
                    <a:gd name="connsiteY7" fmla="*/ 119917 h 431404"/>
                    <a:gd name="connsiteX8" fmla="*/ 270578 w 487748"/>
                    <a:gd name="connsiteY8" fmla="*/ 1807 h 43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748" h="431404">
                      <a:moveTo>
                        <a:pt x="270578" y="1807"/>
                      </a:moveTo>
                      <a:cubicBezTo>
                        <a:pt x="295978" y="18952"/>
                        <a:pt x="304868" y="179607"/>
                        <a:pt x="350588" y="222787"/>
                      </a:cubicBezTo>
                      <a:lnTo>
                        <a:pt x="487748" y="352327"/>
                      </a:lnTo>
                      <a:cubicBezTo>
                        <a:pt x="485208" y="386617"/>
                        <a:pt x="364558" y="445037"/>
                        <a:pt x="335348" y="428527"/>
                      </a:cubicBezTo>
                      <a:lnTo>
                        <a:pt x="247718" y="378997"/>
                      </a:lnTo>
                      <a:cubicBezTo>
                        <a:pt x="193743" y="363122"/>
                        <a:pt x="15308" y="392967"/>
                        <a:pt x="11498" y="333277"/>
                      </a:cubicBezTo>
                      <a:lnTo>
                        <a:pt x="68" y="154207"/>
                      </a:lnTo>
                      <a:cubicBezTo>
                        <a:pt x="-3742" y="94517"/>
                        <a:pt x="153103" y="145317"/>
                        <a:pt x="198188" y="119917"/>
                      </a:cubicBezTo>
                      <a:cubicBezTo>
                        <a:pt x="243273" y="94517"/>
                        <a:pt x="245178" y="-15338"/>
                        <a:pt x="270578" y="1807"/>
                      </a:cubicBezTo>
                      <a:close/>
                    </a:path>
                  </a:pathLst>
                </a:custGeom>
                <a:solidFill>
                  <a:srgbClr val="005A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288000" bIns="144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1" name="Freeform: Shape 210">
                  <a:extLst>
                    <a:ext uri="{FF2B5EF4-FFF2-40B4-BE49-F238E27FC236}">
                      <a16:creationId xmlns:a16="http://schemas.microsoft.com/office/drawing/2014/main" id="{22F58AFE-5DB0-3F29-3477-3240BF9DA148}"/>
                    </a:ext>
                  </a:extLst>
                </p:cNvPr>
                <p:cNvSpPr/>
                <p:nvPr/>
              </p:nvSpPr>
              <p:spPr>
                <a:xfrm rot="16548023">
                  <a:off x="4520774" y="3594495"/>
                  <a:ext cx="336871" cy="203523"/>
                </a:xfrm>
                <a:custGeom>
                  <a:avLst/>
                  <a:gdLst>
                    <a:gd name="connsiteX0" fmla="*/ 502920 w 502920"/>
                    <a:gd name="connsiteY0" fmla="*/ 148590 h 171450"/>
                    <a:gd name="connsiteX1" fmla="*/ 198120 w 502920"/>
                    <a:gd name="connsiteY1" fmla="*/ 171450 h 171450"/>
                    <a:gd name="connsiteX2" fmla="*/ 0 w 502920"/>
                    <a:gd name="connsiteY2" fmla="*/ 0 h 171450"/>
                    <a:gd name="connsiteX0" fmla="*/ 502920 w 502920"/>
                    <a:gd name="connsiteY0" fmla="*/ 148590 h 179441"/>
                    <a:gd name="connsiteX1" fmla="*/ 198120 w 502920"/>
                    <a:gd name="connsiteY1" fmla="*/ 171450 h 179441"/>
                    <a:gd name="connsiteX2" fmla="*/ 0 w 502920"/>
                    <a:gd name="connsiteY2" fmla="*/ 0 h 179441"/>
                    <a:gd name="connsiteX0" fmla="*/ 502920 w 502920"/>
                    <a:gd name="connsiteY0" fmla="*/ 148590 h 185848"/>
                    <a:gd name="connsiteX1" fmla="*/ 198120 w 502920"/>
                    <a:gd name="connsiteY1" fmla="*/ 171450 h 185848"/>
                    <a:gd name="connsiteX2" fmla="*/ 0 w 502920"/>
                    <a:gd name="connsiteY2" fmla="*/ 0 h 185848"/>
                    <a:gd name="connsiteX0" fmla="*/ 502920 w 502920"/>
                    <a:gd name="connsiteY0" fmla="*/ 148590 h 181016"/>
                    <a:gd name="connsiteX1" fmla="*/ 198120 w 502920"/>
                    <a:gd name="connsiteY1" fmla="*/ 171450 h 181016"/>
                    <a:gd name="connsiteX2" fmla="*/ 0 w 502920"/>
                    <a:gd name="connsiteY2" fmla="*/ 0 h 181016"/>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76857"/>
                    <a:gd name="connsiteX1" fmla="*/ 198120 w 502920"/>
                    <a:gd name="connsiteY1" fmla="*/ 171450 h 176857"/>
                    <a:gd name="connsiteX2" fmla="*/ 0 w 502920"/>
                    <a:gd name="connsiteY2" fmla="*/ 0 h 176857"/>
                    <a:gd name="connsiteX0" fmla="*/ 502920 w 502920"/>
                    <a:gd name="connsiteY0" fmla="*/ 148590 h 166866"/>
                    <a:gd name="connsiteX1" fmla="*/ 205740 w 502920"/>
                    <a:gd name="connsiteY1" fmla="*/ 148590 h 166866"/>
                    <a:gd name="connsiteX2" fmla="*/ 0 w 502920"/>
                    <a:gd name="connsiteY2" fmla="*/ 0 h 166866"/>
                    <a:gd name="connsiteX0" fmla="*/ 502920 w 502920"/>
                    <a:gd name="connsiteY0" fmla="*/ 148590 h 169300"/>
                    <a:gd name="connsiteX1" fmla="*/ 205740 w 502920"/>
                    <a:gd name="connsiteY1" fmla="*/ 148590 h 169300"/>
                    <a:gd name="connsiteX2" fmla="*/ 0 w 502920"/>
                    <a:gd name="connsiteY2" fmla="*/ 0 h 169300"/>
                  </a:gdLst>
                  <a:ahLst/>
                  <a:cxnLst>
                    <a:cxn ang="0">
                      <a:pos x="connsiteX0" y="connsiteY0"/>
                    </a:cxn>
                    <a:cxn ang="0">
                      <a:pos x="connsiteX1" y="connsiteY1"/>
                    </a:cxn>
                    <a:cxn ang="0">
                      <a:pos x="connsiteX2" y="connsiteY2"/>
                    </a:cxn>
                  </a:cxnLst>
                  <a:rect l="l" t="t" r="r" b="b"/>
                  <a:pathLst>
                    <a:path w="502920" h="169300">
                      <a:moveTo>
                        <a:pt x="502920" y="148590"/>
                      </a:moveTo>
                      <a:cubicBezTo>
                        <a:pt x="378460" y="186690"/>
                        <a:pt x="257089" y="163351"/>
                        <a:pt x="205740" y="148590"/>
                      </a:cubicBezTo>
                      <a:cubicBezTo>
                        <a:pt x="154391" y="133829"/>
                        <a:pt x="85090" y="87630"/>
                        <a:pt x="0" y="0"/>
                      </a:cubicBezTo>
                    </a:path>
                  </a:pathLst>
                </a:custGeom>
                <a:noFill/>
                <a:ln w="28575">
                  <a:solidFill>
                    <a:srgbClr val="001965"/>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2" name="Freeform: Shape 211">
                  <a:extLst>
                    <a:ext uri="{FF2B5EF4-FFF2-40B4-BE49-F238E27FC236}">
                      <a16:creationId xmlns:a16="http://schemas.microsoft.com/office/drawing/2014/main" id="{DB598CFF-B697-DDD5-5558-7D3E8C52DDF7}"/>
                    </a:ext>
                  </a:extLst>
                </p:cNvPr>
                <p:cNvSpPr/>
                <p:nvPr/>
              </p:nvSpPr>
              <p:spPr>
                <a:xfrm rot="683847" flipH="1">
                  <a:off x="1320678" y="4237766"/>
                  <a:ext cx="900263" cy="297388"/>
                </a:xfrm>
                <a:custGeom>
                  <a:avLst/>
                  <a:gdLst>
                    <a:gd name="connsiteX0" fmla="*/ 502920 w 502920"/>
                    <a:gd name="connsiteY0" fmla="*/ 148590 h 171450"/>
                    <a:gd name="connsiteX1" fmla="*/ 198120 w 502920"/>
                    <a:gd name="connsiteY1" fmla="*/ 171450 h 171450"/>
                    <a:gd name="connsiteX2" fmla="*/ 0 w 502920"/>
                    <a:gd name="connsiteY2" fmla="*/ 0 h 171450"/>
                    <a:gd name="connsiteX0" fmla="*/ 502920 w 502920"/>
                    <a:gd name="connsiteY0" fmla="*/ 148590 h 179441"/>
                    <a:gd name="connsiteX1" fmla="*/ 198120 w 502920"/>
                    <a:gd name="connsiteY1" fmla="*/ 171450 h 179441"/>
                    <a:gd name="connsiteX2" fmla="*/ 0 w 502920"/>
                    <a:gd name="connsiteY2" fmla="*/ 0 h 179441"/>
                    <a:gd name="connsiteX0" fmla="*/ 502920 w 502920"/>
                    <a:gd name="connsiteY0" fmla="*/ 148590 h 185848"/>
                    <a:gd name="connsiteX1" fmla="*/ 198120 w 502920"/>
                    <a:gd name="connsiteY1" fmla="*/ 171450 h 185848"/>
                    <a:gd name="connsiteX2" fmla="*/ 0 w 502920"/>
                    <a:gd name="connsiteY2" fmla="*/ 0 h 185848"/>
                    <a:gd name="connsiteX0" fmla="*/ 502920 w 502920"/>
                    <a:gd name="connsiteY0" fmla="*/ 148590 h 181016"/>
                    <a:gd name="connsiteX1" fmla="*/ 198120 w 502920"/>
                    <a:gd name="connsiteY1" fmla="*/ 171450 h 181016"/>
                    <a:gd name="connsiteX2" fmla="*/ 0 w 502920"/>
                    <a:gd name="connsiteY2" fmla="*/ 0 h 181016"/>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76857"/>
                    <a:gd name="connsiteX1" fmla="*/ 198120 w 502920"/>
                    <a:gd name="connsiteY1" fmla="*/ 171450 h 176857"/>
                    <a:gd name="connsiteX2" fmla="*/ 0 w 502920"/>
                    <a:gd name="connsiteY2" fmla="*/ 0 h 176857"/>
                    <a:gd name="connsiteX0" fmla="*/ 502920 w 502920"/>
                    <a:gd name="connsiteY0" fmla="*/ 148590 h 166866"/>
                    <a:gd name="connsiteX1" fmla="*/ 205740 w 502920"/>
                    <a:gd name="connsiteY1" fmla="*/ 148590 h 166866"/>
                    <a:gd name="connsiteX2" fmla="*/ 0 w 502920"/>
                    <a:gd name="connsiteY2" fmla="*/ 0 h 166866"/>
                    <a:gd name="connsiteX0" fmla="*/ 502920 w 502920"/>
                    <a:gd name="connsiteY0" fmla="*/ 148590 h 169154"/>
                    <a:gd name="connsiteX1" fmla="*/ 205740 w 502920"/>
                    <a:gd name="connsiteY1" fmla="*/ 148590 h 169154"/>
                    <a:gd name="connsiteX2" fmla="*/ 0 w 502920"/>
                    <a:gd name="connsiteY2" fmla="*/ 0 h 169154"/>
                  </a:gdLst>
                  <a:ahLst/>
                  <a:cxnLst>
                    <a:cxn ang="0">
                      <a:pos x="connsiteX0" y="connsiteY0"/>
                    </a:cxn>
                    <a:cxn ang="0">
                      <a:pos x="connsiteX1" y="connsiteY1"/>
                    </a:cxn>
                    <a:cxn ang="0">
                      <a:pos x="connsiteX2" y="connsiteY2"/>
                    </a:cxn>
                  </a:cxnLst>
                  <a:rect l="l" t="t" r="r" b="b"/>
                  <a:pathLst>
                    <a:path w="502920" h="169154">
                      <a:moveTo>
                        <a:pt x="502920" y="148590"/>
                      </a:moveTo>
                      <a:cubicBezTo>
                        <a:pt x="378460" y="186690"/>
                        <a:pt x="251967" y="162845"/>
                        <a:pt x="205740" y="148590"/>
                      </a:cubicBezTo>
                      <a:cubicBezTo>
                        <a:pt x="159513" y="134335"/>
                        <a:pt x="85090" y="87630"/>
                        <a:pt x="0" y="0"/>
                      </a:cubicBezTo>
                    </a:path>
                  </a:pathLst>
                </a:custGeom>
                <a:noFill/>
                <a:ln w="28575">
                  <a:solidFill>
                    <a:srgbClr val="001965"/>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3" name="Rectangle: Rounded Corners 212">
                  <a:extLst>
                    <a:ext uri="{FF2B5EF4-FFF2-40B4-BE49-F238E27FC236}">
                      <a16:creationId xmlns:a16="http://schemas.microsoft.com/office/drawing/2014/main" id="{852A49B6-98F3-8167-8FF5-A5A6156544A7}"/>
                    </a:ext>
                  </a:extLst>
                </p:cNvPr>
                <p:cNvSpPr/>
                <p:nvPr/>
              </p:nvSpPr>
              <p:spPr>
                <a:xfrm>
                  <a:off x="341096" y="4065048"/>
                  <a:ext cx="1307474" cy="276880"/>
                </a:xfrm>
                <a:prstGeom prst="roundRect">
                  <a:avLst>
                    <a:gd name="adj" fmla="val 16964"/>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60937" rIns="0" bIns="60937" rtlCol="0" anchor="ctr"/>
                <a:lstStyle/>
                <a:p>
                  <a:pPr marL="334425" marR="0" lvl="0" indent="-334425" algn="ctr" defTabSz="914400" rtl="0" eaLnBrk="1" fontAlgn="auto" latinLnBrk="0" hangingPunct="1">
                    <a:lnSpc>
                      <a:spcPct val="100000"/>
                    </a:lnSpc>
                    <a:spcBef>
                      <a:spcPts val="0"/>
                    </a:spcBef>
                    <a:spcAft>
                      <a:spcPts val="800"/>
                    </a:spcAft>
                    <a:buClrTx/>
                    <a:buSzTx/>
                    <a:buFontTx/>
                    <a:buNone/>
                    <a:tabLst/>
                    <a:defRPr/>
                  </a:pPr>
                  <a:r>
                    <a:rPr kumimoji="0" lang="en-US" sz="105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a:t>
                  </a:r>
                  <a:endParaRPr kumimoji="0" lang="en-CA" sz="7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7" name="Rectangle: Rounded Corners 216">
                  <a:extLst>
                    <a:ext uri="{FF2B5EF4-FFF2-40B4-BE49-F238E27FC236}">
                      <a16:creationId xmlns:a16="http://schemas.microsoft.com/office/drawing/2014/main" id="{6A9C264C-B764-DD2E-EDFF-1182B9DF8F60}"/>
                    </a:ext>
                  </a:extLst>
                </p:cNvPr>
                <p:cNvSpPr/>
                <p:nvPr/>
              </p:nvSpPr>
              <p:spPr>
                <a:xfrm>
                  <a:off x="3698834" y="3137018"/>
                  <a:ext cx="1913141" cy="391412"/>
                </a:xfrm>
                <a:prstGeom prst="roundRect">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irect activation </a:t>
                  </a:r>
                  <a:r>
                    <a:rPr kumimoji="0" lang="da-DK"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f the hindbrain (AP/NTS)</a:t>
                  </a:r>
                  <a:endParaRPr kumimoji="0" lang="en-GB"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9" name="Rectangle: Rounded Corners 218">
                  <a:extLst>
                    <a:ext uri="{FF2B5EF4-FFF2-40B4-BE49-F238E27FC236}">
                      <a16:creationId xmlns:a16="http://schemas.microsoft.com/office/drawing/2014/main" id="{747F1249-DC69-DB25-FAA4-C944CEE24432}"/>
                    </a:ext>
                  </a:extLst>
                </p:cNvPr>
                <p:cNvSpPr/>
                <p:nvPr/>
              </p:nvSpPr>
              <p:spPr>
                <a:xfrm>
                  <a:off x="1101525" y="4566415"/>
                  <a:ext cx="1948545" cy="391412"/>
                </a:xfrm>
                <a:prstGeom prst="roundRect">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irect activation </a:t>
                  </a:r>
                  <a:r>
                    <a:rPr kumimoji="0" lang="da-DK"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f the hypothalamus (HYP)</a:t>
                  </a:r>
                  <a:endParaRPr kumimoji="0" lang="en-GB"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0" name="Freeform: Shape 219">
                  <a:extLst>
                    <a:ext uri="{FF2B5EF4-FFF2-40B4-BE49-F238E27FC236}">
                      <a16:creationId xmlns:a16="http://schemas.microsoft.com/office/drawing/2014/main" id="{6E9C8783-D6A6-4E4B-644A-31EA09104A12}"/>
                    </a:ext>
                  </a:extLst>
                </p:cNvPr>
                <p:cNvSpPr/>
                <p:nvPr/>
              </p:nvSpPr>
              <p:spPr>
                <a:xfrm>
                  <a:off x="2176096" y="3666976"/>
                  <a:ext cx="662429" cy="226595"/>
                </a:xfrm>
                <a:custGeom>
                  <a:avLst/>
                  <a:gdLst>
                    <a:gd name="connsiteX0" fmla="*/ 55880 w 767080"/>
                    <a:gd name="connsiteY0" fmla="*/ 111760 h 320040"/>
                    <a:gd name="connsiteX1" fmla="*/ 248920 w 767080"/>
                    <a:gd name="connsiteY1" fmla="*/ 5080 h 320040"/>
                    <a:gd name="connsiteX2" fmla="*/ 619760 w 767080"/>
                    <a:gd name="connsiteY2" fmla="*/ 0 h 320040"/>
                    <a:gd name="connsiteX3" fmla="*/ 746760 w 767080"/>
                    <a:gd name="connsiteY3" fmla="*/ 30480 h 320040"/>
                    <a:gd name="connsiteX4" fmla="*/ 767080 w 767080"/>
                    <a:gd name="connsiteY4" fmla="*/ 152400 h 320040"/>
                    <a:gd name="connsiteX5" fmla="*/ 614680 w 767080"/>
                    <a:gd name="connsiteY5" fmla="*/ 320040 h 320040"/>
                    <a:gd name="connsiteX6" fmla="*/ 264160 w 767080"/>
                    <a:gd name="connsiteY6" fmla="*/ 299720 h 320040"/>
                    <a:gd name="connsiteX7" fmla="*/ 147320 w 767080"/>
                    <a:gd name="connsiteY7" fmla="*/ 254000 h 320040"/>
                    <a:gd name="connsiteX8" fmla="*/ 50800 w 767080"/>
                    <a:gd name="connsiteY8" fmla="*/ 259080 h 320040"/>
                    <a:gd name="connsiteX9" fmla="*/ 0 w 767080"/>
                    <a:gd name="connsiteY9" fmla="*/ 228600 h 320040"/>
                    <a:gd name="connsiteX10" fmla="*/ 55880 w 767080"/>
                    <a:gd name="connsiteY10" fmla="*/ 111760 h 320040"/>
                    <a:gd name="connsiteX0" fmla="*/ 55880 w 777070"/>
                    <a:gd name="connsiteY0" fmla="*/ 111760 h 320040"/>
                    <a:gd name="connsiteX1" fmla="*/ 248920 w 777070"/>
                    <a:gd name="connsiteY1" fmla="*/ 5080 h 320040"/>
                    <a:gd name="connsiteX2" fmla="*/ 619760 w 777070"/>
                    <a:gd name="connsiteY2" fmla="*/ 0 h 320040"/>
                    <a:gd name="connsiteX3" fmla="*/ 746760 w 777070"/>
                    <a:gd name="connsiteY3" fmla="*/ 30480 h 320040"/>
                    <a:gd name="connsiteX4" fmla="*/ 767080 w 777070"/>
                    <a:gd name="connsiteY4" fmla="*/ 152400 h 320040"/>
                    <a:gd name="connsiteX5" fmla="*/ 614680 w 777070"/>
                    <a:gd name="connsiteY5" fmla="*/ 320040 h 320040"/>
                    <a:gd name="connsiteX6" fmla="*/ 264160 w 777070"/>
                    <a:gd name="connsiteY6" fmla="*/ 299720 h 320040"/>
                    <a:gd name="connsiteX7" fmla="*/ 147320 w 777070"/>
                    <a:gd name="connsiteY7" fmla="*/ 254000 h 320040"/>
                    <a:gd name="connsiteX8" fmla="*/ 50800 w 777070"/>
                    <a:gd name="connsiteY8" fmla="*/ 259080 h 320040"/>
                    <a:gd name="connsiteX9" fmla="*/ 0 w 777070"/>
                    <a:gd name="connsiteY9" fmla="*/ 228600 h 320040"/>
                    <a:gd name="connsiteX10" fmla="*/ 55880 w 777070"/>
                    <a:gd name="connsiteY10" fmla="*/ 111760 h 320040"/>
                    <a:gd name="connsiteX0" fmla="*/ 55880 w 777070"/>
                    <a:gd name="connsiteY0" fmla="*/ 111760 h 320302"/>
                    <a:gd name="connsiteX1" fmla="*/ 248920 w 777070"/>
                    <a:gd name="connsiteY1" fmla="*/ 5080 h 320302"/>
                    <a:gd name="connsiteX2" fmla="*/ 619760 w 777070"/>
                    <a:gd name="connsiteY2" fmla="*/ 0 h 320302"/>
                    <a:gd name="connsiteX3" fmla="*/ 746760 w 777070"/>
                    <a:gd name="connsiteY3" fmla="*/ 30480 h 320302"/>
                    <a:gd name="connsiteX4" fmla="*/ 767080 w 777070"/>
                    <a:gd name="connsiteY4" fmla="*/ 152400 h 320302"/>
                    <a:gd name="connsiteX5" fmla="*/ 614680 w 777070"/>
                    <a:gd name="connsiteY5" fmla="*/ 320040 h 320302"/>
                    <a:gd name="connsiteX6" fmla="*/ 264160 w 777070"/>
                    <a:gd name="connsiteY6" fmla="*/ 299720 h 320302"/>
                    <a:gd name="connsiteX7" fmla="*/ 147320 w 777070"/>
                    <a:gd name="connsiteY7" fmla="*/ 254000 h 320302"/>
                    <a:gd name="connsiteX8" fmla="*/ 50800 w 777070"/>
                    <a:gd name="connsiteY8" fmla="*/ 259080 h 320302"/>
                    <a:gd name="connsiteX9" fmla="*/ 0 w 777070"/>
                    <a:gd name="connsiteY9" fmla="*/ 228600 h 320302"/>
                    <a:gd name="connsiteX10" fmla="*/ 55880 w 777070"/>
                    <a:gd name="connsiteY10" fmla="*/ 111760 h 320302"/>
                    <a:gd name="connsiteX0" fmla="*/ 55880 w 777070"/>
                    <a:gd name="connsiteY0" fmla="*/ 111760 h 320302"/>
                    <a:gd name="connsiteX1" fmla="*/ 248920 w 777070"/>
                    <a:gd name="connsiteY1" fmla="*/ 5080 h 320302"/>
                    <a:gd name="connsiteX2" fmla="*/ 619760 w 777070"/>
                    <a:gd name="connsiteY2" fmla="*/ 0 h 320302"/>
                    <a:gd name="connsiteX3" fmla="*/ 746760 w 777070"/>
                    <a:gd name="connsiteY3" fmla="*/ 30480 h 320302"/>
                    <a:gd name="connsiteX4" fmla="*/ 767080 w 777070"/>
                    <a:gd name="connsiteY4" fmla="*/ 152400 h 320302"/>
                    <a:gd name="connsiteX5" fmla="*/ 614680 w 777070"/>
                    <a:gd name="connsiteY5" fmla="*/ 320040 h 320302"/>
                    <a:gd name="connsiteX6" fmla="*/ 264160 w 777070"/>
                    <a:gd name="connsiteY6" fmla="*/ 299720 h 320302"/>
                    <a:gd name="connsiteX7" fmla="*/ 147320 w 777070"/>
                    <a:gd name="connsiteY7" fmla="*/ 254000 h 320302"/>
                    <a:gd name="connsiteX8" fmla="*/ 50800 w 777070"/>
                    <a:gd name="connsiteY8" fmla="*/ 259080 h 320302"/>
                    <a:gd name="connsiteX9" fmla="*/ 0 w 777070"/>
                    <a:gd name="connsiteY9" fmla="*/ 228600 h 320302"/>
                    <a:gd name="connsiteX10" fmla="*/ 55880 w 777070"/>
                    <a:gd name="connsiteY10" fmla="*/ 111760 h 320302"/>
                    <a:gd name="connsiteX0" fmla="*/ 55880 w 777070"/>
                    <a:gd name="connsiteY0" fmla="*/ 111760 h 320302"/>
                    <a:gd name="connsiteX1" fmla="*/ 248920 w 777070"/>
                    <a:gd name="connsiteY1" fmla="*/ 5080 h 320302"/>
                    <a:gd name="connsiteX2" fmla="*/ 619760 w 777070"/>
                    <a:gd name="connsiteY2" fmla="*/ 0 h 320302"/>
                    <a:gd name="connsiteX3" fmla="*/ 746760 w 777070"/>
                    <a:gd name="connsiteY3" fmla="*/ 30480 h 320302"/>
                    <a:gd name="connsiteX4" fmla="*/ 767080 w 777070"/>
                    <a:gd name="connsiteY4" fmla="*/ 152400 h 320302"/>
                    <a:gd name="connsiteX5" fmla="*/ 614680 w 777070"/>
                    <a:gd name="connsiteY5" fmla="*/ 320040 h 320302"/>
                    <a:gd name="connsiteX6" fmla="*/ 264160 w 777070"/>
                    <a:gd name="connsiteY6" fmla="*/ 299720 h 320302"/>
                    <a:gd name="connsiteX7" fmla="*/ 147320 w 777070"/>
                    <a:gd name="connsiteY7" fmla="*/ 254000 h 320302"/>
                    <a:gd name="connsiteX8" fmla="*/ 50800 w 777070"/>
                    <a:gd name="connsiteY8" fmla="*/ 259080 h 320302"/>
                    <a:gd name="connsiteX9" fmla="*/ 0 w 777070"/>
                    <a:gd name="connsiteY9" fmla="*/ 228600 h 320302"/>
                    <a:gd name="connsiteX10" fmla="*/ 55880 w 777070"/>
                    <a:gd name="connsiteY10" fmla="*/ 111760 h 320302"/>
                    <a:gd name="connsiteX0" fmla="*/ 55906 w 777096"/>
                    <a:gd name="connsiteY0" fmla="*/ 111760 h 320302"/>
                    <a:gd name="connsiteX1" fmla="*/ 248946 w 777096"/>
                    <a:gd name="connsiteY1" fmla="*/ 5080 h 320302"/>
                    <a:gd name="connsiteX2" fmla="*/ 619786 w 777096"/>
                    <a:gd name="connsiteY2" fmla="*/ 0 h 320302"/>
                    <a:gd name="connsiteX3" fmla="*/ 746786 w 777096"/>
                    <a:gd name="connsiteY3" fmla="*/ 30480 h 320302"/>
                    <a:gd name="connsiteX4" fmla="*/ 767106 w 777096"/>
                    <a:gd name="connsiteY4" fmla="*/ 152400 h 320302"/>
                    <a:gd name="connsiteX5" fmla="*/ 614706 w 777096"/>
                    <a:gd name="connsiteY5" fmla="*/ 320040 h 320302"/>
                    <a:gd name="connsiteX6" fmla="*/ 264186 w 777096"/>
                    <a:gd name="connsiteY6" fmla="*/ 299720 h 320302"/>
                    <a:gd name="connsiteX7" fmla="*/ 147346 w 777096"/>
                    <a:gd name="connsiteY7" fmla="*/ 254000 h 320302"/>
                    <a:gd name="connsiteX8" fmla="*/ 50826 w 777096"/>
                    <a:gd name="connsiteY8" fmla="*/ 259080 h 320302"/>
                    <a:gd name="connsiteX9" fmla="*/ 26 w 777096"/>
                    <a:gd name="connsiteY9" fmla="*/ 228600 h 320302"/>
                    <a:gd name="connsiteX10" fmla="*/ 55906 w 777096"/>
                    <a:gd name="connsiteY10" fmla="*/ 111760 h 320302"/>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60290 w 781480"/>
                    <a:gd name="connsiteY0" fmla="*/ 112004 h 320546"/>
                    <a:gd name="connsiteX1" fmla="*/ 253330 w 781480"/>
                    <a:gd name="connsiteY1" fmla="*/ 5324 h 320546"/>
                    <a:gd name="connsiteX2" fmla="*/ 624170 w 781480"/>
                    <a:gd name="connsiteY2" fmla="*/ 244 h 320546"/>
                    <a:gd name="connsiteX3" fmla="*/ 751170 w 781480"/>
                    <a:gd name="connsiteY3" fmla="*/ 30724 h 320546"/>
                    <a:gd name="connsiteX4" fmla="*/ 771490 w 781480"/>
                    <a:gd name="connsiteY4" fmla="*/ 152644 h 320546"/>
                    <a:gd name="connsiteX5" fmla="*/ 619090 w 781480"/>
                    <a:gd name="connsiteY5" fmla="*/ 320284 h 320546"/>
                    <a:gd name="connsiteX6" fmla="*/ 268570 w 781480"/>
                    <a:gd name="connsiteY6" fmla="*/ 299964 h 320546"/>
                    <a:gd name="connsiteX7" fmla="*/ 151730 w 781480"/>
                    <a:gd name="connsiteY7" fmla="*/ 254244 h 320546"/>
                    <a:gd name="connsiteX8" fmla="*/ 55210 w 781480"/>
                    <a:gd name="connsiteY8" fmla="*/ 259324 h 320546"/>
                    <a:gd name="connsiteX9" fmla="*/ 4410 w 781480"/>
                    <a:gd name="connsiteY9" fmla="*/ 228844 h 320546"/>
                    <a:gd name="connsiteX10" fmla="*/ 60290 w 781480"/>
                    <a:gd name="connsiteY10" fmla="*/ 112004 h 320546"/>
                    <a:gd name="connsiteX0" fmla="*/ 60290 w 781480"/>
                    <a:gd name="connsiteY0" fmla="*/ 111760 h 320302"/>
                    <a:gd name="connsiteX1" fmla="*/ 253330 w 781480"/>
                    <a:gd name="connsiteY1" fmla="*/ 5080 h 320302"/>
                    <a:gd name="connsiteX2" fmla="*/ 624170 w 781480"/>
                    <a:gd name="connsiteY2" fmla="*/ 0 h 320302"/>
                    <a:gd name="connsiteX3" fmla="*/ 751170 w 781480"/>
                    <a:gd name="connsiteY3" fmla="*/ 30480 h 320302"/>
                    <a:gd name="connsiteX4" fmla="*/ 771490 w 781480"/>
                    <a:gd name="connsiteY4" fmla="*/ 152400 h 320302"/>
                    <a:gd name="connsiteX5" fmla="*/ 619090 w 781480"/>
                    <a:gd name="connsiteY5" fmla="*/ 320040 h 320302"/>
                    <a:gd name="connsiteX6" fmla="*/ 268570 w 781480"/>
                    <a:gd name="connsiteY6" fmla="*/ 299720 h 320302"/>
                    <a:gd name="connsiteX7" fmla="*/ 151730 w 781480"/>
                    <a:gd name="connsiteY7" fmla="*/ 254000 h 320302"/>
                    <a:gd name="connsiteX8" fmla="*/ 55210 w 781480"/>
                    <a:gd name="connsiteY8" fmla="*/ 259080 h 320302"/>
                    <a:gd name="connsiteX9" fmla="*/ 4410 w 781480"/>
                    <a:gd name="connsiteY9" fmla="*/ 228600 h 320302"/>
                    <a:gd name="connsiteX10" fmla="*/ 60290 w 781480"/>
                    <a:gd name="connsiteY10" fmla="*/ 111760 h 320302"/>
                    <a:gd name="connsiteX0" fmla="*/ 20748 w 741938"/>
                    <a:gd name="connsiteY0" fmla="*/ 111760 h 320302"/>
                    <a:gd name="connsiteX1" fmla="*/ 213788 w 741938"/>
                    <a:gd name="connsiteY1" fmla="*/ 5080 h 320302"/>
                    <a:gd name="connsiteX2" fmla="*/ 584628 w 741938"/>
                    <a:gd name="connsiteY2" fmla="*/ 0 h 320302"/>
                    <a:gd name="connsiteX3" fmla="*/ 711628 w 741938"/>
                    <a:gd name="connsiteY3" fmla="*/ 30480 h 320302"/>
                    <a:gd name="connsiteX4" fmla="*/ 731948 w 741938"/>
                    <a:gd name="connsiteY4" fmla="*/ 152400 h 320302"/>
                    <a:gd name="connsiteX5" fmla="*/ 579548 w 741938"/>
                    <a:gd name="connsiteY5" fmla="*/ 320040 h 320302"/>
                    <a:gd name="connsiteX6" fmla="*/ 229028 w 741938"/>
                    <a:gd name="connsiteY6" fmla="*/ 299720 h 320302"/>
                    <a:gd name="connsiteX7" fmla="*/ 112188 w 741938"/>
                    <a:gd name="connsiteY7" fmla="*/ 254000 h 320302"/>
                    <a:gd name="connsiteX8" fmla="*/ 15668 w 741938"/>
                    <a:gd name="connsiteY8" fmla="*/ 259080 h 320302"/>
                    <a:gd name="connsiteX9" fmla="*/ 20748 w 741938"/>
                    <a:gd name="connsiteY9" fmla="*/ 111760 h 320302"/>
                    <a:gd name="connsiteX0" fmla="*/ 34991 w 756181"/>
                    <a:gd name="connsiteY0" fmla="*/ 111760 h 320302"/>
                    <a:gd name="connsiteX1" fmla="*/ 228031 w 756181"/>
                    <a:gd name="connsiteY1" fmla="*/ 5080 h 320302"/>
                    <a:gd name="connsiteX2" fmla="*/ 598871 w 756181"/>
                    <a:gd name="connsiteY2" fmla="*/ 0 h 320302"/>
                    <a:gd name="connsiteX3" fmla="*/ 725871 w 756181"/>
                    <a:gd name="connsiteY3" fmla="*/ 30480 h 320302"/>
                    <a:gd name="connsiteX4" fmla="*/ 746191 w 756181"/>
                    <a:gd name="connsiteY4" fmla="*/ 152400 h 320302"/>
                    <a:gd name="connsiteX5" fmla="*/ 593791 w 756181"/>
                    <a:gd name="connsiteY5" fmla="*/ 320040 h 320302"/>
                    <a:gd name="connsiteX6" fmla="*/ 243271 w 756181"/>
                    <a:gd name="connsiteY6" fmla="*/ 299720 h 320302"/>
                    <a:gd name="connsiteX7" fmla="*/ 126431 w 756181"/>
                    <a:gd name="connsiteY7" fmla="*/ 254000 h 320302"/>
                    <a:gd name="connsiteX8" fmla="*/ 29911 w 756181"/>
                    <a:gd name="connsiteY8" fmla="*/ 259080 h 320302"/>
                    <a:gd name="connsiteX9" fmla="*/ 34991 w 756181"/>
                    <a:gd name="connsiteY9" fmla="*/ 111760 h 320302"/>
                    <a:gd name="connsiteX0" fmla="*/ 34991 w 756181"/>
                    <a:gd name="connsiteY0" fmla="*/ 111760 h 320302"/>
                    <a:gd name="connsiteX1" fmla="*/ 228031 w 756181"/>
                    <a:gd name="connsiteY1" fmla="*/ 5080 h 320302"/>
                    <a:gd name="connsiteX2" fmla="*/ 598871 w 756181"/>
                    <a:gd name="connsiteY2" fmla="*/ 0 h 320302"/>
                    <a:gd name="connsiteX3" fmla="*/ 725871 w 756181"/>
                    <a:gd name="connsiteY3" fmla="*/ 30480 h 320302"/>
                    <a:gd name="connsiteX4" fmla="*/ 746191 w 756181"/>
                    <a:gd name="connsiteY4" fmla="*/ 152400 h 320302"/>
                    <a:gd name="connsiteX5" fmla="*/ 593791 w 756181"/>
                    <a:gd name="connsiteY5" fmla="*/ 320040 h 320302"/>
                    <a:gd name="connsiteX6" fmla="*/ 243271 w 756181"/>
                    <a:gd name="connsiteY6" fmla="*/ 299720 h 320302"/>
                    <a:gd name="connsiteX7" fmla="*/ 126431 w 756181"/>
                    <a:gd name="connsiteY7" fmla="*/ 254000 h 320302"/>
                    <a:gd name="connsiteX8" fmla="*/ 29911 w 756181"/>
                    <a:gd name="connsiteY8" fmla="*/ 259080 h 320302"/>
                    <a:gd name="connsiteX9" fmla="*/ 34991 w 756181"/>
                    <a:gd name="connsiteY9" fmla="*/ 111760 h 320302"/>
                    <a:gd name="connsiteX0" fmla="*/ 20639 w 741829"/>
                    <a:gd name="connsiteY0" fmla="*/ 111760 h 320302"/>
                    <a:gd name="connsiteX1" fmla="*/ 213679 w 741829"/>
                    <a:gd name="connsiteY1" fmla="*/ 5080 h 320302"/>
                    <a:gd name="connsiteX2" fmla="*/ 584519 w 741829"/>
                    <a:gd name="connsiteY2" fmla="*/ 0 h 320302"/>
                    <a:gd name="connsiteX3" fmla="*/ 711519 w 741829"/>
                    <a:gd name="connsiteY3" fmla="*/ 30480 h 320302"/>
                    <a:gd name="connsiteX4" fmla="*/ 731839 w 741829"/>
                    <a:gd name="connsiteY4" fmla="*/ 152400 h 320302"/>
                    <a:gd name="connsiteX5" fmla="*/ 579439 w 741829"/>
                    <a:gd name="connsiteY5" fmla="*/ 320040 h 320302"/>
                    <a:gd name="connsiteX6" fmla="*/ 228919 w 741829"/>
                    <a:gd name="connsiteY6" fmla="*/ 299720 h 320302"/>
                    <a:gd name="connsiteX7" fmla="*/ 110174 w 741829"/>
                    <a:gd name="connsiteY7" fmla="*/ 259715 h 320302"/>
                    <a:gd name="connsiteX8" fmla="*/ 15559 w 741829"/>
                    <a:gd name="connsiteY8" fmla="*/ 259080 h 320302"/>
                    <a:gd name="connsiteX9" fmla="*/ 20639 w 741829"/>
                    <a:gd name="connsiteY9" fmla="*/ 111760 h 32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1829" h="320302">
                      <a:moveTo>
                        <a:pt x="20639" y="111760"/>
                      </a:moveTo>
                      <a:cubicBezTo>
                        <a:pt x="53659" y="69427"/>
                        <a:pt x="90066" y="6773"/>
                        <a:pt x="213679" y="5080"/>
                      </a:cubicBezTo>
                      <a:lnTo>
                        <a:pt x="584519" y="0"/>
                      </a:lnTo>
                      <a:cubicBezTo>
                        <a:pt x="667492" y="4233"/>
                        <a:pt x="686966" y="5080"/>
                        <a:pt x="711519" y="30480"/>
                      </a:cubicBezTo>
                      <a:cubicBezTo>
                        <a:pt x="736072" y="55880"/>
                        <a:pt x="753852" y="104140"/>
                        <a:pt x="731839" y="152400"/>
                      </a:cubicBezTo>
                      <a:cubicBezTo>
                        <a:pt x="709826" y="200660"/>
                        <a:pt x="696279" y="326813"/>
                        <a:pt x="579439" y="320040"/>
                      </a:cubicBezTo>
                      <a:cubicBezTo>
                        <a:pt x="462599" y="313267"/>
                        <a:pt x="307130" y="309774"/>
                        <a:pt x="228919" y="299720"/>
                      </a:cubicBezTo>
                      <a:cubicBezTo>
                        <a:pt x="150708" y="289666"/>
                        <a:pt x="144252" y="263737"/>
                        <a:pt x="110174" y="259715"/>
                      </a:cubicBezTo>
                      <a:cubicBezTo>
                        <a:pt x="76096" y="255693"/>
                        <a:pt x="30481" y="283739"/>
                        <a:pt x="15559" y="259080"/>
                      </a:cubicBezTo>
                      <a:cubicBezTo>
                        <a:pt x="637" y="234421"/>
                        <a:pt x="-12381" y="154093"/>
                        <a:pt x="20639" y="111760"/>
                      </a:cubicBezTo>
                      <a:close/>
                    </a:path>
                  </a:pathLst>
                </a:custGeom>
                <a:solidFill>
                  <a:srgbClr val="005AD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ptum</a:t>
                  </a:r>
                  <a:endParaRPr kumimoji="0" lang="en-GB" sz="9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2" name="Rectangle: Rounded Corners 221">
                  <a:extLst>
                    <a:ext uri="{FF2B5EF4-FFF2-40B4-BE49-F238E27FC236}">
                      <a16:creationId xmlns:a16="http://schemas.microsoft.com/office/drawing/2014/main" id="{87205E21-3575-F326-7385-D8BDF48FBE62}"/>
                    </a:ext>
                  </a:extLst>
                </p:cNvPr>
                <p:cNvSpPr/>
                <p:nvPr/>
              </p:nvSpPr>
              <p:spPr>
                <a:xfrm>
                  <a:off x="310635" y="3275563"/>
                  <a:ext cx="1563960" cy="391412"/>
                </a:xfrm>
                <a:prstGeom prst="roundRect">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irect acess </a:t>
                  </a:r>
                  <a:r>
                    <a:rPr kumimoji="0" lang="da-DK"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o </a:t>
                  </a:r>
                  <a:br>
                    <a:rPr kumimoji="0" lang="da-DK"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da-DK"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ateral septum</a:t>
                  </a:r>
                  <a:endParaRPr kumimoji="0" lang="en-GB" sz="105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98" name="Oval 197">
                <a:extLst>
                  <a:ext uri="{FF2B5EF4-FFF2-40B4-BE49-F238E27FC236}">
                    <a16:creationId xmlns:a16="http://schemas.microsoft.com/office/drawing/2014/main" id="{12FAE74F-1312-AF15-0ACF-58B91C0DF8CB}"/>
                  </a:ext>
                </a:extLst>
              </p:cNvPr>
              <p:cNvSpPr/>
              <p:nvPr/>
            </p:nvSpPr>
            <p:spPr>
              <a:xfrm>
                <a:off x="4970074" y="4692934"/>
                <a:ext cx="843480" cy="843480"/>
              </a:xfrm>
              <a:prstGeom prst="ellipse">
                <a:avLst/>
              </a:prstGeom>
              <a:solidFill>
                <a:srgbClr val="B1D5F2">
                  <a:alpha val="65098"/>
                </a:srgbClr>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pis For Office"/>
                  <a:ea typeface="+mn-ea"/>
                  <a:cs typeface="+mn-cs"/>
                </a:endParaRPr>
              </a:p>
            </p:txBody>
          </p:sp>
          <p:grpSp>
            <p:nvGrpSpPr>
              <p:cNvPr id="199" name="Group 198">
                <a:extLst>
                  <a:ext uri="{FF2B5EF4-FFF2-40B4-BE49-F238E27FC236}">
                    <a16:creationId xmlns:a16="http://schemas.microsoft.com/office/drawing/2014/main" id="{2A1F2FB1-C84A-A258-DF26-A6BCA74078DB}"/>
                  </a:ext>
                </a:extLst>
              </p:cNvPr>
              <p:cNvGrpSpPr/>
              <p:nvPr/>
            </p:nvGrpSpPr>
            <p:grpSpPr>
              <a:xfrm>
                <a:off x="5078123" y="4804363"/>
                <a:ext cx="627383" cy="620622"/>
                <a:chOff x="5209891" y="5016539"/>
                <a:chExt cx="435215" cy="430525"/>
              </a:xfrm>
            </p:grpSpPr>
            <p:sp>
              <p:nvSpPr>
                <p:cNvPr id="206" name="Freeform: Shape 205">
                  <a:extLst>
                    <a:ext uri="{FF2B5EF4-FFF2-40B4-BE49-F238E27FC236}">
                      <a16:creationId xmlns:a16="http://schemas.microsoft.com/office/drawing/2014/main" id="{32A3E9CD-8309-D303-C365-0DA30C6E3D42}"/>
                    </a:ext>
                  </a:extLst>
                </p:cNvPr>
                <p:cNvSpPr/>
                <p:nvPr/>
              </p:nvSpPr>
              <p:spPr>
                <a:xfrm>
                  <a:off x="5360451" y="5016539"/>
                  <a:ext cx="284655" cy="235517"/>
                </a:xfrm>
                <a:custGeom>
                  <a:avLst/>
                  <a:gdLst>
                    <a:gd name="connsiteX0" fmla="*/ 210820 w 210820"/>
                    <a:gd name="connsiteY0" fmla="*/ 144780 h 144780"/>
                    <a:gd name="connsiteX1" fmla="*/ 0 w 210820"/>
                    <a:gd name="connsiteY1" fmla="*/ 93980 h 144780"/>
                    <a:gd name="connsiteX2" fmla="*/ 101600 w 210820"/>
                    <a:gd name="connsiteY2" fmla="*/ 0 h 144780"/>
                    <a:gd name="connsiteX3" fmla="*/ 210820 w 210820"/>
                    <a:gd name="connsiteY3" fmla="*/ 144780 h 144780"/>
                    <a:gd name="connsiteX0" fmla="*/ 213353 w 215432"/>
                    <a:gd name="connsiteY0" fmla="*/ 145416 h 145416"/>
                    <a:gd name="connsiteX1" fmla="*/ 2533 w 215432"/>
                    <a:gd name="connsiteY1" fmla="*/ 94616 h 145416"/>
                    <a:gd name="connsiteX2" fmla="*/ 104133 w 215432"/>
                    <a:gd name="connsiteY2" fmla="*/ 636 h 145416"/>
                    <a:gd name="connsiteX3" fmla="*/ 213353 w 215432"/>
                    <a:gd name="connsiteY3" fmla="*/ 145416 h 145416"/>
                    <a:gd name="connsiteX0" fmla="*/ 213353 w 215432"/>
                    <a:gd name="connsiteY0" fmla="*/ 145416 h 148806"/>
                    <a:gd name="connsiteX1" fmla="*/ 2533 w 215432"/>
                    <a:gd name="connsiteY1" fmla="*/ 94616 h 148806"/>
                    <a:gd name="connsiteX2" fmla="*/ 104133 w 215432"/>
                    <a:gd name="connsiteY2" fmla="*/ 636 h 148806"/>
                    <a:gd name="connsiteX3" fmla="*/ 213353 w 215432"/>
                    <a:gd name="connsiteY3" fmla="*/ 145416 h 148806"/>
                    <a:gd name="connsiteX0" fmla="*/ 213353 w 215432"/>
                    <a:gd name="connsiteY0" fmla="*/ 145416 h 148806"/>
                    <a:gd name="connsiteX1" fmla="*/ 2533 w 215432"/>
                    <a:gd name="connsiteY1" fmla="*/ 94616 h 148806"/>
                    <a:gd name="connsiteX2" fmla="*/ 104133 w 215432"/>
                    <a:gd name="connsiteY2" fmla="*/ 636 h 148806"/>
                    <a:gd name="connsiteX3" fmla="*/ 213353 w 215432"/>
                    <a:gd name="connsiteY3" fmla="*/ 145416 h 148806"/>
                  </a:gdLst>
                  <a:ahLst/>
                  <a:cxnLst>
                    <a:cxn ang="0">
                      <a:pos x="connsiteX0" y="connsiteY0"/>
                    </a:cxn>
                    <a:cxn ang="0">
                      <a:pos x="connsiteX1" y="connsiteY1"/>
                    </a:cxn>
                    <a:cxn ang="0">
                      <a:pos x="connsiteX2" y="connsiteY2"/>
                    </a:cxn>
                    <a:cxn ang="0">
                      <a:pos x="connsiteX3" y="connsiteY3"/>
                    </a:cxn>
                  </a:cxnLst>
                  <a:rect l="l" t="t" r="r" b="b"/>
                  <a:pathLst>
                    <a:path w="215432" h="148806">
                      <a:moveTo>
                        <a:pt x="213353" y="145416"/>
                      </a:moveTo>
                      <a:cubicBezTo>
                        <a:pt x="196420" y="161079"/>
                        <a:pt x="20736" y="118746"/>
                        <a:pt x="2533" y="94616"/>
                      </a:cubicBezTo>
                      <a:cubicBezTo>
                        <a:pt x="-15670" y="70486"/>
                        <a:pt x="68996" y="-7831"/>
                        <a:pt x="104133" y="636"/>
                      </a:cubicBezTo>
                      <a:cubicBezTo>
                        <a:pt x="139270" y="9103"/>
                        <a:pt x="230286" y="129753"/>
                        <a:pt x="213353" y="145416"/>
                      </a:cubicBezTo>
                      <a:close/>
                    </a:path>
                  </a:pathLst>
                </a:custGeom>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7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P</a:t>
                  </a:r>
                  <a:endParaRPr kumimoji="0" lang="en-GB" sz="7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7" name="Freeform: Shape 206">
                  <a:extLst>
                    <a:ext uri="{FF2B5EF4-FFF2-40B4-BE49-F238E27FC236}">
                      <a16:creationId xmlns:a16="http://schemas.microsoft.com/office/drawing/2014/main" id="{C2DB7224-11AD-4C24-385D-CF6E89BB9897}"/>
                    </a:ext>
                  </a:extLst>
                </p:cNvPr>
                <p:cNvSpPr/>
                <p:nvPr/>
              </p:nvSpPr>
              <p:spPr>
                <a:xfrm>
                  <a:off x="5209891" y="5208082"/>
                  <a:ext cx="300724" cy="238982"/>
                </a:xfrm>
                <a:custGeom>
                  <a:avLst/>
                  <a:gdLst>
                    <a:gd name="connsiteX0" fmla="*/ 0 w 246380"/>
                    <a:gd name="connsiteY0" fmla="*/ 50800 h 149860"/>
                    <a:gd name="connsiteX1" fmla="*/ 124460 w 246380"/>
                    <a:gd name="connsiteY1" fmla="*/ 149860 h 149860"/>
                    <a:gd name="connsiteX2" fmla="*/ 246380 w 246380"/>
                    <a:gd name="connsiteY2" fmla="*/ 86360 h 149860"/>
                    <a:gd name="connsiteX3" fmla="*/ 132080 w 246380"/>
                    <a:gd name="connsiteY3" fmla="*/ 0 h 149860"/>
                    <a:gd name="connsiteX4" fmla="*/ 0 w 246380"/>
                    <a:gd name="connsiteY4" fmla="*/ 50800 h 149860"/>
                    <a:gd name="connsiteX0" fmla="*/ 0 w 246396"/>
                    <a:gd name="connsiteY0" fmla="*/ 51522 h 150582"/>
                    <a:gd name="connsiteX1" fmla="*/ 124460 w 246396"/>
                    <a:gd name="connsiteY1" fmla="*/ 150582 h 150582"/>
                    <a:gd name="connsiteX2" fmla="*/ 246380 w 246396"/>
                    <a:gd name="connsiteY2" fmla="*/ 87082 h 150582"/>
                    <a:gd name="connsiteX3" fmla="*/ 132080 w 246396"/>
                    <a:gd name="connsiteY3" fmla="*/ 722 h 150582"/>
                    <a:gd name="connsiteX4" fmla="*/ 0 w 246396"/>
                    <a:gd name="connsiteY4" fmla="*/ 51522 h 150582"/>
                    <a:gd name="connsiteX0" fmla="*/ 14 w 246410"/>
                    <a:gd name="connsiteY0" fmla="*/ 51522 h 150582"/>
                    <a:gd name="connsiteX1" fmla="*/ 124474 w 246410"/>
                    <a:gd name="connsiteY1" fmla="*/ 150582 h 150582"/>
                    <a:gd name="connsiteX2" fmla="*/ 246394 w 246410"/>
                    <a:gd name="connsiteY2" fmla="*/ 87082 h 150582"/>
                    <a:gd name="connsiteX3" fmla="*/ 132094 w 246410"/>
                    <a:gd name="connsiteY3" fmla="*/ 722 h 150582"/>
                    <a:gd name="connsiteX4" fmla="*/ 14 w 246410"/>
                    <a:gd name="connsiteY4" fmla="*/ 51522 h 150582"/>
                    <a:gd name="connsiteX0" fmla="*/ 14 w 246410"/>
                    <a:gd name="connsiteY0" fmla="*/ 51522 h 153626"/>
                    <a:gd name="connsiteX1" fmla="*/ 124474 w 246410"/>
                    <a:gd name="connsiteY1" fmla="*/ 150582 h 153626"/>
                    <a:gd name="connsiteX2" fmla="*/ 246394 w 246410"/>
                    <a:gd name="connsiteY2" fmla="*/ 87082 h 153626"/>
                    <a:gd name="connsiteX3" fmla="*/ 132094 w 246410"/>
                    <a:gd name="connsiteY3" fmla="*/ 722 h 153626"/>
                    <a:gd name="connsiteX4" fmla="*/ 14 w 246410"/>
                    <a:gd name="connsiteY4" fmla="*/ 51522 h 153626"/>
                    <a:gd name="connsiteX0" fmla="*/ 14 w 255021"/>
                    <a:gd name="connsiteY0" fmla="*/ 51522 h 153626"/>
                    <a:gd name="connsiteX1" fmla="*/ 124474 w 255021"/>
                    <a:gd name="connsiteY1" fmla="*/ 150582 h 153626"/>
                    <a:gd name="connsiteX2" fmla="*/ 246394 w 255021"/>
                    <a:gd name="connsiteY2" fmla="*/ 87082 h 153626"/>
                    <a:gd name="connsiteX3" fmla="*/ 132094 w 255021"/>
                    <a:gd name="connsiteY3" fmla="*/ 722 h 153626"/>
                    <a:gd name="connsiteX4" fmla="*/ 14 w 255021"/>
                    <a:gd name="connsiteY4" fmla="*/ 51522 h 153626"/>
                    <a:gd name="connsiteX0" fmla="*/ 14 w 250515"/>
                    <a:gd name="connsiteY0" fmla="*/ 51522 h 153626"/>
                    <a:gd name="connsiteX1" fmla="*/ 124474 w 250515"/>
                    <a:gd name="connsiteY1" fmla="*/ 150582 h 153626"/>
                    <a:gd name="connsiteX2" fmla="*/ 246394 w 250515"/>
                    <a:gd name="connsiteY2" fmla="*/ 87082 h 153626"/>
                    <a:gd name="connsiteX3" fmla="*/ 132094 w 250515"/>
                    <a:gd name="connsiteY3" fmla="*/ 722 h 153626"/>
                    <a:gd name="connsiteX4" fmla="*/ 14 w 250515"/>
                    <a:gd name="connsiteY4" fmla="*/ 51522 h 153626"/>
                    <a:gd name="connsiteX0" fmla="*/ 15 w 250516"/>
                    <a:gd name="connsiteY0" fmla="*/ 51522 h 150995"/>
                    <a:gd name="connsiteX1" fmla="*/ 124475 w 250516"/>
                    <a:gd name="connsiteY1" fmla="*/ 150582 h 150995"/>
                    <a:gd name="connsiteX2" fmla="*/ 246395 w 250516"/>
                    <a:gd name="connsiteY2" fmla="*/ 87082 h 150995"/>
                    <a:gd name="connsiteX3" fmla="*/ 132095 w 250516"/>
                    <a:gd name="connsiteY3" fmla="*/ 722 h 150995"/>
                    <a:gd name="connsiteX4" fmla="*/ 15 w 250516"/>
                    <a:gd name="connsiteY4" fmla="*/ 51522 h 150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516" h="150995">
                      <a:moveTo>
                        <a:pt x="15" y="51522"/>
                      </a:moveTo>
                      <a:cubicBezTo>
                        <a:pt x="-1255" y="76499"/>
                        <a:pt x="73675" y="146349"/>
                        <a:pt x="124475" y="150582"/>
                      </a:cubicBezTo>
                      <a:cubicBezTo>
                        <a:pt x="175275" y="154815"/>
                        <a:pt x="220995" y="126029"/>
                        <a:pt x="246395" y="87082"/>
                      </a:cubicBezTo>
                      <a:cubicBezTo>
                        <a:pt x="271795" y="48135"/>
                        <a:pt x="173158" y="6649"/>
                        <a:pt x="132095" y="722"/>
                      </a:cubicBezTo>
                      <a:cubicBezTo>
                        <a:pt x="91032" y="-5205"/>
                        <a:pt x="1285" y="26545"/>
                        <a:pt x="15" y="51522"/>
                      </a:cubicBezTo>
                      <a:close/>
                    </a:path>
                  </a:pathLst>
                </a:custGeom>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7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TS</a:t>
                  </a:r>
                  <a:endParaRPr kumimoji="0" lang="en-GB" sz="7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200" name="Oval 199">
                <a:extLst>
                  <a:ext uri="{FF2B5EF4-FFF2-40B4-BE49-F238E27FC236}">
                    <a16:creationId xmlns:a16="http://schemas.microsoft.com/office/drawing/2014/main" id="{D2F35FB0-A57C-31E3-0626-3F5960AE2121}"/>
                  </a:ext>
                </a:extLst>
              </p:cNvPr>
              <p:cNvSpPr/>
              <p:nvPr/>
            </p:nvSpPr>
            <p:spPr>
              <a:xfrm>
                <a:off x="4477597" y="4772349"/>
                <a:ext cx="303326" cy="295720"/>
              </a:xfrm>
              <a:prstGeom prst="ellipse">
                <a:avLst/>
              </a:prstGeom>
              <a:solidFill>
                <a:srgbClr val="3F9C3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endPar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1" name="Freeform: Shape 200">
                <a:extLst>
                  <a:ext uri="{FF2B5EF4-FFF2-40B4-BE49-F238E27FC236}">
                    <a16:creationId xmlns:a16="http://schemas.microsoft.com/office/drawing/2014/main" id="{34C6523A-226B-1EE3-7B17-0136F7B345C2}"/>
                  </a:ext>
                </a:extLst>
              </p:cNvPr>
              <p:cNvSpPr/>
              <p:nvPr/>
            </p:nvSpPr>
            <p:spPr>
              <a:xfrm rot="371800">
                <a:off x="4626236" y="5132303"/>
                <a:ext cx="386803" cy="251275"/>
              </a:xfrm>
              <a:custGeom>
                <a:avLst/>
                <a:gdLst>
                  <a:gd name="connsiteX0" fmla="*/ 502920 w 502920"/>
                  <a:gd name="connsiteY0" fmla="*/ 148590 h 171450"/>
                  <a:gd name="connsiteX1" fmla="*/ 198120 w 502920"/>
                  <a:gd name="connsiteY1" fmla="*/ 171450 h 171450"/>
                  <a:gd name="connsiteX2" fmla="*/ 0 w 502920"/>
                  <a:gd name="connsiteY2" fmla="*/ 0 h 171450"/>
                  <a:gd name="connsiteX0" fmla="*/ 502920 w 502920"/>
                  <a:gd name="connsiteY0" fmla="*/ 148590 h 179441"/>
                  <a:gd name="connsiteX1" fmla="*/ 198120 w 502920"/>
                  <a:gd name="connsiteY1" fmla="*/ 171450 h 179441"/>
                  <a:gd name="connsiteX2" fmla="*/ 0 w 502920"/>
                  <a:gd name="connsiteY2" fmla="*/ 0 h 179441"/>
                  <a:gd name="connsiteX0" fmla="*/ 502920 w 502920"/>
                  <a:gd name="connsiteY0" fmla="*/ 148590 h 185848"/>
                  <a:gd name="connsiteX1" fmla="*/ 198120 w 502920"/>
                  <a:gd name="connsiteY1" fmla="*/ 171450 h 185848"/>
                  <a:gd name="connsiteX2" fmla="*/ 0 w 502920"/>
                  <a:gd name="connsiteY2" fmla="*/ 0 h 185848"/>
                  <a:gd name="connsiteX0" fmla="*/ 502920 w 502920"/>
                  <a:gd name="connsiteY0" fmla="*/ 148590 h 181016"/>
                  <a:gd name="connsiteX1" fmla="*/ 198120 w 502920"/>
                  <a:gd name="connsiteY1" fmla="*/ 171450 h 181016"/>
                  <a:gd name="connsiteX2" fmla="*/ 0 w 502920"/>
                  <a:gd name="connsiteY2" fmla="*/ 0 h 181016"/>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76857"/>
                  <a:gd name="connsiteX1" fmla="*/ 198120 w 502920"/>
                  <a:gd name="connsiteY1" fmla="*/ 171450 h 176857"/>
                  <a:gd name="connsiteX2" fmla="*/ 0 w 502920"/>
                  <a:gd name="connsiteY2" fmla="*/ 0 h 176857"/>
                  <a:gd name="connsiteX0" fmla="*/ 502920 w 502920"/>
                  <a:gd name="connsiteY0" fmla="*/ 148590 h 166866"/>
                  <a:gd name="connsiteX1" fmla="*/ 205740 w 502920"/>
                  <a:gd name="connsiteY1" fmla="*/ 148590 h 166866"/>
                  <a:gd name="connsiteX2" fmla="*/ 0 w 502920"/>
                  <a:gd name="connsiteY2" fmla="*/ 0 h 166866"/>
                  <a:gd name="connsiteX0" fmla="*/ 502920 w 502920"/>
                  <a:gd name="connsiteY0" fmla="*/ 148590 h 169300"/>
                  <a:gd name="connsiteX1" fmla="*/ 205740 w 502920"/>
                  <a:gd name="connsiteY1" fmla="*/ 148590 h 169300"/>
                  <a:gd name="connsiteX2" fmla="*/ 0 w 502920"/>
                  <a:gd name="connsiteY2" fmla="*/ 0 h 169300"/>
                </a:gdLst>
                <a:ahLst/>
                <a:cxnLst>
                  <a:cxn ang="0">
                    <a:pos x="connsiteX0" y="connsiteY0"/>
                  </a:cxn>
                  <a:cxn ang="0">
                    <a:pos x="connsiteX1" y="connsiteY1"/>
                  </a:cxn>
                  <a:cxn ang="0">
                    <a:pos x="connsiteX2" y="connsiteY2"/>
                  </a:cxn>
                </a:cxnLst>
                <a:rect l="l" t="t" r="r" b="b"/>
                <a:pathLst>
                  <a:path w="502920" h="169300">
                    <a:moveTo>
                      <a:pt x="502920" y="148590"/>
                    </a:moveTo>
                    <a:cubicBezTo>
                      <a:pt x="378460" y="186690"/>
                      <a:pt x="257089" y="163351"/>
                      <a:pt x="205740" y="148590"/>
                    </a:cubicBezTo>
                    <a:cubicBezTo>
                      <a:pt x="154391" y="133829"/>
                      <a:pt x="85090" y="87630"/>
                      <a:pt x="0" y="0"/>
                    </a:cubicBezTo>
                  </a:path>
                </a:pathLst>
              </a:custGeom>
              <a:noFill/>
              <a:ln w="28575">
                <a:solidFill>
                  <a:srgbClr val="001965"/>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2" name="Freeform: Shape 201">
                <a:extLst>
                  <a:ext uri="{FF2B5EF4-FFF2-40B4-BE49-F238E27FC236}">
                    <a16:creationId xmlns:a16="http://schemas.microsoft.com/office/drawing/2014/main" id="{37267DEF-8B35-168D-07CA-C5B28308DF7E}"/>
                  </a:ext>
                </a:extLst>
              </p:cNvPr>
              <p:cNvSpPr/>
              <p:nvPr/>
            </p:nvSpPr>
            <p:spPr>
              <a:xfrm rot="19707422" flipH="1" flipV="1">
                <a:off x="2043784" y="4762028"/>
                <a:ext cx="977294" cy="340769"/>
              </a:xfrm>
              <a:custGeom>
                <a:avLst/>
                <a:gdLst>
                  <a:gd name="connsiteX0" fmla="*/ 502920 w 502920"/>
                  <a:gd name="connsiteY0" fmla="*/ 148590 h 171450"/>
                  <a:gd name="connsiteX1" fmla="*/ 198120 w 502920"/>
                  <a:gd name="connsiteY1" fmla="*/ 171450 h 171450"/>
                  <a:gd name="connsiteX2" fmla="*/ 0 w 502920"/>
                  <a:gd name="connsiteY2" fmla="*/ 0 h 171450"/>
                  <a:gd name="connsiteX0" fmla="*/ 502920 w 502920"/>
                  <a:gd name="connsiteY0" fmla="*/ 148590 h 179441"/>
                  <a:gd name="connsiteX1" fmla="*/ 198120 w 502920"/>
                  <a:gd name="connsiteY1" fmla="*/ 171450 h 179441"/>
                  <a:gd name="connsiteX2" fmla="*/ 0 w 502920"/>
                  <a:gd name="connsiteY2" fmla="*/ 0 h 179441"/>
                  <a:gd name="connsiteX0" fmla="*/ 502920 w 502920"/>
                  <a:gd name="connsiteY0" fmla="*/ 148590 h 185848"/>
                  <a:gd name="connsiteX1" fmla="*/ 198120 w 502920"/>
                  <a:gd name="connsiteY1" fmla="*/ 171450 h 185848"/>
                  <a:gd name="connsiteX2" fmla="*/ 0 w 502920"/>
                  <a:gd name="connsiteY2" fmla="*/ 0 h 185848"/>
                  <a:gd name="connsiteX0" fmla="*/ 502920 w 502920"/>
                  <a:gd name="connsiteY0" fmla="*/ 148590 h 181016"/>
                  <a:gd name="connsiteX1" fmla="*/ 198120 w 502920"/>
                  <a:gd name="connsiteY1" fmla="*/ 171450 h 181016"/>
                  <a:gd name="connsiteX2" fmla="*/ 0 w 502920"/>
                  <a:gd name="connsiteY2" fmla="*/ 0 h 181016"/>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76857"/>
                  <a:gd name="connsiteX1" fmla="*/ 198120 w 502920"/>
                  <a:gd name="connsiteY1" fmla="*/ 171450 h 176857"/>
                  <a:gd name="connsiteX2" fmla="*/ 0 w 502920"/>
                  <a:gd name="connsiteY2" fmla="*/ 0 h 176857"/>
                  <a:gd name="connsiteX0" fmla="*/ 502920 w 502920"/>
                  <a:gd name="connsiteY0" fmla="*/ 148590 h 166866"/>
                  <a:gd name="connsiteX1" fmla="*/ 205740 w 502920"/>
                  <a:gd name="connsiteY1" fmla="*/ 148590 h 166866"/>
                  <a:gd name="connsiteX2" fmla="*/ 0 w 502920"/>
                  <a:gd name="connsiteY2" fmla="*/ 0 h 166866"/>
                  <a:gd name="connsiteX0" fmla="*/ 502920 w 502920"/>
                  <a:gd name="connsiteY0" fmla="*/ 148590 h 169154"/>
                  <a:gd name="connsiteX1" fmla="*/ 205740 w 502920"/>
                  <a:gd name="connsiteY1" fmla="*/ 148590 h 169154"/>
                  <a:gd name="connsiteX2" fmla="*/ 0 w 502920"/>
                  <a:gd name="connsiteY2" fmla="*/ 0 h 169154"/>
                </a:gdLst>
                <a:ahLst/>
                <a:cxnLst>
                  <a:cxn ang="0">
                    <a:pos x="connsiteX0" y="connsiteY0"/>
                  </a:cxn>
                  <a:cxn ang="0">
                    <a:pos x="connsiteX1" y="connsiteY1"/>
                  </a:cxn>
                  <a:cxn ang="0">
                    <a:pos x="connsiteX2" y="connsiteY2"/>
                  </a:cxn>
                </a:cxnLst>
                <a:rect l="l" t="t" r="r" b="b"/>
                <a:pathLst>
                  <a:path w="502920" h="169154">
                    <a:moveTo>
                      <a:pt x="502920" y="148590"/>
                    </a:moveTo>
                    <a:cubicBezTo>
                      <a:pt x="378460" y="186690"/>
                      <a:pt x="251967" y="162845"/>
                      <a:pt x="205740" y="148590"/>
                    </a:cubicBezTo>
                    <a:cubicBezTo>
                      <a:pt x="159513" y="134335"/>
                      <a:pt x="85090" y="87630"/>
                      <a:pt x="0" y="0"/>
                    </a:cubicBezTo>
                  </a:path>
                </a:pathLst>
              </a:custGeom>
              <a:noFill/>
              <a:ln w="28575">
                <a:solidFill>
                  <a:srgbClr val="001965"/>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3" name="Freeform: Shape 202">
                <a:extLst>
                  <a:ext uri="{FF2B5EF4-FFF2-40B4-BE49-F238E27FC236}">
                    <a16:creationId xmlns:a16="http://schemas.microsoft.com/office/drawing/2014/main" id="{798446CC-B403-ABBA-0FC2-6DD74A22830B}"/>
                  </a:ext>
                </a:extLst>
              </p:cNvPr>
              <p:cNvSpPr/>
              <p:nvPr/>
            </p:nvSpPr>
            <p:spPr>
              <a:xfrm rot="20409204" flipH="1">
                <a:off x="3702619" y="5033106"/>
                <a:ext cx="484116" cy="176730"/>
              </a:xfrm>
              <a:custGeom>
                <a:avLst/>
                <a:gdLst>
                  <a:gd name="connsiteX0" fmla="*/ 502920 w 502920"/>
                  <a:gd name="connsiteY0" fmla="*/ 148590 h 171450"/>
                  <a:gd name="connsiteX1" fmla="*/ 198120 w 502920"/>
                  <a:gd name="connsiteY1" fmla="*/ 171450 h 171450"/>
                  <a:gd name="connsiteX2" fmla="*/ 0 w 502920"/>
                  <a:gd name="connsiteY2" fmla="*/ 0 h 171450"/>
                  <a:gd name="connsiteX0" fmla="*/ 502920 w 502920"/>
                  <a:gd name="connsiteY0" fmla="*/ 148590 h 179441"/>
                  <a:gd name="connsiteX1" fmla="*/ 198120 w 502920"/>
                  <a:gd name="connsiteY1" fmla="*/ 171450 h 179441"/>
                  <a:gd name="connsiteX2" fmla="*/ 0 w 502920"/>
                  <a:gd name="connsiteY2" fmla="*/ 0 h 179441"/>
                  <a:gd name="connsiteX0" fmla="*/ 502920 w 502920"/>
                  <a:gd name="connsiteY0" fmla="*/ 148590 h 185848"/>
                  <a:gd name="connsiteX1" fmla="*/ 198120 w 502920"/>
                  <a:gd name="connsiteY1" fmla="*/ 171450 h 185848"/>
                  <a:gd name="connsiteX2" fmla="*/ 0 w 502920"/>
                  <a:gd name="connsiteY2" fmla="*/ 0 h 185848"/>
                  <a:gd name="connsiteX0" fmla="*/ 502920 w 502920"/>
                  <a:gd name="connsiteY0" fmla="*/ 148590 h 181016"/>
                  <a:gd name="connsiteX1" fmla="*/ 198120 w 502920"/>
                  <a:gd name="connsiteY1" fmla="*/ 171450 h 181016"/>
                  <a:gd name="connsiteX2" fmla="*/ 0 w 502920"/>
                  <a:gd name="connsiteY2" fmla="*/ 0 h 181016"/>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86824"/>
                  <a:gd name="connsiteX1" fmla="*/ 198120 w 502920"/>
                  <a:gd name="connsiteY1" fmla="*/ 171450 h 186824"/>
                  <a:gd name="connsiteX2" fmla="*/ 0 w 502920"/>
                  <a:gd name="connsiteY2" fmla="*/ 0 h 186824"/>
                  <a:gd name="connsiteX0" fmla="*/ 502920 w 502920"/>
                  <a:gd name="connsiteY0" fmla="*/ 148590 h 176857"/>
                  <a:gd name="connsiteX1" fmla="*/ 198120 w 502920"/>
                  <a:gd name="connsiteY1" fmla="*/ 171450 h 176857"/>
                  <a:gd name="connsiteX2" fmla="*/ 0 w 502920"/>
                  <a:gd name="connsiteY2" fmla="*/ 0 h 176857"/>
                  <a:gd name="connsiteX0" fmla="*/ 502920 w 502920"/>
                  <a:gd name="connsiteY0" fmla="*/ 148590 h 166866"/>
                  <a:gd name="connsiteX1" fmla="*/ 205740 w 502920"/>
                  <a:gd name="connsiteY1" fmla="*/ 148590 h 166866"/>
                  <a:gd name="connsiteX2" fmla="*/ 0 w 502920"/>
                  <a:gd name="connsiteY2" fmla="*/ 0 h 166866"/>
                  <a:gd name="connsiteX0" fmla="*/ 502920 w 502920"/>
                  <a:gd name="connsiteY0" fmla="*/ 148590 h 169154"/>
                  <a:gd name="connsiteX1" fmla="*/ 205740 w 502920"/>
                  <a:gd name="connsiteY1" fmla="*/ 148590 h 169154"/>
                  <a:gd name="connsiteX2" fmla="*/ 0 w 502920"/>
                  <a:gd name="connsiteY2" fmla="*/ 0 h 169154"/>
                </a:gdLst>
                <a:ahLst/>
                <a:cxnLst>
                  <a:cxn ang="0">
                    <a:pos x="connsiteX0" y="connsiteY0"/>
                  </a:cxn>
                  <a:cxn ang="0">
                    <a:pos x="connsiteX1" y="connsiteY1"/>
                  </a:cxn>
                  <a:cxn ang="0">
                    <a:pos x="connsiteX2" y="connsiteY2"/>
                  </a:cxn>
                </a:cxnLst>
                <a:rect l="l" t="t" r="r" b="b"/>
                <a:pathLst>
                  <a:path w="502920" h="169154">
                    <a:moveTo>
                      <a:pt x="502920" y="148590"/>
                    </a:moveTo>
                    <a:cubicBezTo>
                      <a:pt x="378460" y="186690"/>
                      <a:pt x="251967" y="162845"/>
                      <a:pt x="205740" y="148590"/>
                    </a:cubicBezTo>
                    <a:cubicBezTo>
                      <a:pt x="159513" y="134335"/>
                      <a:pt x="85090" y="87630"/>
                      <a:pt x="0" y="0"/>
                    </a:cubicBezTo>
                  </a:path>
                </a:pathLst>
              </a:custGeom>
              <a:noFill/>
              <a:ln w="28575">
                <a:solidFill>
                  <a:srgbClr val="00196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4" name="TextBox 203">
                <a:extLst>
                  <a:ext uri="{FF2B5EF4-FFF2-40B4-BE49-F238E27FC236}">
                    <a16:creationId xmlns:a16="http://schemas.microsoft.com/office/drawing/2014/main" id="{31CFCA17-1B68-9F3A-6AF4-EE992BAAA8AE}"/>
                  </a:ext>
                </a:extLst>
              </p:cNvPr>
              <p:cNvSpPr txBox="1"/>
              <p:nvPr/>
            </p:nvSpPr>
            <p:spPr>
              <a:xfrm>
                <a:off x="4357374" y="4565017"/>
                <a:ext cx="252018" cy="239260"/>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pis For Office"/>
                    <a:ea typeface="+mn-ea"/>
                    <a:cs typeface="+mn-cs"/>
                  </a:rPr>
                  <a:t>PB</a:t>
                </a:r>
                <a:endParaRPr kumimoji="0" lang="en-GB" sz="900" b="1"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205" name="Oval 204">
                <a:extLst>
                  <a:ext uri="{FF2B5EF4-FFF2-40B4-BE49-F238E27FC236}">
                    <a16:creationId xmlns:a16="http://schemas.microsoft.com/office/drawing/2014/main" id="{92098AA5-7FF2-8B17-8DC8-2DC3ABC2BAEB}"/>
                  </a:ext>
                </a:extLst>
              </p:cNvPr>
              <p:cNvSpPr/>
              <p:nvPr/>
            </p:nvSpPr>
            <p:spPr>
              <a:xfrm>
                <a:off x="4067504" y="4660455"/>
                <a:ext cx="303326" cy="295720"/>
              </a:xfrm>
              <a:prstGeom prst="ellipse">
                <a:avLst/>
              </a:prstGeom>
              <a:solidFill>
                <a:srgbClr val="E6553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endParaRPr kumimoji="0" lang="en-GB" sz="20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cxnSp>
          <p:nvCxnSpPr>
            <p:cNvPr id="196" name="Straight Connector 195">
              <a:extLst>
                <a:ext uri="{FF2B5EF4-FFF2-40B4-BE49-F238E27FC236}">
                  <a16:creationId xmlns:a16="http://schemas.microsoft.com/office/drawing/2014/main" id="{5B1E17E8-5CC4-FBA6-BAE3-D6FB5968A69B}"/>
                </a:ext>
              </a:extLst>
            </p:cNvPr>
            <p:cNvCxnSpPr>
              <a:cxnSpLocks/>
            </p:cNvCxnSpPr>
            <p:nvPr/>
          </p:nvCxnSpPr>
          <p:spPr>
            <a:xfrm>
              <a:off x="4049217" y="4922401"/>
              <a:ext cx="176647" cy="79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0061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999AD-471E-B156-B731-564D16B28830}"/>
              </a:ext>
            </a:extLst>
          </p:cNvPr>
          <p:cNvSpPr>
            <a:spLocks noGrp="1"/>
          </p:cNvSpPr>
          <p:nvPr>
            <p:ph type="title"/>
          </p:nvPr>
        </p:nvSpPr>
        <p:spPr/>
        <p:txBody>
          <a:bodyPr/>
          <a:lstStyle/>
          <a:p>
            <a:r>
              <a:rPr lang="en-ZA" dirty="0"/>
              <a:t>Novo Nordisk Disclaimer and Disclosure</a:t>
            </a:r>
          </a:p>
        </p:txBody>
      </p:sp>
      <p:sp>
        <p:nvSpPr>
          <p:cNvPr id="3" name="Content Placeholder 2">
            <a:extLst>
              <a:ext uri="{FF2B5EF4-FFF2-40B4-BE49-F238E27FC236}">
                <a16:creationId xmlns:a16="http://schemas.microsoft.com/office/drawing/2014/main" id="{4CAC595A-6C41-B446-D304-126B8DA72DBD}"/>
              </a:ext>
            </a:extLst>
          </p:cNvPr>
          <p:cNvSpPr>
            <a:spLocks noGrp="1"/>
          </p:cNvSpPr>
          <p:nvPr>
            <p:ph idx="1"/>
          </p:nvPr>
        </p:nvSpPr>
        <p:spPr/>
        <p:txBody>
          <a:bodyPr/>
          <a:lstStyle/>
          <a:p>
            <a:pPr algn="l"/>
            <a:r>
              <a:rPr lang="en-ZA" sz="2400" b="0" i="0" dirty="0">
                <a:solidFill>
                  <a:srgbClr val="001965"/>
                </a:solidFill>
                <a:effectLst/>
                <a:latin typeface="__Inter_aaf875"/>
              </a:rPr>
              <a:t>This event is funded by Novo Nordisk South Africa as part of their medical education program for healthcare professionals, aiming to foster scientific and clinical knowledge exchange. The views and content presented by the speakers are solely their own, and do not necessarily reflect those of Novo Nordisk South Africa. Novo Nordisk advocates for the use of their products strictly as per the approved local guidelines and package insert.</a:t>
            </a:r>
          </a:p>
          <a:p>
            <a:pPr algn="l"/>
            <a:r>
              <a:rPr lang="en-ZA" sz="2400" b="0" i="0" dirty="0">
                <a:solidFill>
                  <a:srgbClr val="001965"/>
                </a:solidFill>
                <a:effectLst/>
                <a:latin typeface="__Inter_aaf875"/>
              </a:rPr>
              <a:t>The speaker/s have received an honorarium from Novo Nordisk South Africa. Their relationship with the company, including any services, research involvement, advisory positions, shareholding, or board memberships, is disclosed to maintain transparency and uphold the integrity of this event.</a:t>
            </a:r>
          </a:p>
          <a:p>
            <a:endParaRPr lang="en-ZA" dirty="0"/>
          </a:p>
        </p:txBody>
      </p:sp>
      <p:sp>
        <p:nvSpPr>
          <p:cNvPr id="4" name="Date Placeholder 3">
            <a:extLst>
              <a:ext uri="{FF2B5EF4-FFF2-40B4-BE49-F238E27FC236}">
                <a16:creationId xmlns:a16="http://schemas.microsoft.com/office/drawing/2014/main" id="{CB9088D4-30BB-9405-699E-605524A663A5}"/>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5" name="Footer Placeholder 4">
            <a:extLst>
              <a:ext uri="{FF2B5EF4-FFF2-40B4-BE49-F238E27FC236}">
                <a16:creationId xmlns:a16="http://schemas.microsoft.com/office/drawing/2014/main" id="{53EA6EF6-6103-A295-CAF9-7E11C7098654}"/>
              </a:ext>
            </a:extLst>
          </p:cNvPr>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 name="Slide Number Placeholder 5">
            <a:extLst>
              <a:ext uri="{FF2B5EF4-FFF2-40B4-BE49-F238E27FC236}">
                <a16:creationId xmlns:a16="http://schemas.microsoft.com/office/drawing/2014/main" id="{C1D20E00-31D8-F019-07A1-342FDDF254F3}"/>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1965"/>
                </a:solidFill>
                <a:effectLst/>
                <a:uLnTx/>
                <a:uFillTx/>
                <a:latin typeface="Apis For Office"/>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2</a:t>
            </a:fld>
            <a:endParaRPr kumimoji="0" lang="en-GB" sz="7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 name="Text Placeholder 6">
            <a:extLst>
              <a:ext uri="{FF2B5EF4-FFF2-40B4-BE49-F238E27FC236}">
                <a16:creationId xmlns:a16="http://schemas.microsoft.com/office/drawing/2014/main" id="{875E65A0-7A02-4C5C-9DB1-B8D2A9429FE5}"/>
              </a:ext>
            </a:extLst>
          </p:cNvPr>
          <p:cNvSpPr>
            <a:spLocks noGrp="1"/>
          </p:cNvSpPr>
          <p:nvPr>
            <p:ph type="body" sz="quarter" idx="13"/>
          </p:nvPr>
        </p:nvSpPr>
        <p:spPr/>
        <p:txBody>
          <a:bodyPr/>
          <a:lstStyle/>
          <a:p>
            <a:endParaRPr lang="en-ZA"/>
          </a:p>
        </p:txBody>
      </p:sp>
    </p:spTree>
    <p:extLst>
      <p:ext uri="{BB962C8B-B14F-4D97-AF65-F5344CB8AC3E}">
        <p14:creationId xmlns:p14="http://schemas.microsoft.com/office/powerpoint/2010/main" val="3609208400"/>
      </p:ext>
    </p:extLst>
  </p:cSld>
  <p:clrMapOvr>
    <a:masterClrMapping/>
  </p:clrMapOvr>
  <mc:AlternateContent xmlns:mc="http://schemas.openxmlformats.org/markup-compatibility/2006" xmlns:p14="http://schemas.microsoft.com/office/powerpoint/2010/main">
    <mc:Choice Requires="p14">
      <p:transition spd="med" p14:dur="700" advTm="442">
        <p:fade/>
      </p:transition>
    </mc:Choice>
    <mc:Fallback xmlns="">
      <p:transition spd="med" advTm="442">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7989A-5B67-496F-9619-951CBE9F309D}"/>
              </a:ext>
            </a:extLst>
          </p:cNvPr>
          <p:cNvSpPr>
            <a:spLocks noGrp="1"/>
          </p:cNvSpPr>
          <p:nvPr>
            <p:ph type="title"/>
          </p:nvPr>
        </p:nvSpPr>
        <p:spPr>
          <a:xfrm>
            <a:off x="648000" y="648000"/>
            <a:ext cx="11254440" cy="929120"/>
          </a:xfrm>
        </p:spPr>
        <p:txBody>
          <a:bodyPr/>
          <a:lstStyle/>
          <a:p>
            <a:r>
              <a:rPr lang="en-GB" sz="2800" b="1" dirty="0"/>
              <a:t>The cardiometabolic effects of GLP-1RAs</a:t>
            </a:r>
            <a:br>
              <a:rPr lang="en-GB" sz="2800" b="1" dirty="0"/>
            </a:br>
            <a:r>
              <a:rPr lang="en-GB" sz="1800" dirty="0">
                <a:solidFill>
                  <a:schemeClr val="accent5"/>
                </a:solidFill>
              </a:rPr>
              <a:t>GLP-1RAs have a multitude of pharmacological effects and CV benefits</a:t>
            </a:r>
            <a:endParaRPr lang="en-GB" sz="2000" dirty="0">
              <a:solidFill>
                <a:schemeClr val="accent5"/>
              </a:solidFill>
            </a:endParaRPr>
          </a:p>
        </p:txBody>
      </p:sp>
      <p:sp>
        <p:nvSpPr>
          <p:cNvPr id="6" name="Text Placeholder 5">
            <a:extLst>
              <a:ext uri="{FF2B5EF4-FFF2-40B4-BE49-F238E27FC236}">
                <a16:creationId xmlns:a16="http://schemas.microsoft.com/office/drawing/2014/main" id="{2F15BEC2-9959-40FB-9EA7-5703BD188A4B}"/>
              </a:ext>
            </a:extLst>
          </p:cNvPr>
          <p:cNvSpPr>
            <a:spLocks noGrp="1"/>
          </p:cNvSpPr>
          <p:nvPr>
            <p:ph type="body" sz="quarter" idx="13"/>
          </p:nvPr>
        </p:nvSpPr>
        <p:spPr>
          <a:xfrm>
            <a:off x="647998" y="6210000"/>
            <a:ext cx="10919161" cy="324000"/>
          </a:xfrm>
        </p:spPr>
        <p:txBody>
          <a:bodyPr/>
          <a:lstStyle/>
          <a:p>
            <a:pPr>
              <a:spcBef>
                <a:spcPts val="10"/>
              </a:spcBef>
              <a:spcAft>
                <a:spcPts val="200"/>
              </a:spcAft>
            </a:pPr>
            <a:r>
              <a:rPr lang="en-GB" dirty="0"/>
              <a:t>*Reduction in the risk of a composite kidney outcome of development of macroalbuminuria, worsening kidney function, kidney replacement therapy and death due to kidney disease.</a:t>
            </a:r>
            <a:br>
              <a:rPr lang="en-GB" dirty="0">
                <a:solidFill>
                  <a:schemeClr val="accent6"/>
                </a:solidFill>
              </a:rPr>
            </a:br>
            <a:r>
              <a:rPr lang="en-GB" dirty="0">
                <a:solidFill>
                  <a:schemeClr val="accent6"/>
                </a:solidFill>
              </a:rPr>
              <a:t>CV, cardiovascular; GI, gastrointestinal; GLP-1RA, glucagon-like peptide-1 receptor agonist; </a:t>
            </a:r>
            <a:r>
              <a:rPr lang="en-GB" dirty="0"/>
              <a:t>MACE, major adverse cardiovascular events</a:t>
            </a:r>
            <a:r>
              <a:rPr lang="en-GB" dirty="0">
                <a:solidFill>
                  <a:schemeClr val="accent6"/>
                </a:solidFill>
              </a:rPr>
              <a:t>. </a:t>
            </a:r>
            <a:br>
              <a:rPr lang="en-GB" dirty="0">
                <a:solidFill>
                  <a:schemeClr val="accent6"/>
                </a:solidFill>
              </a:rPr>
            </a:br>
            <a:r>
              <a:rPr lang="en-GB" dirty="0">
                <a:solidFill>
                  <a:schemeClr val="accent6"/>
                </a:solidFill>
              </a:rPr>
              <a:t>Adapted from Campbell, Drucker. Cell Metab 2013;17:819–37 and Pratley, Gilbert. Rev Diabet Stud 2008;5:73–94.</a:t>
            </a:r>
          </a:p>
          <a:p>
            <a:pPr>
              <a:spcBef>
                <a:spcPts val="10"/>
              </a:spcBef>
              <a:spcAft>
                <a:spcPts val="200"/>
              </a:spcAft>
            </a:pPr>
            <a:r>
              <a:rPr lang="en-GB" sz="800" dirty="0">
                <a:latin typeface="Apis For Office" panose="020B0504010101010104" pitchFamily="34" charset="0"/>
                <a:ea typeface="Apis For Office" panose="020B0504010101010104" pitchFamily="34" charset="0"/>
                <a:cs typeface="Apis For Office" panose="020B0504010101010104" pitchFamily="34" charset="0"/>
              </a:rPr>
              <a:t>1. Campbell JE, DJ Drucker. Cell Metab 2013;17:819–37; 2. Marso SP et al. N Engl J Med 2016;375:311–22; 3. Ryan D, Acosta A. Obesity 2015;23:1119–29; 4. Hogan AE et al. Diabetologia 2014;57:781–4; 5. Baggio LL, Drucker DJ. J Clin Invest 2014;124:4223–6; 6. Bagger JI et al. Clin Endocrinol Metab 2015;100:4541–52; 7. Flint A et al. J Clin Invest 1998;101:515–20; 8. Blundell J et al. Diabetes Obes Metab. 2017;19(9):1242–51; 9. Tong J, D'Alessio D. Diabetes 2014;63:407–9; </a:t>
            </a:r>
            <a:br>
              <a:rPr lang="en-GB" sz="800" dirty="0">
                <a:latin typeface="Apis For Office" panose="020B0504010101010104" pitchFamily="34" charset="0"/>
                <a:ea typeface="Apis For Office" panose="020B0504010101010104" pitchFamily="34" charset="0"/>
                <a:cs typeface="Apis For Office" panose="020B0504010101010104" pitchFamily="34" charset="0"/>
              </a:rPr>
            </a:br>
            <a:r>
              <a:rPr lang="en-GB" sz="800" dirty="0">
                <a:latin typeface="Apis For Office" panose="020B0504010101010104" pitchFamily="34" charset="0"/>
                <a:ea typeface="Apis For Office" panose="020B0504010101010104" pitchFamily="34" charset="0"/>
                <a:cs typeface="Apis For Office" panose="020B0504010101010104" pitchFamily="34" charset="0"/>
              </a:rPr>
              <a:t>10. Armstrong MJ et al. J Hepatol 2016;64:399–408; 11. Armstrong MJ et al. Lancet 2016;387:679–90; 12. Muskiet MHA, et al. Nat Rev Nephrol. 2017;13:605–628; 13. </a:t>
            </a:r>
            <a:r>
              <a:rPr lang="en-GB" sz="800" dirty="0">
                <a:solidFill>
                  <a:schemeClr val="accent6"/>
                </a:solidFill>
                <a:latin typeface="Apis For Office" panose="020B0504010101010104" pitchFamily="34" charset="0"/>
                <a:ea typeface="Apis For Office" panose="020B0504010101010104" pitchFamily="34" charset="0"/>
                <a:cs typeface="Apis For Office" panose="020B0504010101010104" pitchFamily="34" charset="0"/>
              </a:rPr>
              <a:t>Sattar N, et al. Lancet Diabetes Endocrinol. 2021;9:653–662.</a:t>
            </a:r>
            <a:endParaRPr lang="en-GB" sz="8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0" name="Rectangle 219">
            <a:extLst>
              <a:ext uri="{FF2B5EF4-FFF2-40B4-BE49-F238E27FC236}">
                <a16:creationId xmlns:a16="http://schemas.microsoft.com/office/drawing/2014/main" id="{B1CC65A3-C9FD-4576-BDEF-BB42804CE53D}"/>
              </a:ext>
            </a:extLst>
          </p:cNvPr>
          <p:cNvSpPr/>
          <p:nvPr/>
        </p:nvSpPr>
        <p:spPr>
          <a:xfrm>
            <a:off x="8436814" y="1828155"/>
            <a:ext cx="3344746" cy="527689"/>
          </a:xfrm>
          <a:prstGeom prst="rect">
            <a:avLst/>
          </a:prstGeom>
          <a:solidFill>
            <a:schemeClr val="accent4"/>
          </a:solidFill>
          <a:ln w="19050" cap="flat">
            <a:solidFill>
              <a:schemeClr val="accent4">
                <a:lumMod val="75000"/>
              </a:schemeClr>
            </a:solidFill>
            <a:prstDash val="solid"/>
            <a:miter lim="800000"/>
            <a:headEnd/>
            <a:tailEnd/>
          </a:ln>
        </p:spPr>
        <p:txBody>
          <a:bodyPr vert="horz" wrap="square" lIns="0" tIns="0" rIns="0" bIns="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1965"/>
                </a:solidFill>
                <a:effectLst/>
                <a:uLnTx/>
                <a:uFillTx/>
                <a:latin typeface="Apis For Office"/>
                <a:ea typeface="+mn-ea"/>
                <a:cs typeface="+mn-cs"/>
              </a:rPr>
              <a:t>Trials of semaglutide</a:t>
            </a:r>
            <a:br>
              <a:rPr kumimoji="0" lang="en-GB" sz="1300" b="0" i="0" u="none" strike="noStrike" kern="1200" cap="none" spc="0" normalizeH="0" baseline="0" noProof="0" dirty="0">
                <a:ln>
                  <a:noFill/>
                </a:ln>
                <a:solidFill>
                  <a:srgbClr val="001965"/>
                </a:solidFill>
                <a:effectLst/>
                <a:uLnTx/>
                <a:uFillTx/>
                <a:latin typeface="Apis For Office"/>
                <a:ea typeface="+mn-ea"/>
                <a:cs typeface="+mn-cs"/>
              </a:rPr>
            </a:br>
            <a:r>
              <a:rPr kumimoji="0" lang="en-GB" sz="1300" b="0" i="0" u="none" strike="noStrike" kern="1200" cap="none" spc="0" normalizeH="0" baseline="0" noProof="0" dirty="0">
                <a:ln>
                  <a:noFill/>
                </a:ln>
                <a:solidFill>
                  <a:srgbClr val="001965"/>
                </a:solidFill>
                <a:effectLst/>
                <a:uLnTx/>
                <a:uFillTx/>
                <a:latin typeface="Apis For Office"/>
                <a:ea typeface="+mn-ea"/>
                <a:cs typeface="+mn-cs"/>
              </a:rPr>
              <a:t>in T2 and obesity indicate:</a:t>
            </a:r>
            <a:r>
              <a:rPr kumimoji="0" lang="en-GB" sz="1300" b="0" i="0" u="none" strike="noStrike" kern="1200" cap="none" spc="0" normalizeH="0" baseline="30000" noProof="0" dirty="0">
                <a:ln>
                  <a:noFill/>
                </a:ln>
                <a:solidFill>
                  <a:srgbClr val="001965"/>
                </a:solidFill>
                <a:effectLst/>
                <a:uLnTx/>
                <a:uFillTx/>
                <a:latin typeface="Apis For Office"/>
                <a:ea typeface="+mn-ea"/>
                <a:cs typeface="+mn-cs"/>
              </a:rPr>
              <a:t>13</a:t>
            </a:r>
            <a:r>
              <a:rPr kumimoji="0" lang="en-GB" sz="1300" b="0" i="0" u="none" strike="noStrike" kern="1200" cap="none" spc="0" normalizeH="0" baseline="0" noProof="0" dirty="0">
                <a:ln>
                  <a:noFill/>
                </a:ln>
                <a:solidFill>
                  <a:srgbClr val="001965"/>
                </a:solidFill>
                <a:effectLst/>
                <a:uLnTx/>
                <a:uFillTx/>
                <a:latin typeface="Apis For Office"/>
                <a:ea typeface="+mn-ea"/>
                <a:cs typeface="+mn-cs"/>
              </a:rPr>
              <a:t> </a:t>
            </a:r>
          </a:p>
        </p:txBody>
      </p:sp>
      <p:sp>
        <p:nvSpPr>
          <p:cNvPr id="221" name="Rectangle 220">
            <a:extLst>
              <a:ext uri="{FF2B5EF4-FFF2-40B4-BE49-F238E27FC236}">
                <a16:creationId xmlns:a16="http://schemas.microsoft.com/office/drawing/2014/main" id="{AC4D669A-DEED-4A8D-9B35-A9C603A54870}"/>
              </a:ext>
            </a:extLst>
          </p:cNvPr>
          <p:cNvSpPr/>
          <p:nvPr/>
        </p:nvSpPr>
        <p:spPr>
          <a:xfrm>
            <a:off x="8436814" y="2355843"/>
            <a:ext cx="3344746" cy="3230259"/>
          </a:xfrm>
          <a:prstGeom prst="rect">
            <a:avLst/>
          </a:prstGeom>
          <a:solidFill>
            <a:schemeClr val="bg1"/>
          </a:solidFill>
          <a:ln w="19050" cap="flat">
            <a:solidFill>
              <a:schemeClr val="accent4">
                <a:lumMod val="75000"/>
              </a:schemeClr>
            </a:solidFill>
            <a:prstDash val="solid"/>
            <a:miter lim="800000"/>
            <a:headEnd/>
            <a:tailEnd/>
          </a:ln>
        </p:spPr>
        <p:txBody>
          <a:bodyPr vert="horz" wrap="square" lIns="0" tIns="0" rIns="0" bIns="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001965"/>
              </a:solidFill>
              <a:effectLst/>
              <a:uLnTx/>
              <a:uFillTx/>
              <a:latin typeface="Apis For Office"/>
              <a:ea typeface="+mn-ea"/>
              <a:cs typeface="+mn-cs"/>
            </a:endParaRPr>
          </a:p>
        </p:txBody>
      </p:sp>
      <p:cxnSp>
        <p:nvCxnSpPr>
          <p:cNvPr id="222" name="Straight Connector 221">
            <a:extLst>
              <a:ext uri="{FF2B5EF4-FFF2-40B4-BE49-F238E27FC236}">
                <a16:creationId xmlns:a16="http://schemas.microsoft.com/office/drawing/2014/main" id="{CC1604D0-6215-4555-BDF4-DE24D3770B70}"/>
              </a:ext>
            </a:extLst>
          </p:cNvPr>
          <p:cNvCxnSpPr>
            <a:cxnSpLocks/>
          </p:cNvCxnSpPr>
          <p:nvPr/>
        </p:nvCxnSpPr>
        <p:spPr>
          <a:xfrm flipV="1">
            <a:off x="8739284" y="2355845"/>
            <a:ext cx="0" cy="2757340"/>
          </a:xfrm>
          <a:prstGeom prst="line">
            <a:avLst/>
          </a:prstGeom>
          <a:noFill/>
          <a:ln w="1905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24" name="Rectangle 223">
            <a:extLst>
              <a:ext uri="{FF2B5EF4-FFF2-40B4-BE49-F238E27FC236}">
                <a16:creationId xmlns:a16="http://schemas.microsoft.com/office/drawing/2014/main" id="{2B3FFBDB-1B9A-4B78-BABB-2CB28A7998C3}"/>
              </a:ext>
            </a:extLst>
          </p:cNvPr>
          <p:cNvSpPr/>
          <p:nvPr/>
        </p:nvSpPr>
        <p:spPr>
          <a:xfrm>
            <a:off x="9030372" y="4656542"/>
            <a:ext cx="2366912" cy="248912"/>
          </a:xfrm>
          <a:prstGeom prst="rect">
            <a:avLst/>
          </a:prstGeom>
        </p:spPr>
        <p:txBody>
          <a:bodyPr wrap="square" lIns="0" tIns="0" rIns="0" bIns="0" anchor="ctr">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 Risk of </a:t>
            </a:r>
            <a:r>
              <a:rPr kumimoji="0" lang="en-GB" sz="1200" b="1"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hospitalisation due to heart failure</a:t>
            </a:r>
          </a:p>
        </p:txBody>
      </p:sp>
      <p:grpSp>
        <p:nvGrpSpPr>
          <p:cNvPr id="230" name="Group 229">
            <a:extLst>
              <a:ext uri="{FF2B5EF4-FFF2-40B4-BE49-F238E27FC236}">
                <a16:creationId xmlns:a16="http://schemas.microsoft.com/office/drawing/2014/main" id="{E24B749D-4965-404B-9F40-FD020E9B1452}"/>
              </a:ext>
            </a:extLst>
          </p:cNvPr>
          <p:cNvGrpSpPr/>
          <p:nvPr/>
        </p:nvGrpSpPr>
        <p:grpSpPr>
          <a:xfrm>
            <a:off x="8559175" y="4600888"/>
            <a:ext cx="360220" cy="360220"/>
            <a:chOff x="7971396" y="2906892"/>
            <a:chExt cx="360220" cy="360220"/>
          </a:xfrm>
        </p:grpSpPr>
        <p:sp>
          <p:nvSpPr>
            <p:cNvPr id="245" name="Oval 244">
              <a:extLst>
                <a:ext uri="{FF2B5EF4-FFF2-40B4-BE49-F238E27FC236}">
                  <a16:creationId xmlns:a16="http://schemas.microsoft.com/office/drawing/2014/main" id="{C961BA10-2818-4F0C-817A-A530385E9A4A}"/>
                </a:ext>
              </a:extLst>
            </p:cNvPr>
            <p:cNvSpPr/>
            <p:nvPr/>
          </p:nvSpPr>
          <p:spPr>
            <a:xfrm>
              <a:off x="7971396" y="2906892"/>
              <a:ext cx="360220" cy="360220"/>
            </a:xfrm>
            <a:prstGeom prst="ellipse">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nvGrpSpPr>
            <p:cNvPr id="246" name="Group 245">
              <a:extLst>
                <a:ext uri="{FF2B5EF4-FFF2-40B4-BE49-F238E27FC236}">
                  <a16:creationId xmlns:a16="http://schemas.microsoft.com/office/drawing/2014/main" id="{789663B8-5E37-4034-AA46-B024A69ADB3C}"/>
                </a:ext>
              </a:extLst>
            </p:cNvPr>
            <p:cNvGrpSpPr/>
            <p:nvPr/>
          </p:nvGrpSpPr>
          <p:grpSpPr>
            <a:xfrm>
              <a:off x="8026876" y="2974679"/>
              <a:ext cx="234399" cy="240778"/>
              <a:chOff x="4171792" y="3770348"/>
              <a:chExt cx="519683" cy="533824"/>
            </a:xfrm>
          </p:grpSpPr>
          <p:sp>
            <p:nvSpPr>
              <p:cNvPr id="247" name="Freeform 22">
                <a:extLst>
                  <a:ext uri="{FF2B5EF4-FFF2-40B4-BE49-F238E27FC236}">
                    <a16:creationId xmlns:a16="http://schemas.microsoft.com/office/drawing/2014/main" id="{617EC042-5E9E-45A1-9A48-88FA70B4AED4}"/>
                  </a:ext>
                </a:extLst>
              </p:cNvPr>
              <p:cNvSpPr>
                <a:spLocks/>
              </p:cNvSpPr>
              <p:nvPr/>
            </p:nvSpPr>
            <p:spPr bwMode="auto">
              <a:xfrm>
                <a:off x="4514712" y="3925900"/>
                <a:ext cx="54797" cy="5303"/>
              </a:xfrm>
              <a:custGeom>
                <a:avLst/>
                <a:gdLst>
                  <a:gd name="T0" fmla="*/ 13 w 13"/>
                  <a:gd name="T1" fmla="*/ 1 h 1"/>
                  <a:gd name="T2" fmla="*/ 0 w 13"/>
                  <a:gd name="T3" fmla="*/ 0 h 1"/>
                </a:gdLst>
                <a:ahLst/>
                <a:cxnLst>
                  <a:cxn ang="0">
                    <a:pos x="T0" y="T1"/>
                  </a:cxn>
                  <a:cxn ang="0">
                    <a:pos x="T2" y="T3"/>
                  </a:cxn>
                </a:cxnLst>
                <a:rect l="0" t="0" r="r" b="b"/>
                <a:pathLst>
                  <a:path w="13" h="1">
                    <a:moveTo>
                      <a:pt x="13" y="1"/>
                    </a:moveTo>
                    <a:cubicBezTo>
                      <a:pt x="9" y="0"/>
                      <a:pt x="4" y="0"/>
                      <a:pt x="0" y="0"/>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48" name="Freeform 23">
                <a:extLst>
                  <a:ext uri="{FF2B5EF4-FFF2-40B4-BE49-F238E27FC236}">
                    <a16:creationId xmlns:a16="http://schemas.microsoft.com/office/drawing/2014/main" id="{CEEE39F8-D276-4C16-B57D-062C02BA871E}"/>
                  </a:ext>
                </a:extLst>
              </p:cNvPr>
              <p:cNvSpPr>
                <a:spLocks/>
              </p:cNvSpPr>
              <p:nvPr/>
            </p:nvSpPr>
            <p:spPr bwMode="auto">
              <a:xfrm>
                <a:off x="4171792" y="3770348"/>
                <a:ext cx="519683" cy="533824"/>
              </a:xfrm>
              <a:custGeom>
                <a:avLst/>
                <a:gdLst>
                  <a:gd name="T0" fmla="*/ 66 w 124"/>
                  <a:gd name="T1" fmla="*/ 78 h 127"/>
                  <a:gd name="T2" fmla="*/ 81 w 124"/>
                  <a:gd name="T3" fmla="*/ 32 h 127"/>
                  <a:gd name="T4" fmla="*/ 81 w 124"/>
                  <a:gd name="T5" fmla="*/ 32 h 127"/>
                  <a:gd name="T6" fmla="*/ 81 w 124"/>
                  <a:gd name="T7" fmla="*/ 32 h 127"/>
                  <a:gd name="T8" fmla="*/ 88 w 124"/>
                  <a:gd name="T9" fmla="*/ 14 h 127"/>
                  <a:gd name="T10" fmla="*/ 93 w 124"/>
                  <a:gd name="T11" fmla="*/ 8 h 127"/>
                  <a:gd name="T12" fmla="*/ 85 w 124"/>
                  <a:gd name="T13" fmla="*/ 0 h 127"/>
                  <a:gd name="T14" fmla="*/ 65 w 124"/>
                  <a:gd name="T15" fmla="*/ 27 h 127"/>
                  <a:gd name="T16" fmla="*/ 65 w 124"/>
                  <a:gd name="T17" fmla="*/ 27 h 127"/>
                  <a:gd name="T18" fmla="*/ 60 w 124"/>
                  <a:gd name="T19" fmla="*/ 35 h 127"/>
                  <a:gd name="T20" fmla="*/ 53 w 124"/>
                  <a:gd name="T21" fmla="*/ 37 h 127"/>
                  <a:gd name="T22" fmla="*/ 53 w 124"/>
                  <a:gd name="T23" fmla="*/ 37 h 127"/>
                  <a:gd name="T24" fmla="*/ 20 w 124"/>
                  <a:gd name="T25" fmla="*/ 45 h 127"/>
                  <a:gd name="T26" fmla="*/ 73 w 124"/>
                  <a:gd name="T27" fmla="*/ 124 h 127"/>
                  <a:gd name="T28" fmla="*/ 101 w 124"/>
                  <a:gd name="T29" fmla="*/ 105 h 127"/>
                  <a:gd name="T30" fmla="*/ 95 w 124"/>
                  <a:gd name="T31" fmla="*/ 3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127">
                    <a:moveTo>
                      <a:pt x="66" y="78"/>
                    </a:moveTo>
                    <a:cubicBezTo>
                      <a:pt x="83" y="62"/>
                      <a:pt x="82" y="40"/>
                      <a:pt x="81" y="32"/>
                    </a:cubicBezTo>
                    <a:cubicBezTo>
                      <a:pt x="81" y="32"/>
                      <a:pt x="81" y="32"/>
                      <a:pt x="81" y="32"/>
                    </a:cubicBezTo>
                    <a:cubicBezTo>
                      <a:pt x="81" y="32"/>
                      <a:pt x="81" y="32"/>
                      <a:pt x="81" y="32"/>
                    </a:cubicBezTo>
                    <a:cubicBezTo>
                      <a:pt x="81" y="25"/>
                      <a:pt x="83" y="18"/>
                      <a:pt x="88" y="14"/>
                    </a:cubicBezTo>
                    <a:cubicBezTo>
                      <a:pt x="93" y="8"/>
                      <a:pt x="93" y="8"/>
                      <a:pt x="93" y="8"/>
                    </a:cubicBezTo>
                    <a:cubicBezTo>
                      <a:pt x="85" y="0"/>
                      <a:pt x="85" y="0"/>
                      <a:pt x="85" y="0"/>
                    </a:cubicBezTo>
                    <a:cubicBezTo>
                      <a:pt x="78" y="7"/>
                      <a:pt x="69" y="19"/>
                      <a:pt x="65" y="27"/>
                    </a:cubicBezTo>
                    <a:cubicBezTo>
                      <a:pt x="65" y="27"/>
                      <a:pt x="65" y="27"/>
                      <a:pt x="65" y="27"/>
                    </a:cubicBezTo>
                    <a:cubicBezTo>
                      <a:pt x="65" y="27"/>
                      <a:pt x="63" y="31"/>
                      <a:pt x="60" y="35"/>
                    </a:cubicBezTo>
                    <a:cubicBezTo>
                      <a:pt x="59" y="38"/>
                      <a:pt x="55" y="38"/>
                      <a:pt x="53" y="37"/>
                    </a:cubicBezTo>
                    <a:cubicBezTo>
                      <a:pt x="53" y="37"/>
                      <a:pt x="53" y="37"/>
                      <a:pt x="53" y="37"/>
                    </a:cubicBezTo>
                    <a:cubicBezTo>
                      <a:pt x="46" y="34"/>
                      <a:pt x="30" y="29"/>
                      <a:pt x="20" y="45"/>
                    </a:cubicBezTo>
                    <a:cubicBezTo>
                      <a:pt x="0" y="79"/>
                      <a:pt x="53" y="122"/>
                      <a:pt x="73" y="124"/>
                    </a:cubicBezTo>
                    <a:cubicBezTo>
                      <a:pt x="94" y="127"/>
                      <a:pt x="101" y="105"/>
                      <a:pt x="101" y="105"/>
                    </a:cubicBezTo>
                    <a:cubicBezTo>
                      <a:pt x="101" y="105"/>
                      <a:pt x="124" y="52"/>
                      <a:pt x="95" y="38"/>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49" name="Freeform 24">
                <a:extLst>
                  <a:ext uri="{FF2B5EF4-FFF2-40B4-BE49-F238E27FC236}">
                    <a16:creationId xmlns:a16="http://schemas.microsoft.com/office/drawing/2014/main" id="{45CA65CE-72CB-4DAA-BD97-34EC25279676}"/>
                  </a:ext>
                </a:extLst>
              </p:cNvPr>
              <p:cNvSpPr>
                <a:spLocks/>
              </p:cNvSpPr>
              <p:nvPr/>
            </p:nvSpPr>
            <p:spPr bwMode="auto">
              <a:xfrm>
                <a:off x="4208912" y="3842821"/>
                <a:ext cx="104291" cy="37121"/>
              </a:xfrm>
              <a:custGeom>
                <a:avLst/>
                <a:gdLst>
                  <a:gd name="T0" fmla="*/ 0 w 25"/>
                  <a:gd name="T1" fmla="*/ 2 h 9"/>
                  <a:gd name="T2" fmla="*/ 18 w 25"/>
                  <a:gd name="T3" fmla="*/ 0 h 9"/>
                  <a:gd name="T4" fmla="*/ 21 w 25"/>
                  <a:gd name="T5" fmla="*/ 1 h 9"/>
                  <a:gd name="T6" fmla="*/ 25 w 25"/>
                  <a:gd name="T7" fmla="*/ 9 h 9"/>
                </a:gdLst>
                <a:ahLst/>
                <a:cxnLst>
                  <a:cxn ang="0">
                    <a:pos x="T0" y="T1"/>
                  </a:cxn>
                  <a:cxn ang="0">
                    <a:pos x="T2" y="T3"/>
                  </a:cxn>
                  <a:cxn ang="0">
                    <a:pos x="T4" y="T5"/>
                  </a:cxn>
                  <a:cxn ang="0">
                    <a:pos x="T6" y="T7"/>
                  </a:cxn>
                </a:cxnLst>
                <a:rect l="0" t="0" r="r" b="b"/>
                <a:pathLst>
                  <a:path w="25" h="9">
                    <a:moveTo>
                      <a:pt x="0" y="2"/>
                    </a:moveTo>
                    <a:cubicBezTo>
                      <a:pt x="18" y="0"/>
                      <a:pt x="18" y="0"/>
                      <a:pt x="18" y="0"/>
                    </a:cubicBezTo>
                    <a:cubicBezTo>
                      <a:pt x="19" y="0"/>
                      <a:pt x="20" y="0"/>
                      <a:pt x="21" y="1"/>
                    </a:cubicBezTo>
                    <a:cubicBezTo>
                      <a:pt x="25" y="9"/>
                      <a:pt x="25" y="9"/>
                      <a:pt x="25" y="9"/>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cxnSp>
            <p:nvCxnSpPr>
              <p:cNvPr id="250" name="Straight Connector 249">
                <a:extLst>
                  <a:ext uri="{FF2B5EF4-FFF2-40B4-BE49-F238E27FC236}">
                    <a16:creationId xmlns:a16="http://schemas.microsoft.com/office/drawing/2014/main" id="{44816771-A6E9-4030-BF15-E0E10565F479}"/>
                  </a:ext>
                </a:extLst>
              </p:cNvPr>
              <p:cNvCxnSpPr/>
              <p:nvPr/>
            </p:nvCxnSpPr>
            <p:spPr>
              <a:xfrm flipH="1" flipV="1">
                <a:off x="4317012" y="3776837"/>
                <a:ext cx="43051" cy="83411"/>
              </a:xfrm>
              <a:prstGeom prst="line">
                <a:avLst/>
              </a:pr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225" name="Rectangle 224">
            <a:extLst>
              <a:ext uri="{FF2B5EF4-FFF2-40B4-BE49-F238E27FC236}">
                <a16:creationId xmlns:a16="http://schemas.microsoft.com/office/drawing/2014/main" id="{A846FC27-F50F-41A9-BDD1-D57C03D2B310}"/>
              </a:ext>
            </a:extLst>
          </p:cNvPr>
          <p:cNvSpPr/>
          <p:nvPr/>
        </p:nvSpPr>
        <p:spPr>
          <a:xfrm>
            <a:off x="9030372" y="4137247"/>
            <a:ext cx="2366912" cy="248912"/>
          </a:xfrm>
          <a:prstGeom prst="rect">
            <a:avLst/>
          </a:prstGeom>
        </p:spPr>
        <p:txBody>
          <a:bodyPr wrap="square" lIns="0" tIns="0" rIns="0" bIns="0" anchor="ctr">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 Risk of </a:t>
            </a:r>
            <a:r>
              <a:rPr kumimoji="0" lang="en-GB" sz="1200" b="1"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death from CV causes</a:t>
            </a:r>
          </a:p>
        </p:txBody>
      </p:sp>
      <p:grpSp>
        <p:nvGrpSpPr>
          <p:cNvPr id="231" name="Group 230">
            <a:extLst>
              <a:ext uri="{FF2B5EF4-FFF2-40B4-BE49-F238E27FC236}">
                <a16:creationId xmlns:a16="http://schemas.microsoft.com/office/drawing/2014/main" id="{44000BD5-6309-4579-AD72-8C3D5C96A2A9}"/>
              </a:ext>
            </a:extLst>
          </p:cNvPr>
          <p:cNvGrpSpPr/>
          <p:nvPr/>
        </p:nvGrpSpPr>
        <p:grpSpPr>
          <a:xfrm>
            <a:off x="8559175" y="4081593"/>
            <a:ext cx="360220" cy="360220"/>
            <a:chOff x="7971396" y="3392178"/>
            <a:chExt cx="360220" cy="360220"/>
          </a:xfrm>
        </p:grpSpPr>
        <p:sp>
          <p:nvSpPr>
            <p:cNvPr id="239" name="Oval 238">
              <a:extLst>
                <a:ext uri="{FF2B5EF4-FFF2-40B4-BE49-F238E27FC236}">
                  <a16:creationId xmlns:a16="http://schemas.microsoft.com/office/drawing/2014/main" id="{3C20D1ED-5505-4463-8349-CDB1C3AE17A0}"/>
                </a:ext>
              </a:extLst>
            </p:cNvPr>
            <p:cNvSpPr/>
            <p:nvPr/>
          </p:nvSpPr>
          <p:spPr>
            <a:xfrm>
              <a:off x="7971396" y="3392178"/>
              <a:ext cx="360220" cy="360220"/>
            </a:xfrm>
            <a:prstGeom prst="ellipse">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nvGrpSpPr>
            <p:cNvPr id="240" name="Group 239">
              <a:extLst>
                <a:ext uri="{FF2B5EF4-FFF2-40B4-BE49-F238E27FC236}">
                  <a16:creationId xmlns:a16="http://schemas.microsoft.com/office/drawing/2014/main" id="{8E40EE27-4094-4B0F-B08D-9A90BDD15FAA}"/>
                </a:ext>
              </a:extLst>
            </p:cNvPr>
            <p:cNvGrpSpPr/>
            <p:nvPr/>
          </p:nvGrpSpPr>
          <p:grpSpPr>
            <a:xfrm>
              <a:off x="8026876" y="3458423"/>
              <a:ext cx="234399" cy="240778"/>
              <a:chOff x="4171792" y="3770348"/>
              <a:chExt cx="519683" cy="533824"/>
            </a:xfrm>
          </p:grpSpPr>
          <p:sp>
            <p:nvSpPr>
              <p:cNvPr id="241" name="Freeform 22">
                <a:extLst>
                  <a:ext uri="{FF2B5EF4-FFF2-40B4-BE49-F238E27FC236}">
                    <a16:creationId xmlns:a16="http://schemas.microsoft.com/office/drawing/2014/main" id="{CC469B12-0466-48BE-91C0-96A9D72F240B}"/>
                  </a:ext>
                </a:extLst>
              </p:cNvPr>
              <p:cNvSpPr>
                <a:spLocks/>
              </p:cNvSpPr>
              <p:nvPr/>
            </p:nvSpPr>
            <p:spPr bwMode="auto">
              <a:xfrm>
                <a:off x="4514712" y="3925900"/>
                <a:ext cx="54797" cy="5303"/>
              </a:xfrm>
              <a:custGeom>
                <a:avLst/>
                <a:gdLst>
                  <a:gd name="T0" fmla="*/ 13 w 13"/>
                  <a:gd name="T1" fmla="*/ 1 h 1"/>
                  <a:gd name="T2" fmla="*/ 0 w 13"/>
                  <a:gd name="T3" fmla="*/ 0 h 1"/>
                </a:gdLst>
                <a:ahLst/>
                <a:cxnLst>
                  <a:cxn ang="0">
                    <a:pos x="T0" y="T1"/>
                  </a:cxn>
                  <a:cxn ang="0">
                    <a:pos x="T2" y="T3"/>
                  </a:cxn>
                </a:cxnLst>
                <a:rect l="0" t="0" r="r" b="b"/>
                <a:pathLst>
                  <a:path w="13" h="1">
                    <a:moveTo>
                      <a:pt x="13" y="1"/>
                    </a:moveTo>
                    <a:cubicBezTo>
                      <a:pt x="9" y="0"/>
                      <a:pt x="4" y="0"/>
                      <a:pt x="0" y="0"/>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42" name="Freeform 23">
                <a:extLst>
                  <a:ext uri="{FF2B5EF4-FFF2-40B4-BE49-F238E27FC236}">
                    <a16:creationId xmlns:a16="http://schemas.microsoft.com/office/drawing/2014/main" id="{51E36F36-7CF7-47DE-BC64-1F809C78DFF5}"/>
                  </a:ext>
                </a:extLst>
              </p:cNvPr>
              <p:cNvSpPr>
                <a:spLocks/>
              </p:cNvSpPr>
              <p:nvPr/>
            </p:nvSpPr>
            <p:spPr bwMode="auto">
              <a:xfrm>
                <a:off x="4171792" y="3770348"/>
                <a:ext cx="519683" cy="533824"/>
              </a:xfrm>
              <a:custGeom>
                <a:avLst/>
                <a:gdLst>
                  <a:gd name="T0" fmla="*/ 66 w 124"/>
                  <a:gd name="T1" fmla="*/ 78 h 127"/>
                  <a:gd name="T2" fmla="*/ 81 w 124"/>
                  <a:gd name="T3" fmla="*/ 32 h 127"/>
                  <a:gd name="T4" fmla="*/ 81 w 124"/>
                  <a:gd name="T5" fmla="*/ 32 h 127"/>
                  <a:gd name="T6" fmla="*/ 81 w 124"/>
                  <a:gd name="T7" fmla="*/ 32 h 127"/>
                  <a:gd name="T8" fmla="*/ 88 w 124"/>
                  <a:gd name="T9" fmla="*/ 14 h 127"/>
                  <a:gd name="T10" fmla="*/ 93 w 124"/>
                  <a:gd name="T11" fmla="*/ 8 h 127"/>
                  <a:gd name="T12" fmla="*/ 85 w 124"/>
                  <a:gd name="T13" fmla="*/ 0 h 127"/>
                  <a:gd name="T14" fmla="*/ 65 w 124"/>
                  <a:gd name="T15" fmla="*/ 27 h 127"/>
                  <a:gd name="T16" fmla="*/ 65 w 124"/>
                  <a:gd name="T17" fmla="*/ 27 h 127"/>
                  <a:gd name="T18" fmla="*/ 60 w 124"/>
                  <a:gd name="T19" fmla="*/ 35 h 127"/>
                  <a:gd name="T20" fmla="*/ 53 w 124"/>
                  <a:gd name="T21" fmla="*/ 37 h 127"/>
                  <a:gd name="T22" fmla="*/ 53 w 124"/>
                  <a:gd name="T23" fmla="*/ 37 h 127"/>
                  <a:gd name="T24" fmla="*/ 20 w 124"/>
                  <a:gd name="T25" fmla="*/ 45 h 127"/>
                  <a:gd name="T26" fmla="*/ 73 w 124"/>
                  <a:gd name="T27" fmla="*/ 124 h 127"/>
                  <a:gd name="T28" fmla="*/ 101 w 124"/>
                  <a:gd name="T29" fmla="*/ 105 h 127"/>
                  <a:gd name="T30" fmla="*/ 95 w 124"/>
                  <a:gd name="T31" fmla="*/ 3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127">
                    <a:moveTo>
                      <a:pt x="66" y="78"/>
                    </a:moveTo>
                    <a:cubicBezTo>
                      <a:pt x="83" y="62"/>
                      <a:pt x="82" y="40"/>
                      <a:pt x="81" y="32"/>
                    </a:cubicBezTo>
                    <a:cubicBezTo>
                      <a:pt x="81" y="32"/>
                      <a:pt x="81" y="32"/>
                      <a:pt x="81" y="32"/>
                    </a:cubicBezTo>
                    <a:cubicBezTo>
                      <a:pt x="81" y="32"/>
                      <a:pt x="81" y="32"/>
                      <a:pt x="81" y="32"/>
                    </a:cubicBezTo>
                    <a:cubicBezTo>
                      <a:pt x="81" y="25"/>
                      <a:pt x="83" y="18"/>
                      <a:pt x="88" y="14"/>
                    </a:cubicBezTo>
                    <a:cubicBezTo>
                      <a:pt x="93" y="8"/>
                      <a:pt x="93" y="8"/>
                      <a:pt x="93" y="8"/>
                    </a:cubicBezTo>
                    <a:cubicBezTo>
                      <a:pt x="85" y="0"/>
                      <a:pt x="85" y="0"/>
                      <a:pt x="85" y="0"/>
                    </a:cubicBezTo>
                    <a:cubicBezTo>
                      <a:pt x="78" y="7"/>
                      <a:pt x="69" y="19"/>
                      <a:pt x="65" y="27"/>
                    </a:cubicBezTo>
                    <a:cubicBezTo>
                      <a:pt x="65" y="27"/>
                      <a:pt x="65" y="27"/>
                      <a:pt x="65" y="27"/>
                    </a:cubicBezTo>
                    <a:cubicBezTo>
                      <a:pt x="65" y="27"/>
                      <a:pt x="63" y="31"/>
                      <a:pt x="60" y="35"/>
                    </a:cubicBezTo>
                    <a:cubicBezTo>
                      <a:pt x="59" y="38"/>
                      <a:pt x="55" y="38"/>
                      <a:pt x="53" y="37"/>
                    </a:cubicBezTo>
                    <a:cubicBezTo>
                      <a:pt x="53" y="37"/>
                      <a:pt x="53" y="37"/>
                      <a:pt x="53" y="37"/>
                    </a:cubicBezTo>
                    <a:cubicBezTo>
                      <a:pt x="46" y="34"/>
                      <a:pt x="30" y="29"/>
                      <a:pt x="20" y="45"/>
                    </a:cubicBezTo>
                    <a:cubicBezTo>
                      <a:pt x="0" y="79"/>
                      <a:pt x="53" y="122"/>
                      <a:pt x="73" y="124"/>
                    </a:cubicBezTo>
                    <a:cubicBezTo>
                      <a:pt x="94" y="127"/>
                      <a:pt x="101" y="105"/>
                      <a:pt x="101" y="105"/>
                    </a:cubicBezTo>
                    <a:cubicBezTo>
                      <a:pt x="101" y="105"/>
                      <a:pt x="124" y="52"/>
                      <a:pt x="95" y="38"/>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43" name="Freeform 24">
                <a:extLst>
                  <a:ext uri="{FF2B5EF4-FFF2-40B4-BE49-F238E27FC236}">
                    <a16:creationId xmlns:a16="http://schemas.microsoft.com/office/drawing/2014/main" id="{90334F86-2508-439B-B19F-0507EA4D16DE}"/>
                  </a:ext>
                </a:extLst>
              </p:cNvPr>
              <p:cNvSpPr>
                <a:spLocks/>
              </p:cNvSpPr>
              <p:nvPr/>
            </p:nvSpPr>
            <p:spPr bwMode="auto">
              <a:xfrm>
                <a:off x="4208912" y="3842821"/>
                <a:ext cx="104291" cy="37121"/>
              </a:xfrm>
              <a:custGeom>
                <a:avLst/>
                <a:gdLst>
                  <a:gd name="T0" fmla="*/ 0 w 25"/>
                  <a:gd name="T1" fmla="*/ 2 h 9"/>
                  <a:gd name="T2" fmla="*/ 18 w 25"/>
                  <a:gd name="T3" fmla="*/ 0 h 9"/>
                  <a:gd name="T4" fmla="*/ 21 w 25"/>
                  <a:gd name="T5" fmla="*/ 1 h 9"/>
                  <a:gd name="T6" fmla="*/ 25 w 25"/>
                  <a:gd name="T7" fmla="*/ 9 h 9"/>
                </a:gdLst>
                <a:ahLst/>
                <a:cxnLst>
                  <a:cxn ang="0">
                    <a:pos x="T0" y="T1"/>
                  </a:cxn>
                  <a:cxn ang="0">
                    <a:pos x="T2" y="T3"/>
                  </a:cxn>
                  <a:cxn ang="0">
                    <a:pos x="T4" y="T5"/>
                  </a:cxn>
                  <a:cxn ang="0">
                    <a:pos x="T6" y="T7"/>
                  </a:cxn>
                </a:cxnLst>
                <a:rect l="0" t="0" r="r" b="b"/>
                <a:pathLst>
                  <a:path w="25" h="9">
                    <a:moveTo>
                      <a:pt x="0" y="2"/>
                    </a:moveTo>
                    <a:cubicBezTo>
                      <a:pt x="18" y="0"/>
                      <a:pt x="18" y="0"/>
                      <a:pt x="18" y="0"/>
                    </a:cubicBezTo>
                    <a:cubicBezTo>
                      <a:pt x="19" y="0"/>
                      <a:pt x="20" y="0"/>
                      <a:pt x="21" y="1"/>
                    </a:cubicBezTo>
                    <a:cubicBezTo>
                      <a:pt x="25" y="9"/>
                      <a:pt x="25" y="9"/>
                      <a:pt x="25" y="9"/>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cxnSp>
            <p:nvCxnSpPr>
              <p:cNvPr id="244" name="Straight Connector 243">
                <a:extLst>
                  <a:ext uri="{FF2B5EF4-FFF2-40B4-BE49-F238E27FC236}">
                    <a16:creationId xmlns:a16="http://schemas.microsoft.com/office/drawing/2014/main" id="{85CAEADC-AE34-4626-8E3B-1FF71FEFAA8D}"/>
                  </a:ext>
                </a:extLst>
              </p:cNvPr>
              <p:cNvCxnSpPr/>
              <p:nvPr/>
            </p:nvCxnSpPr>
            <p:spPr>
              <a:xfrm flipH="1" flipV="1">
                <a:off x="4317012" y="3776837"/>
                <a:ext cx="43051" cy="83411"/>
              </a:xfrm>
              <a:prstGeom prst="line">
                <a:avLst/>
              </a:pr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227" name="Rectangle 226">
            <a:extLst>
              <a:ext uri="{FF2B5EF4-FFF2-40B4-BE49-F238E27FC236}">
                <a16:creationId xmlns:a16="http://schemas.microsoft.com/office/drawing/2014/main" id="{AEFA5FC4-A8AE-486F-BCEA-E7B732436FB4}"/>
              </a:ext>
            </a:extLst>
          </p:cNvPr>
          <p:cNvSpPr/>
          <p:nvPr/>
        </p:nvSpPr>
        <p:spPr>
          <a:xfrm>
            <a:off x="9030372" y="3617952"/>
            <a:ext cx="2366912" cy="248912"/>
          </a:xfrm>
          <a:prstGeom prst="rect">
            <a:avLst/>
          </a:prstGeom>
        </p:spPr>
        <p:txBody>
          <a:bodyPr wrap="square" lIns="0" tIns="0" rIns="0" bIns="0" anchor="ctr">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 Risk of </a:t>
            </a:r>
            <a:r>
              <a:rPr kumimoji="0" lang="en-GB" sz="1200" b="1"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stroke</a:t>
            </a:r>
          </a:p>
        </p:txBody>
      </p:sp>
      <p:grpSp>
        <p:nvGrpSpPr>
          <p:cNvPr id="229" name="Group 228">
            <a:extLst>
              <a:ext uri="{FF2B5EF4-FFF2-40B4-BE49-F238E27FC236}">
                <a16:creationId xmlns:a16="http://schemas.microsoft.com/office/drawing/2014/main" id="{9CA3BC8E-0712-4C2C-B8DF-71833633E551}"/>
              </a:ext>
            </a:extLst>
          </p:cNvPr>
          <p:cNvGrpSpPr/>
          <p:nvPr/>
        </p:nvGrpSpPr>
        <p:grpSpPr>
          <a:xfrm>
            <a:off x="8559175" y="3562298"/>
            <a:ext cx="360220" cy="360220"/>
            <a:chOff x="7971396" y="4362752"/>
            <a:chExt cx="360220" cy="360220"/>
          </a:xfrm>
        </p:grpSpPr>
        <p:sp>
          <p:nvSpPr>
            <p:cNvPr id="251" name="Oval 250">
              <a:extLst>
                <a:ext uri="{FF2B5EF4-FFF2-40B4-BE49-F238E27FC236}">
                  <a16:creationId xmlns:a16="http://schemas.microsoft.com/office/drawing/2014/main" id="{E10622D8-51E3-465E-BD37-EE44EED5059C}"/>
                </a:ext>
              </a:extLst>
            </p:cNvPr>
            <p:cNvSpPr/>
            <p:nvPr/>
          </p:nvSpPr>
          <p:spPr>
            <a:xfrm>
              <a:off x="7971396" y="4362752"/>
              <a:ext cx="360220" cy="360220"/>
            </a:xfrm>
            <a:prstGeom prst="ellipse">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nvGrpSpPr>
            <p:cNvPr id="252" name="Group 251">
              <a:extLst>
                <a:ext uri="{FF2B5EF4-FFF2-40B4-BE49-F238E27FC236}">
                  <a16:creationId xmlns:a16="http://schemas.microsoft.com/office/drawing/2014/main" id="{2709FD03-8EB4-4A87-8881-F81D5F0CE92B}"/>
                </a:ext>
              </a:extLst>
            </p:cNvPr>
            <p:cNvGrpSpPr/>
            <p:nvPr/>
          </p:nvGrpSpPr>
          <p:grpSpPr>
            <a:xfrm>
              <a:off x="8015446" y="4429792"/>
              <a:ext cx="272118" cy="228850"/>
              <a:chOff x="12192000" y="4573246"/>
              <a:chExt cx="408785" cy="343788"/>
            </a:xfrm>
          </p:grpSpPr>
          <p:sp>
            <p:nvSpPr>
              <p:cNvPr id="253" name="Freeform: Shape 252">
                <a:extLst>
                  <a:ext uri="{FF2B5EF4-FFF2-40B4-BE49-F238E27FC236}">
                    <a16:creationId xmlns:a16="http://schemas.microsoft.com/office/drawing/2014/main" id="{59FE1C9B-5C5E-4C10-95A1-713A7EF6BB45}"/>
                  </a:ext>
                </a:extLst>
              </p:cNvPr>
              <p:cNvSpPr/>
              <p:nvPr/>
            </p:nvSpPr>
            <p:spPr>
              <a:xfrm>
                <a:off x="12192000" y="4573246"/>
                <a:ext cx="408785" cy="343788"/>
              </a:xfrm>
              <a:custGeom>
                <a:avLst/>
                <a:gdLst>
                  <a:gd name="connsiteX0" fmla="*/ 171197 w 314719"/>
                  <a:gd name="connsiteY0" fmla="*/ 4473 h 264679"/>
                  <a:gd name="connsiteX1" fmla="*/ 121857 w 314719"/>
                  <a:gd name="connsiteY1" fmla="*/ 10951 h 264679"/>
                  <a:gd name="connsiteX2" fmla="*/ 108808 w 314719"/>
                  <a:gd name="connsiteY2" fmla="*/ 15237 h 264679"/>
                  <a:gd name="connsiteX3" fmla="*/ 43181 w 314719"/>
                  <a:gd name="connsiteY3" fmla="*/ 35525 h 264679"/>
                  <a:gd name="connsiteX4" fmla="*/ 4414 w 314719"/>
                  <a:gd name="connsiteY4" fmla="*/ 94009 h 264679"/>
                  <a:gd name="connsiteX5" fmla="*/ 22988 w 314719"/>
                  <a:gd name="connsiteY5" fmla="*/ 184496 h 264679"/>
                  <a:gd name="connsiteX6" fmla="*/ 64136 w 314719"/>
                  <a:gd name="connsiteY6" fmla="*/ 202022 h 264679"/>
                  <a:gd name="connsiteX7" fmla="*/ 77090 w 314719"/>
                  <a:gd name="connsiteY7" fmla="*/ 202022 h 264679"/>
                  <a:gd name="connsiteX8" fmla="*/ 86615 w 314719"/>
                  <a:gd name="connsiteY8" fmla="*/ 214976 h 264679"/>
                  <a:gd name="connsiteX9" fmla="*/ 79566 w 314719"/>
                  <a:gd name="connsiteY9" fmla="*/ 256124 h 264679"/>
                  <a:gd name="connsiteX10" fmla="*/ 86329 w 314719"/>
                  <a:gd name="connsiteY10" fmla="*/ 264411 h 264679"/>
                  <a:gd name="connsiteX11" fmla="*/ 108999 w 314719"/>
                  <a:gd name="connsiteY11" fmla="*/ 252600 h 264679"/>
                  <a:gd name="connsiteX12" fmla="*/ 129763 w 314719"/>
                  <a:gd name="connsiteY12" fmla="*/ 212499 h 264679"/>
                  <a:gd name="connsiteX13" fmla="*/ 144117 w 314719"/>
                  <a:gd name="connsiteY13" fmla="*/ 204784 h 264679"/>
                  <a:gd name="connsiteX14" fmla="*/ 145194 w 314719"/>
                  <a:gd name="connsiteY14" fmla="*/ 205165 h 264679"/>
                  <a:gd name="connsiteX15" fmla="*/ 174436 w 314719"/>
                  <a:gd name="connsiteY15" fmla="*/ 201641 h 264679"/>
                  <a:gd name="connsiteX16" fmla="*/ 183961 w 314719"/>
                  <a:gd name="connsiteY16" fmla="*/ 190020 h 264679"/>
                  <a:gd name="connsiteX17" fmla="*/ 194343 w 314719"/>
                  <a:gd name="connsiteY17" fmla="*/ 179352 h 264679"/>
                  <a:gd name="connsiteX18" fmla="*/ 254636 w 314719"/>
                  <a:gd name="connsiteY18" fmla="*/ 185544 h 264679"/>
                  <a:gd name="connsiteX19" fmla="*/ 313977 w 314719"/>
                  <a:gd name="connsiteY19" fmla="*/ 135061 h 264679"/>
                  <a:gd name="connsiteX20" fmla="*/ 285402 w 314719"/>
                  <a:gd name="connsiteY20" fmla="*/ 77911 h 264679"/>
                  <a:gd name="connsiteX21" fmla="*/ 269686 w 314719"/>
                  <a:gd name="connsiteY21" fmla="*/ 56670 h 264679"/>
                  <a:gd name="connsiteX22" fmla="*/ 224442 w 314719"/>
                  <a:gd name="connsiteY22" fmla="*/ 20666 h 264679"/>
                  <a:gd name="connsiteX23" fmla="*/ 188152 w 314719"/>
                  <a:gd name="connsiteY23" fmla="*/ 8284 h 264679"/>
                  <a:gd name="connsiteX24" fmla="*/ 182151 w 314719"/>
                  <a:gd name="connsiteY24" fmla="*/ 4854 h 26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19" h="264679">
                    <a:moveTo>
                      <a:pt x="171197" y="4473"/>
                    </a:moveTo>
                    <a:cubicBezTo>
                      <a:pt x="152909" y="-6195"/>
                      <a:pt x="137288" y="3426"/>
                      <a:pt x="121857" y="10951"/>
                    </a:cubicBezTo>
                    <a:cubicBezTo>
                      <a:pt x="118029" y="13636"/>
                      <a:pt x="113485" y="15122"/>
                      <a:pt x="108808" y="15237"/>
                    </a:cubicBezTo>
                    <a:cubicBezTo>
                      <a:pt x="85110" y="13027"/>
                      <a:pt x="61497" y="20323"/>
                      <a:pt x="43181" y="35525"/>
                    </a:cubicBezTo>
                    <a:cubicBezTo>
                      <a:pt x="24102" y="50155"/>
                      <a:pt x="10453" y="70739"/>
                      <a:pt x="4414" y="94009"/>
                    </a:cubicBezTo>
                    <a:cubicBezTo>
                      <a:pt x="-5111" y="127060"/>
                      <a:pt x="-1587" y="158112"/>
                      <a:pt x="22988" y="184496"/>
                    </a:cubicBezTo>
                    <a:cubicBezTo>
                      <a:pt x="33799" y="195621"/>
                      <a:pt x="48620" y="201936"/>
                      <a:pt x="64136" y="202022"/>
                    </a:cubicBezTo>
                    <a:cubicBezTo>
                      <a:pt x="68422" y="202022"/>
                      <a:pt x="72804" y="202022"/>
                      <a:pt x="77090" y="202022"/>
                    </a:cubicBezTo>
                    <a:cubicBezTo>
                      <a:pt x="85186" y="202498"/>
                      <a:pt x="88996" y="205451"/>
                      <a:pt x="86615" y="214976"/>
                    </a:cubicBezTo>
                    <a:cubicBezTo>
                      <a:pt x="83281" y="228406"/>
                      <a:pt x="83757" y="242598"/>
                      <a:pt x="79566" y="256124"/>
                    </a:cubicBezTo>
                    <a:cubicBezTo>
                      <a:pt x="78423" y="259839"/>
                      <a:pt x="80043" y="264125"/>
                      <a:pt x="86329" y="264411"/>
                    </a:cubicBezTo>
                    <a:cubicBezTo>
                      <a:pt x="96426" y="264411"/>
                      <a:pt x="104331" y="264411"/>
                      <a:pt x="108999" y="252600"/>
                    </a:cubicBezTo>
                    <a:cubicBezTo>
                      <a:pt x="114714" y="238788"/>
                      <a:pt x="122905" y="225930"/>
                      <a:pt x="129763" y="212499"/>
                    </a:cubicBezTo>
                    <a:cubicBezTo>
                      <a:pt x="131602" y="206403"/>
                      <a:pt x="138022" y="202946"/>
                      <a:pt x="144117" y="204784"/>
                    </a:cubicBezTo>
                    <a:cubicBezTo>
                      <a:pt x="144489" y="204889"/>
                      <a:pt x="144841" y="205022"/>
                      <a:pt x="145194" y="205165"/>
                    </a:cubicBezTo>
                    <a:cubicBezTo>
                      <a:pt x="154719" y="207927"/>
                      <a:pt x="164244" y="202117"/>
                      <a:pt x="174436" y="201641"/>
                    </a:cubicBezTo>
                    <a:cubicBezTo>
                      <a:pt x="180150" y="201641"/>
                      <a:pt x="179960" y="193640"/>
                      <a:pt x="183961" y="190020"/>
                    </a:cubicBezTo>
                    <a:cubicBezTo>
                      <a:pt x="187228" y="186277"/>
                      <a:pt x="190695" y="182715"/>
                      <a:pt x="194343" y="179352"/>
                    </a:cubicBezTo>
                    <a:cubicBezTo>
                      <a:pt x="213897" y="185048"/>
                      <a:pt x="234329" y="187144"/>
                      <a:pt x="254636" y="185544"/>
                    </a:cubicBezTo>
                    <a:cubicBezTo>
                      <a:pt x="284735" y="181353"/>
                      <a:pt x="311024" y="165351"/>
                      <a:pt x="313977" y="135061"/>
                    </a:cubicBezTo>
                    <a:cubicBezTo>
                      <a:pt x="316187" y="112115"/>
                      <a:pt x="305090" y="89913"/>
                      <a:pt x="285402" y="77911"/>
                    </a:cubicBezTo>
                    <a:cubicBezTo>
                      <a:pt x="277467" y="73292"/>
                      <a:pt x="271781" y="65605"/>
                      <a:pt x="269686" y="56670"/>
                    </a:cubicBezTo>
                    <a:cubicBezTo>
                      <a:pt x="264752" y="35649"/>
                      <a:pt x="246035" y="20752"/>
                      <a:pt x="224442" y="20666"/>
                    </a:cubicBezTo>
                    <a:cubicBezTo>
                      <a:pt x="211221" y="21257"/>
                      <a:pt x="198257" y="16837"/>
                      <a:pt x="188152" y="8284"/>
                    </a:cubicBezTo>
                    <a:cubicBezTo>
                      <a:pt x="186246" y="6474"/>
                      <a:pt x="183770" y="6664"/>
                      <a:pt x="182151" y="4854"/>
                    </a:cubicBezTo>
                    <a:close/>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54" name="Freeform: Shape 253">
                <a:extLst>
                  <a:ext uri="{FF2B5EF4-FFF2-40B4-BE49-F238E27FC236}">
                    <a16:creationId xmlns:a16="http://schemas.microsoft.com/office/drawing/2014/main" id="{22FA8CF9-FA4A-4FD6-A968-8FFEF0E333C0}"/>
                  </a:ext>
                </a:extLst>
              </p:cNvPr>
              <p:cNvSpPr/>
              <p:nvPr/>
            </p:nvSpPr>
            <p:spPr>
              <a:xfrm>
                <a:off x="12451342" y="4701764"/>
                <a:ext cx="81283" cy="70271"/>
              </a:xfrm>
              <a:custGeom>
                <a:avLst/>
                <a:gdLst>
                  <a:gd name="connsiteX0" fmla="*/ -465 w 62579"/>
                  <a:gd name="connsiteY0" fmla="*/ -269 h 54101"/>
                  <a:gd name="connsiteX1" fmla="*/ 43064 w 62579"/>
                  <a:gd name="connsiteY1" fmla="*/ 38307 h 54101"/>
                  <a:gd name="connsiteX2" fmla="*/ 62114 w 62579"/>
                  <a:gd name="connsiteY2" fmla="*/ 53833 h 54101"/>
                </a:gdLst>
                <a:ahLst/>
                <a:cxnLst>
                  <a:cxn ang="0">
                    <a:pos x="connsiteX0" y="connsiteY0"/>
                  </a:cxn>
                  <a:cxn ang="0">
                    <a:pos x="connsiteX1" y="connsiteY1"/>
                  </a:cxn>
                  <a:cxn ang="0">
                    <a:pos x="connsiteX2" y="connsiteY2"/>
                  </a:cxn>
                </a:cxnLst>
                <a:rect l="l" t="t" r="r" b="b"/>
                <a:pathLst>
                  <a:path w="62579" h="54101">
                    <a:moveTo>
                      <a:pt x="-465" y="-269"/>
                    </a:moveTo>
                    <a:cubicBezTo>
                      <a:pt x="3822" y="31735"/>
                      <a:pt x="9060" y="36879"/>
                      <a:pt x="43064" y="38307"/>
                    </a:cubicBezTo>
                    <a:cubicBezTo>
                      <a:pt x="54018" y="38784"/>
                      <a:pt x="56876" y="47070"/>
                      <a:pt x="62114" y="53833"/>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55" name="Freeform: Shape 254">
                <a:extLst>
                  <a:ext uri="{FF2B5EF4-FFF2-40B4-BE49-F238E27FC236}">
                    <a16:creationId xmlns:a16="http://schemas.microsoft.com/office/drawing/2014/main" id="{E9B24F8C-B322-4507-B5BB-E0FFCE2FB38C}"/>
                  </a:ext>
                </a:extLst>
              </p:cNvPr>
              <p:cNvSpPr/>
              <p:nvPr/>
            </p:nvSpPr>
            <p:spPr>
              <a:xfrm>
                <a:off x="12262053" y="4683452"/>
                <a:ext cx="45775" cy="38229"/>
              </a:xfrm>
              <a:custGeom>
                <a:avLst/>
                <a:gdLst>
                  <a:gd name="connsiteX0" fmla="*/ -465 w 35242"/>
                  <a:gd name="connsiteY0" fmla="*/ -269 h 29432"/>
                  <a:gd name="connsiteX1" fmla="*/ 23062 w 35242"/>
                  <a:gd name="connsiteY1" fmla="*/ 25639 h 29432"/>
                  <a:gd name="connsiteX2" fmla="*/ 34778 w 35242"/>
                  <a:gd name="connsiteY2" fmla="*/ 29163 h 29432"/>
                </a:gdLst>
                <a:ahLst/>
                <a:cxnLst>
                  <a:cxn ang="0">
                    <a:pos x="connsiteX0" y="connsiteY0"/>
                  </a:cxn>
                  <a:cxn ang="0">
                    <a:pos x="connsiteX1" y="connsiteY1"/>
                  </a:cxn>
                  <a:cxn ang="0">
                    <a:pos x="connsiteX2" y="connsiteY2"/>
                  </a:cxn>
                </a:cxnLst>
                <a:rect l="l" t="t" r="r" b="b"/>
                <a:pathLst>
                  <a:path w="35242" h="29432">
                    <a:moveTo>
                      <a:pt x="-465" y="-269"/>
                    </a:moveTo>
                    <a:cubicBezTo>
                      <a:pt x="202" y="13828"/>
                      <a:pt x="7441" y="21734"/>
                      <a:pt x="23062" y="25639"/>
                    </a:cubicBezTo>
                    <a:cubicBezTo>
                      <a:pt x="26967" y="26592"/>
                      <a:pt x="31444" y="26116"/>
                      <a:pt x="34778" y="29163"/>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56" name="Freeform: Shape 255">
                <a:extLst>
                  <a:ext uri="{FF2B5EF4-FFF2-40B4-BE49-F238E27FC236}">
                    <a16:creationId xmlns:a16="http://schemas.microsoft.com/office/drawing/2014/main" id="{E76DA8FD-76F4-491C-9856-1DA5A7F94710}"/>
                  </a:ext>
                </a:extLst>
              </p:cNvPr>
              <p:cNvSpPr/>
              <p:nvPr/>
            </p:nvSpPr>
            <p:spPr>
              <a:xfrm>
                <a:off x="12305794" y="4643863"/>
                <a:ext cx="61967" cy="146482"/>
              </a:xfrm>
              <a:custGeom>
                <a:avLst/>
                <a:gdLst>
                  <a:gd name="connsiteX0" fmla="*/ 32534 w 47708"/>
                  <a:gd name="connsiteY0" fmla="*/ -269 h 112775"/>
                  <a:gd name="connsiteX1" fmla="*/ 46726 w 47708"/>
                  <a:gd name="connsiteY1" fmla="*/ 34307 h 112775"/>
                  <a:gd name="connsiteX2" fmla="*/ 26724 w 47708"/>
                  <a:gd name="connsiteY2" fmla="*/ 41260 h 112775"/>
                  <a:gd name="connsiteX3" fmla="*/ 1578 w 47708"/>
                  <a:gd name="connsiteY3" fmla="*/ 60977 h 112775"/>
                  <a:gd name="connsiteX4" fmla="*/ 9007 w 47708"/>
                  <a:gd name="connsiteY4" fmla="*/ 96124 h 112775"/>
                  <a:gd name="connsiteX5" fmla="*/ 24342 w 47708"/>
                  <a:gd name="connsiteY5" fmla="*/ 112507 h 11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08" h="112775">
                    <a:moveTo>
                      <a:pt x="32534" y="-269"/>
                    </a:moveTo>
                    <a:cubicBezTo>
                      <a:pt x="46821" y="7065"/>
                      <a:pt x="48345" y="19733"/>
                      <a:pt x="46726" y="34307"/>
                    </a:cubicBezTo>
                    <a:cubicBezTo>
                      <a:pt x="40468" y="37679"/>
                      <a:pt x="33715" y="40022"/>
                      <a:pt x="26724" y="41260"/>
                    </a:cubicBezTo>
                    <a:cubicBezTo>
                      <a:pt x="15303" y="42584"/>
                      <a:pt x="5588" y="50194"/>
                      <a:pt x="1578" y="60977"/>
                    </a:cubicBezTo>
                    <a:cubicBezTo>
                      <a:pt x="-2842" y="73150"/>
                      <a:pt x="35" y="86780"/>
                      <a:pt x="9007" y="96124"/>
                    </a:cubicBezTo>
                    <a:cubicBezTo>
                      <a:pt x="14436" y="101172"/>
                      <a:pt x="19199" y="106982"/>
                      <a:pt x="24342" y="112507"/>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57" name="Freeform: Shape 256">
                <a:extLst>
                  <a:ext uri="{FF2B5EF4-FFF2-40B4-BE49-F238E27FC236}">
                    <a16:creationId xmlns:a16="http://schemas.microsoft.com/office/drawing/2014/main" id="{873EC290-B506-4BBC-9C22-026AFD3483EE}"/>
                  </a:ext>
                </a:extLst>
              </p:cNvPr>
              <p:cNvSpPr/>
              <p:nvPr/>
            </p:nvSpPr>
            <p:spPr>
              <a:xfrm>
                <a:off x="12367462" y="4691123"/>
                <a:ext cx="22860" cy="62601"/>
              </a:xfrm>
              <a:custGeom>
                <a:avLst/>
                <a:gdLst>
                  <a:gd name="connsiteX0" fmla="*/ -465 w 17600"/>
                  <a:gd name="connsiteY0" fmla="*/ -269 h 48196"/>
                  <a:gd name="connsiteX1" fmla="*/ 13632 w 17600"/>
                  <a:gd name="connsiteY1" fmla="*/ 47928 h 48196"/>
                </a:gdLst>
                <a:ahLst/>
                <a:cxnLst>
                  <a:cxn ang="0">
                    <a:pos x="connsiteX0" y="connsiteY0"/>
                  </a:cxn>
                  <a:cxn ang="0">
                    <a:pos x="connsiteX1" y="connsiteY1"/>
                  </a:cxn>
                </a:cxnLst>
                <a:rect l="l" t="t" r="r" b="b"/>
                <a:pathLst>
                  <a:path w="17600" h="48196">
                    <a:moveTo>
                      <a:pt x="-465" y="-269"/>
                    </a:moveTo>
                    <a:cubicBezTo>
                      <a:pt x="17633" y="11828"/>
                      <a:pt x="20681" y="28306"/>
                      <a:pt x="13632" y="47928"/>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58" name="Freeform: Shape 257">
                <a:extLst>
                  <a:ext uri="{FF2B5EF4-FFF2-40B4-BE49-F238E27FC236}">
                    <a16:creationId xmlns:a16="http://schemas.microsoft.com/office/drawing/2014/main" id="{10816509-8ED6-4AAA-8703-7E61EA3ADE4F}"/>
                  </a:ext>
                </a:extLst>
              </p:cNvPr>
              <p:cNvSpPr/>
              <p:nvPr/>
            </p:nvSpPr>
            <p:spPr>
              <a:xfrm>
                <a:off x="12475716" y="4718688"/>
                <a:ext cx="44291" cy="25385"/>
              </a:xfrm>
              <a:custGeom>
                <a:avLst/>
                <a:gdLst>
                  <a:gd name="connsiteX0" fmla="*/ 33635 w 34099"/>
                  <a:gd name="connsiteY0" fmla="*/ 226 h 19544"/>
                  <a:gd name="connsiteX1" fmla="*/ -465 w 34099"/>
                  <a:gd name="connsiteY1" fmla="*/ 19276 h 19544"/>
                </a:gdLst>
                <a:ahLst/>
                <a:cxnLst>
                  <a:cxn ang="0">
                    <a:pos x="connsiteX0" y="connsiteY0"/>
                  </a:cxn>
                  <a:cxn ang="0">
                    <a:pos x="connsiteX1" y="connsiteY1"/>
                  </a:cxn>
                </a:cxnLst>
                <a:rect l="l" t="t" r="r" b="b"/>
                <a:pathLst>
                  <a:path w="34099" h="19544">
                    <a:moveTo>
                      <a:pt x="33635" y="226"/>
                    </a:moveTo>
                    <a:cubicBezTo>
                      <a:pt x="15347" y="-1964"/>
                      <a:pt x="6774" y="2893"/>
                      <a:pt x="-465" y="19276"/>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59" name="Freeform: Shape 258">
                <a:extLst>
                  <a:ext uri="{FF2B5EF4-FFF2-40B4-BE49-F238E27FC236}">
                    <a16:creationId xmlns:a16="http://schemas.microsoft.com/office/drawing/2014/main" id="{1D47840C-BFC5-489B-8697-F81A5C83E914}"/>
                  </a:ext>
                </a:extLst>
              </p:cNvPr>
              <p:cNvSpPr/>
              <p:nvPr/>
            </p:nvSpPr>
            <p:spPr>
              <a:xfrm>
                <a:off x="12271332" y="4761273"/>
                <a:ext cx="38104" cy="10763"/>
              </a:xfrm>
              <a:custGeom>
                <a:avLst/>
                <a:gdLst>
                  <a:gd name="connsiteX0" fmla="*/ 28872 w 29336"/>
                  <a:gd name="connsiteY0" fmla="*/ -269 h 8286"/>
                  <a:gd name="connsiteX1" fmla="*/ -465 w 29336"/>
                  <a:gd name="connsiteY1" fmla="*/ 8018 h 8286"/>
                </a:gdLst>
                <a:ahLst/>
                <a:cxnLst>
                  <a:cxn ang="0">
                    <a:pos x="connsiteX0" y="connsiteY0"/>
                  </a:cxn>
                  <a:cxn ang="0">
                    <a:pos x="connsiteX1" y="connsiteY1"/>
                  </a:cxn>
                </a:cxnLst>
                <a:rect l="l" t="t" r="r" b="b"/>
                <a:pathLst>
                  <a:path w="29336" h="8286">
                    <a:moveTo>
                      <a:pt x="28872" y="-269"/>
                    </a:moveTo>
                    <a:lnTo>
                      <a:pt x="-465" y="8018"/>
                    </a:ln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60" name="Freeform: Shape 259">
                <a:extLst>
                  <a:ext uri="{FF2B5EF4-FFF2-40B4-BE49-F238E27FC236}">
                    <a16:creationId xmlns:a16="http://schemas.microsoft.com/office/drawing/2014/main" id="{14DF1E91-35FA-40FE-B7D7-43DF63E93C9E}"/>
                  </a:ext>
                </a:extLst>
              </p:cNvPr>
              <p:cNvSpPr/>
              <p:nvPr/>
            </p:nvSpPr>
            <p:spPr>
              <a:xfrm>
                <a:off x="12410144" y="4675411"/>
                <a:ext cx="76334" cy="21990"/>
              </a:xfrm>
              <a:custGeom>
                <a:avLst/>
                <a:gdLst>
                  <a:gd name="connsiteX0" fmla="*/ 58305 w 58769"/>
                  <a:gd name="connsiteY0" fmla="*/ -269 h 16930"/>
                  <a:gd name="connsiteX1" fmla="*/ 46589 w 58769"/>
                  <a:gd name="connsiteY1" fmla="*/ 10399 h 16930"/>
                  <a:gd name="connsiteX2" fmla="*/ 14775 w 58769"/>
                  <a:gd name="connsiteY2" fmla="*/ 12780 h 16930"/>
                  <a:gd name="connsiteX3" fmla="*/ -465 w 58769"/>
                  <a:gd name="connsiteY3" fmla="*/ 7923 h 16930"/>
                </a:gdLst>
                <a:ahLst/>
                <a:cxnLst>
                  <a:cxn ang="0">
                    <a:pos x="connsiteX0" y="connsiteY0"/>
                  </a:cxn>
                  <a:cxn ang="0">
                    <a:pos x="connsiteX1" y="connsiteY1"/>
                  </a:cxn>
                  <a:cxn ang="0">
                    <a:pos x="connsiteX2" y="connsiteY2"/>
                  </a:cxn>
                  <a:cxn ang="0">
                    <a:pos x="connsiteX3" y="connsiteY3"/>
                  </a:cxn>
                </a:cxnLst>
                <a:rect l="l" t="t" r="r" b="b"/>
                <a:pathLst>
                  <a:path w="58769" h="16930">
                    <a:moveTo>
                      <a:pt x="58305" y="-269"/>
                    </a:moveTo>
                    <a:cubicBezTo>
                      <a:pt x="54580" y="3484"/>
                      <a:pt x="50675" y="7046"/>
                      <a:pt x="46589" y="10399"/>
                    </a:cubicBezTo>
                    <a:cubicBezTo>
                      <a:pt x="37530" y="17772"/>
                      <a:pt x="24834" y="18724"/>
                      <a:pt x="14775" y="12780"/>
                    </a:cubicBezTo>
                    <a:cubicBezTo>
                      <a:pt x="9860" y="10694"/>
                      <a:pt x="4755" y="9066"/>
                      <a:pt x="-465" y="7923"/>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61" name="Freeform: Shape 260">
                <a:extLst>
                  <a:ext uri="{FF2B5EF4-FFF2-40B4-BE49-F238E27FC236}">
                    <a16:creationId xmlns:a16="http://schemas.microsoft.com/office/drawing/2014/main" id="{9006EFD0-F294-453E-B0C1-3DED51ECA6D9}"/>
                  </a:ext>
                </a:extLst>
              </p:cNvPr>
              <p:cNvSpPr/>
              <p:nvPr/>
            </p:nvSpPr>
            <p:spPr>
              <a:xfrm>
                <a:off x="12382679" y="4654503"/>
                <a:ext cx="31301" cy="47260"/>
              </a:xfrm>
              <a:custGeom>
                <a:avLst/>
                <a:gdLst>
                  <a:gd name="connsiteX0" fmla="*/ 23633 w 24098"/>
                  <a:gd name="connsiteY0" fmla="*/ -269 h 36385"/>
                  <a:gd name="connsiteX1" fmla="*/ -465 w 24098"/>
                  <a:gd name="connsiteY1" fmla="*/ 36117 h 36385"/>
                </a:gdLst>
                <a:ahLst/>
                <a:cxnLst>
                  <a:cxn ang="0">
                    <a:pos x="connsiteX0" y="connsiteY0"/>
                  </a:cxn>
                  <a:cxn ang="0">
                    <a:pos x="connsiteX1" y="connsiteY1"/>
                  </a:cxn>
                </a:cxnLst>
                <a:rect l="l" t="t" r="r" b="b"/>
                <a:pathLst>
                  <a:path w="24098" h="36385">
                    <a:moveTo>
                      <a:pt x="23633" y="-269"/>
                    </a:moveTo>
                    <a:cubicBezTo>
                      <a:pt x="22681" y="16590"/>
                      <a:pt x="18014" y="30878"/>
                      <a:pt x="-465" y="36117"/>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grpSp>
      <p:sp>
        <p:nvSpPr>
          <p:cNvPr id="226" name="Rectangle 225">
            <a:extLst>
              <a:ext uri="{FF2B5EF4-FFF2-40B4-BE49-F238E27FC236}">
                <a16:creationId xmlns:a16="http://schemas.microsoft.com/office/drawing/2014/main" id="{0390C32A-C41C-462F-880D-457053895EB3}"/>
              </a:ext>
            </a:extLst>
          </p:cNvPr>
          <p:cNvSpPr/>
          <p:nvPr/>
        </p:nvSpPr>
        <p:spPr>
          <a:xfrm>
            <a:off x="9030372" y="3098657"/>
            <a:ext cx="2366912" cy="248912"/>
          </a:xfrm>
          <a:prstGeom prst="rect">
            <a:avLst/>
          </a:prstGeom>
        </p:spPr>
        <p:txBody>
          <a:bodyPr wrap="square" lIns="0" tIns="0" rIns="0" bIns="0" anchor="ctr">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 Risk of </a:t>
            </a:r>
            <a:r>
              <a:rPr kumimoji="0" lang="en-GB" sz="1200" b="1"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myocardial infarction</a:t>
            </a:r>
          </a:p>
        </p:txBody>
      </p:sp>
      <p:grpSp>
        <p:nvGrpSpPr>
          <p:cNvPr id="232" name="Group 231">
            <a:extLst>
              <a:ext uri="{FF2B5EF4-FFF2-40B4-BE49-F238E27FC236}">
                <a16:creationId xmlns:a16="http://schemas.microsoft.com/office/drawing/2014/main" id="{E83F3AD8-0AEE-41B6-BCB1-633482F5F585}"/>
              </a:ext>
            </a:extLst>
          </p:cNvPr>
          <p:cNvGrpSpPr/>
          <p:nvPr/>
        </p:nvGrpSpPr>
        <p:grpSpPr>
          <a:xfrm>
            <a:off x="8559175" y="3043003"/>
            <a:ext cx="360220" cy="360220"/>
            <a:chOff x="7971396" y="3877464"/>
            <a:chExt cx="360220" cy="360220"/>
          </a:xfrm>
        </p:grpSpPr>
        <p:sp>
          <p:nvSpPr>
            <p:cNvPr id="233" name="Oval 232">
              <a:extLst>
                <a:ext uri="{FF2B5EF4-FFF2-40B4-BE49-F238E27FC236}">
                  <a16:creationId xmlns:a16="http://schemas.microsoft.com/office/drawing/2014/main" id="{3AA74B44-EE6A-4908-A366-A4526C101827}"/>
                </a:ext>
              </a:extLst>
            </p:cNvPr>
            <p:cNvSpPr/>
            <p:nvPr/>
          </p:nvSpPr>
          <p:spPr>
            <a:xfrm>
              <a:off x="7971396" y="3877464"/>
              <a:ext cx="360220" cy="360220"/>
            </a:xfrm>
            <a:prstGeom prst="ellipse">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nvGrpSpPr>
            <p:cNvPr id="234" name="Group 233">
              <a:extLst>
                <a:ext uri="{FF2B5EF4-FFF2-40B4-BE49-F238E27FC236}">
                  <a16:creationId xmlns:a16="http://schemas.microsoft.com/office/drawing/2014/main" id="{4D7BA9BD-6AD7-4904-BBFC-679B8A586D56}"/>
                </a:ext>
              </a:extLst>
            </p:cNvPr>
            <p:cNvGrpSpPr/>
            <p:nvPr/>
          </p:nvGrpSpPr>
          <p:grpSpPr>
            <a:xfrm>
              <a:off x="8026876" y="3931090"/>
              <a:ext cx="234399" cy="240778"/>
              <a:chOff x="4171792" y="3770348"/>
              <a:chExt cx="519683" cy="533824"/>
            </a:xfrm>
          </p:grpSpPr>
          <p:sp>
            <p:nvSpPr>
              <p:cNvPr id="235" name="Freeform 22">
                <a:extLst>
                  <a:ext uri="{FF2B5EF4-FFF2-40B4-BE49-F238E27FC236}">
                    <a16:creationId xmlns:a16="http://schemas.microsoft.com/office/drawing/2014/main" id="{73127083-9DB1-4158-8293-08A6CBCF4DC7}"/>
                  </a:ext>
                </a:extLst>
              </p:cNvPr>
              <p:cNvSpPr>
                <a:spLocks/>
              </p:cNvSpPr>
              <p:nvPr/>
            </p:nvSpPr>
            <p:spPr bwMode="auto">
              <a:xfrm>
                <a:off x="4514712" y="3925900"/>
                <a:ext cx="54797" cy="5303"/>
              </a:xfrm>
              <a:custGeom>
                <a:avLst/>
                <a:gdLst>
                  <a:gd name="T0" fmla="*/ 13 w 13"/>
                  <a:gd name="T1" fmla="*/ 1 h 1"/>
                  <a:gd name="T2" fmla="*/ 0 w 13"/>
                  <a:gd name="T3" fmla="*/ 0 h 1"/>
                </a:gdLst>
                <a:ahLst/>
                <a:cxnLst>
                  <a:cxn ang="0">
                    <a:pos x="T0" y="T1"/>
                  </a:cxn>
                  <a:cxn ang="0">
                    <a:pos x="T2" y="T3"/>
                  </a:cxn>
                </a:cxnLst>
                <a:rect l="0" t="0" r="r" b="b"/>
                <a:pathLst>
                  <a:path w="13" h="1">
                    <a:moveTo>
                      <a:pt x="13" y="1"/>
                    </a:moveTo>
                    <a:cubicBezTo>
                      <a:pt x="9" y="0"/>
                      <a:pt x="4" y="0"/>
                      <a:pt x="0" y="0"/>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36" name="Freeform 23">
                <a:extLst>
                  <a:ext uri="{FF2B5EF4-FFF2-40B4-BE49-F238E27FC236}">
                    <a16:creationId xmlns:a16="http://schemas.microsoft.com/office/drawing/2014/main" id="{90DFE5E8-FB86-4231-A4E1-74CF750A5674}"/>
                  </a:ext>
                </a:extLst>
              </p:cNvPr>
              <p:cNvSpPr>
                <a:spLocks/>
              </p:cNvSpPr>
              <p:nvPr/>
            </p:nvSpPr>
            <p:spPr bwMode="auto">
              <a:xfrm>
                <a:off x="4171792" y="3770348"/>
                <a:ext cx="519683" cy="533824"/>
              </a:xfrm>
              <a:custGeom>
                <a:avLst/>
                <a:gdLst>
                  <a:gd name="T0" fmla="*/ 66 w 124"/>
                  <a:gd name="T1" fmla="*/ 78 h 127"/>
                  <a:gd name="T2" fmla="*/ 81 w 124"/>
                  <a:gd name="T3" fmla="*/ 32 h 127"/>
                  <a:gd name="T4" fmla="*/ 81 w 124"/>
                  <a:gd name="T5" fmla="*/ 32 h 127"/>
                  <a:gd name="T6" fmla="*/ 81 w 124"/>
                  <a:gd name="T7" fmla="*/ 32 h 127"/>
                  <a:gd name="T8" fmla="*/ 88 w 124"/>
                  <a:gd name="T9" fmla="*/ 14 h 127"/>
                  <a:gd name="T10" fmla="*/ 93 w 124"/>
                  <a:gd name="T11" fmla="*/ 8 h 127"/>
                  <a:gd name="T12" fmla="*/ 85 w 124"/>
                  <a:gd name="T13" fmla="*/ 0 h 127"/>
                  <a:gd name="T14" fmla="*/ 65 w 124"/>
                  <a:gd name="T15" fmla="*/ 27 h 127"/>
                  <a:gd name="T16" fmla="*/ 65 w 124"/>
                  <a:gd name="T17" fmla="*/ 27 h 127"/>
                  <a:gd name="T18" fmla="*/ 60 w 124"/>
                  <a:gd name="T19" fmla="*/ 35 h 127"/>
                  <a:gd name="T20" fmla="*/ 53 w 124"/>
                  <a:gd name="T21" fmla="*/ 37 h 127"/>
                  <a:gd name="T22" fmla="*/ 53 w 124"/>
                  <a:gd name="T23" fmla="*/ 37 h 127"/>
                  <a:gd name="T24" fmla="*/ 20 w 124"/>
                  <a:gd name="T25" fmla="*/ 45 h 127"/>
                  <a:gd name="T26" fmla="*/ 73 w 124"/>
                  <a:gd name="T27" fmla="*/ 124 h 127"/>
                  <a:gd name="T28" fmla="*/ 101 w 124"/>
                  <a:gd name="T29" fmla="*/ 105 h 127"/>
                  <a:gd name="T30" fmla="*/ 95 w 124"/>
                  <a:gd name="T31" fmla="*/ 3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127">
                    <a:moveTo>
                      <a:pt x="66" y="78"/>
                    </a:moveTo>
                    <a:cubicBezTo>
                      <a:pt x="83" y="62"/>
                      <a:pt x="82" y="40"/>
                      <a:pt x="81" y="32"/>
                    </a:cubicBezTo>
                    <a:cubicBezTo>
                      <a:pt x="81" y="32"/>
                      <a:pt x="81" y="32"/>
                      <a:pt x="81" y="32"/>
                    </a:cubicBezTo>
                    <a:cubicBezTo>
                      <a:pt x="81" y="32"/>
                      <a:pt x="81" y="32"/>
                      <a:pt x="81" y="32"/>
                    </a:cubicBezTo>
                    <a:cubicBezTo>
                      <a:pt x="81" y="25"/>
                      <a:pt x="83" y="18"/>
                      <a:pt x="88" y="14"/>
                    </a:cubicBezTo>
                    <a:cubicBezTo>
                      <a:pt x="93" y="8"/>
                      <a:pt x="93" y="8"/>
                      <a:pt x="93" y="8"/>
                    </a:cubicBezTo>
                    <a:cubicBezTo>
                      <a:pt x="85" y="0"/>
                      <a:pt x="85" y="0"/>
                      <a:pt x="85" y="0"/>
                    </a:cubicBezTo>
                    <a:cubicBezTo>
                      <a:pt x="78" y="7"/>
                      <a:pt x="69" y="19"/>
                      <a:pt x="65" y="27"/>
                    </a:cubicBezTo>
                    <a:cubicBezTo>
                      <a:pt x="65" y="27"/>
                      <a:pt x="65" y="27"/>
                      <a:pt x="65" y="27"/>
                    </a:cubicBezTo>
                    <a:cubicBezTo>
                      <a:pt x="65" y="27"/>
                      <a:pt x="63" y="31"/>
                      <a:pt x="60" y="35"/>
                    </a:cubicBezTo>
                    <a:cubicBezTo>
                      <a:pt x="59" y="38"/>
                      <a:pt x="55" y="38"/>
                      <a:pt x="53" y="37"/>
                    </a:cubicBezTo>
                    <a:cubicBezTo>
                      <a:pt x="53" y="37"/>
                      <a:pt x="53" y="37"/>
                      <a:pt x="53" y="37"/>
                    </a:cubicBezTo>
                    <a:cubicBezTo>
                      <a:pt x="46" y="34"/>
                      <a:pt x="30" y="29"/>
                      <a:pt x="20" y="45"/>
                    </a:cubicBezTo>
                    <a:cubicBezTo>
                      <a:pt x="0" y="79"/>
                      <a:pt x="53" y="122"/>
                      <a:pt x="73" y="124"/>
                    </a:cubicBezTo>
                    <a:cubicBezTo>
                      <a:pt x="94" y="127"/>
                      <a:pt x="101" y="105"/>
                      <a:pt x="101" y="105"/>
                    </a:cubicBezTo>
                    <a:cubicBezTo>
                      <a:pt x="101" y="105"/>
                      <a:pt x="124" y="52"/>
                      <a:pt x="95" y="38"/>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237" name="Freeform 24">
                <a:extLst>
                  <a:ext uri="{FF2B5EF4-FFF2-40B4-BE49-F238E27FC236}">
                    <a16:creationId xmlns:a16="http://schemas.microsoft.com/office/drawing/2014/main" id="{DCE9787C-EFA5-410C-8391-24B86D4AD809}"/>
                  </a:ext>
                </a:extLst>
              </p:cNvPr>
              <p:cNvSpPr>
                <a:spLocks/>
              </p:cNvSpPr>
              <p:nvPr/>
            </p:nvSpPr>
            <p:spPr bwMode="auto">
              <a:xfrm>
                <a:off x="4208912" y="3842821"/>
                <a:ext cx="104291" cy="37121"/>
              </a:xfrm>
              <a:custGeom>
                <a:avLst/>
                <a:gdLst>
                  <a:gd name="T0" fmla="*/ 0 w 25"/>
                  <a:gd name="T1" fmla="*/ 2 h 9"/>
                  <a:gd name="T2" fmla="*/ 18 w 25"/>
                  <a:gd name="T3" fmla="*/ 0 h 9"/>
                  <a:gd name="T4" fmla="*/ 21 w 25"/>
                  <a:gd name="T5" fmla="*/ 1 h 9"/>
                  <a:gd name="T6" fmla="*/ 25 w 25"/>
                  <a:gd name="T7" fmla="*/ 9 h 9"/>
                </a:gdLst>
                <a:ahLst/>
                <a:cxnLst>
                  <a:cxn ang="0">
                    <a:pos x="T0" y="T1"/>
                  </a:cxn>
                  <a:cxn ang="0">
                    <a:pos x="T2" y="T3"/>
                  </a:cxn>
                  <a:cxn ang="0">
                    <a:pos x="T4" y="T5"/>
                  </a:cxn>
                  <a:cxn ang="0">
                    <a:pos x="T6" y="T7"/>
                  </a:cxn>
                </a:cxnLst>
                <a:rect l="0" t="0" r="r" b="b"/>
                <a:pathLst>
                  <a:path w="25" h="9">
                    <a:moveTo>
                      <a:pt x="0" y="2"/>
                    </a:moveTo>
                    <a:cubicBezTo>
                      <a:pt x="18" y="0"/>
                      <a:pt x="18" y="0"/>
                      <a:pt x="18" y="0"/>
                    </a:cubicBezTo>
                    <a:cubicBezTo>
                      <a:pt x="19" y="0"/>
                      <a:pt x="20" y="0"/>
                      <a:pt x="21" y="1"/>
                    </a:cubicBezTo>
                    <a:cubicBezTo>
                      <a:pt x="25" y="9"/>
                      <a:pt x="25" y="9"/>
                      <a:pt x="25" y="9"/>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cxnSp>
            <p:nvCxnSpPr>
              <p:cNvPr id="238" name="Straight Connector 237">
                <a:extLst>
                  <a:ext uri="{FF2B5EF4-FFF2-40B4-BE49-F238E27FC236}">
                    <a16:creationId xmlns:a16="http://schemas.microsoft.com/office/drawing/2014/main" id="{A2B88A60-1FE0-48F3-9862-7F2242BB79E7}"/>
                  </a:ext>
                </a:extLst>
              </p:cNvPr>
              <p:cNvCxnSpPr/>
              <p:nvPr/>
            </p:nvCxnSpPr>
            <p:spPr>
              <a:xfrm flipH="1" flipV="1">
                <a:off x="4317012" y="3776837"/>
                <a:ext cx="43051" cy="83411"/>
              </a:xfrm>
              <a:prstGeom prst="line">
                <a:avLst/>
              </a:pr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285" name="Rectangle 284">
            <a:extLst>
              <a:ext uri="{FF2B5EF4-FFF2-40B4-BE49-F238E27FC236}">
                <a16:creationId xmlns:a16="http://schemas.microsoft.com/office/drawing/2014/main" id="{4AFC1199-4F90-462D-A055-7167F235EFD3}"/>
              </a:ext>
            </a:extLst>
          </p:cNvPr>
          <p:cNvSpPr/>
          <p:nvPr/>
        </p:nvSpPr>
        <p:spPr>
          <a:xfrm>
            <a:off x="6119091" y="2075498"/>
            <a:ext cx="1788198" cy="277130"/>
          </a:xfrm>
          <a:prstGeom prst="rect">
            <a:avLst/>
          </a:prstGeom>
        </p:spPr>
        <p:txBody>
          <a:bodyPr wrap="square" lIns="0" tIns="0" rIns="0" bIns="0" anchor="t">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Body weight</a:t>
            </a:r>
            <a:r>
              <a:rPr kumimoji="0" lang="en-GB" sz="1200" b="0" i="0" u="none" strike="noStrike" kern="1200" cap="none" spc="0" normalizeH="0" baseline="30000" noProof="0" dirty="0">
                <a:ln>
                  <a:noFill/>
                </a:ln>
                <a:solidFill>
                  <a:srgbClr val="001965"/>
                </a:solidFill>
                <a:effectLst/>
                <a:uLnTx/>
                <a:uFillTx/>
                <a:latin typeface="Apis For Office"/>
                <a:ea typeface="+mn-ea"/>
                <a:cs typeface="Apis For Office" panose="020B0504010101010104" pitchFamily="34" charset="0"/>
              </a:rPr>
              <a:t>5</a:t>
            </a:r>
          </a:p>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Food intake</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6</a:t>
            </a:r>
          </a:p>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Satiety</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7,8</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endParaRPr>
          </a:p>
          <a:p>
            <a:pPr marL="85723" marR="0" lvl="0" indent="-85723" algn="l" defTabSz="6857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30000" noProof="0" dirty="0">
              <a:ln>
                <a:noFill/>
              </a:ln>
              <a:solidFill>
                <a:srgbClr val="001965"/>
              </a:solidFill>
              <a:effectLst/>
              <a:uLnTx/>
              <a:uFillTx/>
              <a:latin typeface="Apis For Office"/>
              <a:ea typeface="+mn-ea"/>
              <a:cs typeface="Apis For Office" panose="020B0504010101010104" pitchFamily="34" charset="0"/>
            </a:endParaRPr>
          </a:p>
          <a:p>
            <a:pPr marL="85723" marR="0" lvl="0" indent="-85723" algn="l" defTabSz="6857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endParaRPr>
          </a:p>
        </p:txBody>
      </p:sp>
      <p:sp>
        <p:nvSpPr>
          <p:cNvPr id="286" name="Textfeld 249">
            <a:extLst>
              <a:ext uri="{FF2B5EF4-FFF2-40B4-BE49-F238E27FC236}">
                <a16:creationId xmlns:a16="http://schemas.microsoft.com/office/drawing/2014/main" id="{FD5DE14D-7AA7-4F80-B9BF-71ABA1E05A80}"/>
              </a:ext>
            </a:extLst>
          </p:cNvPr>
          <p:cNvSpPr txBox="1">
            <a:spLocks noChangeArrowheads="1"/>
          </p:cNvSpPr>
          <p:nvPr/>
        </p:nvSpPr>
        <p:spPr bwMode="auto">
          <a:xfrm>
            <a:off x="6119091" y="1828155"/>
            <a:ext cx="759609" cy="301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altLang="de-DE" sz="1250" b="1" i="0" u="none" strike="noStrike" kern="1200" cap="none" spc="0" normalizeH="0" baseline="0" noProof="0" dirty="0">
                <a:ln>
                  <a:noFill/>
                </a:ln>
                <a:solidFill>
                  <a:srgbClr val="3B97DE"/>
                </a:solidFill>
                <a:effectLst/>
                <a:uLnTx/>
                <a:uFillTx/>
                <a:latin typeface="Apis For Office"/>
                <a:ea typeface="+mn-ea"/>
                <a:cs typeface="Apis For Office" panose="020B0504010101010104" pitchFamily="34" charset="0"/>
              </a:rPr>
              <a:t>Brain</a:t>
            </a:r>
          </a:p>
        </p:txBody>
      </p:sp>
      <p:sp>
        <p:nvSpPr>
          <p:cNvPr id="292" name="Textfeld 249">
            <a:extLst>
              <a:ext uri="{FF2B5EF4-FFF2-40B4-BE49-F238E27FC236}">
                <a16:creationId xmlns:a16="http://schemas.microsoft.com/office/drawing/2014/main" id="{362837A2-1DAD-4CF0-9F73-A2AD1A6B15DA}"/>
              </a:ext>
            </a:extLst>
          </p:cNvPr>
          <p:cNvSpPr txBox="1">
            <a:spLocks noChangeArrowheads="1"/>
          </p:cNvSpPr>
          <p:nvPr/>
        </p:nvSpPr>
        <p:spPr bwMode="auto">
          <a:xfrm>
            <a:off x="638501" y="1828155"/>
            <a:ext cx="966561" cy="30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sym typeface="Symbol" panose="05050102010706020507" pitchFamily="18" charset="2"/>
              </a:rPr>
              <a:t>Pancreas</a:t>
            </a:r>
            <a:endPar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endParaRPr>
          </a:p>
        </p:txBody>
      </p:sp>
      <p:sp>
        <p:nvSpPr>
          <p:cNvPr id="293" name="Textfeld 249">
            <a:extLst>
              <a:ext uri="{FF2B5EF4-FFF2-40B4-BE49-F238E27FC236}">
                <a16:creationId xmlns:a16="http://schemas.microsoft.com/office/drawing/2014/main" id="{B0E2D4E0-3762-48E4-926A-CEE9884EBD06}"/>
              </a:ext>
            </a:extLst>
          </p:cNvPr>
          <p:cNvSpPr txBox="1">
            <a:spLocks noChangeArrowheads="1"/>
          </p:cNvSpPr>
          <p:nvPr/>
        </p:nvSpPr>
        <p:spPr bwMode="auto">
          <a:xfrm>
            <a:off x="6119091" y="3214940"/>
            <a:ext cx="876562"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rPr>
              <a:t>Stomach</a:t>
            </a:r>
          </a:p>
        </p:txBody>
      </p:sp>
      <p:sp>
        <p:nvSpPr>
          <p:cNvPr id="294" name="Rectangle 293">
            <a:extLst>
              <a:ext uri="{FF2B5EF4-FFF2-40B4-BE49-F238E27FC236}">
                <a16:creationId xmlns:a16="http://schemas.microsoft.com/office/drawing/2014/main" id="{FCFE0171-422B-44E5-8817-4980A35F96C7}"/>
              </a:ext>
            </a:extLst>
          </p:cNvPr>
          <p:cNvSpPr/>
          <p:nvPr/>
        </p:nvSpPr>
        <p:spPr>
          <a:xfrm>
            <a:off x="6119091" y="3413518"/>
            <a:ext cx="2137613" cy="276999"/>
          </a:xfrm>
          <a:prstGeom prst="rect">
            <a:avLst/>
          </a:prstGeom>
        </p:spPr>
        <p:txBody>
          <a:bodyPr wrap="square" lIns="0" anchor="t">
            <a:sp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mn-cs"/>
              </a:rPr>
              <a:t>Gastric emptying</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mn-cs"/>
              </a:rPr>
              <a:t>9</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mn-cs"/>
            </a:endParaRPr>
          </a:p>
        </p:txBody>
      </p:sp>
      <p:sp>
        <p:nvSpPr>
          <p:cNvPr id="295" name="Textfeld 249">
            <a:extLst>
              <a:ext uri="{FF2B5EF4-FFF2-40B4-BE49-F238E27FC236}">
                <a16:creationId xmlns:a16="http://schemas.microsoft.com/office/drawing/2014/main" id="{CD29AAC3-E0A8-4F3B-966C-E68FBCEF4617}"/>
              </a:ext>
            </a:extLst>
          </p:cNvPr>
          <p:cNvSpPr txBox="1">
            <a:spLocks noChangeArrowheads="1"/>
          </p:cNvSpPr>
          <p:nvPr/>
        </p:nvSpPr>
        <p:spPr bwMode="auto">
          <a:xfrm>
            <a:off x="6119091" y="4188369"/>
            <a:ext cx="2324390" cy="30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rPr>
              <a:t>Liver</a:t>
            </a:r>
          </a:p>
        </p:txBody>
      </p:sp>
      <p:sp>
        <p:nvSpPr>
          <p:cNvPr id="296" name="Rectangle 295">
            <a:extLst>
              <a:ext uri="{FF2B5EF4-FFF2-40B4-BE49-F238E27FC236}">
                <a16:creationId xmlns:a16="http://schemas.microsoft.com/office/drawing/2014/main" id="{97E16790-BAE9-4B6C-975A-AA783025FF16}"/>
              </a:ext>
            </a:extLst>
          </p:cNvPr>
          <p:cNvSpPr/>
          <p:nvPr/>
        </p:nvSpPr>
        <p:spPr>
          <a:xfrm>
            <a:off x="6119091" y="4431242"/>
            <a:ext cx="2223623" cy="1429408"/>
          </a:xfrm>
          <a:prstGeom prst="rect">
            <a:avLst/>
          </a:prstGeom>
        </p:spPr>
        <p:txBody>
          <a:bodyPr wrap="square" lIns="0" tIns="0" rIns="0" bIns="0" anchor="t">
            <a:noAutofit/>
          </a:bodyPr>
          <a:lstStyle/>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Endogenous glucose </a:t>
            </a:r>
            <a:b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b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produc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0</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endParaRP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Hepatic insulin sensitivity</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0</a:t>
            </a:r>
            <a:endPar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endParaRP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1"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De novo</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lipogenesis</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0</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endParaRP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Lipotoxicity</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0</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endParaRP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Steatosis</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1</a:t>
            </a:r>
            <a:endPar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endParaRPr>
          </a:p>
        </p:txBody>
      </p:sp>
      <p:grpSp>
        <p:nvGrpSpPr>
          <p:cNvPr id="3" name="Group 2">
            <a:extLst>
              <a:ext uri="{FF2B5EF4-FFF2-40B4-BE49-F238E27FC236}">
                <a16:creationId xmlns:a16="http://schemas.microsoft.com/office/drawing/2014/main" id="{6CDE6606-6E1D-43F7-8A51-E2699A47DE64}"/>
              </a:ext>
            </a:extLst>
          </p:cNvPr>
          <p:cNvGrpSpPr/>
          <p:nvPr/>
        </p:nvGrpSpPr>
        <p:grpSpPr>
          <a:xfrm>
            <a:off x="638501" y="3892442"/>
            <a:ext cx="2119027" cy="1397734"/>
            <a:chOff x="638501" y="4204695"/>
            <a:chExt cx="2119027" cy="1397734"/>
          </a:xfrm>
        </p:grpSpPr>
        <p:sp>
          <p:nvSpPr>
            <p:cNvPr id="302" name="Rectangle 301">
              <a:extLst>
                <a:ext uri="{FF2B5EF4-FFF2-40B4-BE49-F238E27FC236}">
                  <a16:creationId xmlns:a16="http://schemas.microsoft.com/office/drawing/2014/main" id="{6C4D0418-BEB0-40AB-A5FF-0236D4F5B9EB}"/>
                </a:ext>
              </a:extLst>
            </p:cNvPr>
            <p:cNvSpPr/>
            <p:nvPr/>
          </p:nvSpPr>
          <p:spPr>
            <a:xfrm>
              <a:off x="638501" y="4447568"/>
              <a:ext cx="2119027" cy="1154861"/>
            </a:xfrm>
            <a:prstGeom prst="rect">
              <a:avLst/>
            </a:prstGeom>
          </p:spPr>
          <p:txBody>
            <a:bodyPr wrap="square" lIns="0" tIns="0" rIns="0" bIns="0" anchor="t">
              <a:noAutofit/>
            </a:bodyPr>
            <a:lstStyle/>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Cardiovascular risk</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2</a:t>
              </a: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Fatty acid metabolism</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3</a:t>
              </a: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Cardiac func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3</a:t>
              </a: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Systolic blood pressure</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3</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endParaRP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Inflamma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4</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endParaRPr>
            </a:p>
          </p:txBody>
        </p:sp>
        <p:sp>
          <p:nvSpPr>
            <p:cNvPr id="303" name="Textfeld 249">
              <a:extLst>
                <a:ext uri="{FF2B5EF4-FFF2-40B4-BE49-F238E27FC236}">
                  <a16:creationId xmlns:a16="http://schemas.microsoft.com/office/drawing/2014/main" id="{679B6CFC-C711-412C-A939-A48171437E29}"/>
                </a:ext>
              </a:extLst>
            </p:cNvPr>
            <p:cNvSpPr txBox="1">
              <a:spLocks noChangeArrowheads="1"/>
            </p:cNvSpPr>
            <p:nvPr/>
          </p:nvSpPr>
          <p:spPr bwMode="auto">
            <a:xfrm>
              <a:off x="638501" y="4204695"/>
              <a:ext cx="677883" cy="30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rPr>
                <a:t>Heart</a:t>
              </a:r>
            </a:p>
          </p:txBody>
        </p:sp>
      </p:grpSp>
      <p:sp>
        <p:nvSpPr>
          <p:cNvPr id="314" name="Line 57">
            <a:extLst>
              <a:ext uri="{FF2B5EF4-FFF2-40B4-BE49-F238E27FC236}">
                <a16:creationId xmlns:a16="http://schemas.microsoft.com/office/drawing/2014/main" id="{655789ED-AD86-4322-9255-2113E2D8785F}"/>
              </a:ext>
            </a:extLst>
          </p:cNvPr>
          <p:cNvSpPr>
            <a:spLocks noChangeShapeType="1"/>
          </p:cNvSpPr>
          <p:nvPr/>
        </p:nvSpPr>
        <p:spPr bwMode="auto">
          <a:xfrm>
            <a:off x="5275969" y="3406875"/>
            <a:ext cx="451758"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18" name="Line 5">
            <a:extLst>
              <a:ext uri="{FF2B5EF4-FFF2-40B4-BE49-F238E27FC236}">
                <a16:creationId xmlns:a16="http://schemas.microsoft.com/office/drawing/2014/main" id="{ADFED86D-CB57-4813-B1B2-1BC420409C01}"/>
              </a:ext>
            </a:extLst>
          </p:cNvPr>
          <p:cNvSpPr>
            <a:spLocks noChangeShapeType="1"/>
          </p:cNvSpPr>
          <p:nvPr/>
        </p:nvSpPr>
        <p:spPr bwMode="auto">
          <a:xfrm>
            <a:off x="5645383" y="2277111"/>
            <a:ext cx="0" cy="0"/>
          </a:xfrm>
          <a:prstGeom prst="line">
            <a:avLst/>
          </a:prstGeom>
          <a:noFill/>
          <a:ln w="17463" cap="flat">
            <a:solidFill>
              <a:srgbClr val="001965"/>
            </a:solidFill>
            <a:prstDash val="solid"/>
            <a:miter lim="800000"/>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nvGrpSpPr>
          <p:cNvPr id="319" name="Group 318">
            <a:extLst>
              <a:ext uri="{FF2B5EF4-FFF2-40B4-BE49-F238E27FC236}">
                <a16:creationId xmlns:a16="http://schemas.microsoft.com/office/drawing/2014/main" id="{29D1B33C-469A-49B6-B565-68063638BFA8}"/>
              </a:ext>
            </a:extLst>
          </p:cNvPr>
          <p:cNvGrpSpPr/>
          <p:nvPr/>
        </p:nvGrpSpPr>
        <p:grpSpPr>
          <a:xfrm>
            <a:off x="2173661" y="3537566"/>
            <a:ext cx="734880" cy="754883"/>
            <a:chOff x="4171792" y="3770348"/>
            <a:chExt cx="519683" cy="533824"/>
          </a:xfrm>
        </p:grpSpPr>
        <p:sp>
          <p:nvSpPr>
            <p:cNvPr id="320" name="Freeform 22">
              <a:extLst>
                <a:ext uri="{FF2B5EF4-FFF2-40B4-BE49-F238E27FC236}">
                  <a16:creationId xmlns:a16="http://schemas.microsoft.com/office/drawing/2014/main" id="{550C55A7-8AFF-437D-AACE-EFEEF821B005}"/>
                </a:ext>
              </a:extLst>
            </p:cNvPr>
            <p:cNvSpPr>
              <a:spLocks/>
            </p:cNvSpPr>
            <p:nvPr/>
          </p:nvSpPr>
          <p:spPr bwMode="auto">
            <a:xfrm>
              <a:off x="4514712" y="3925900"/>
              <a:ext cx="54797" cy="5303"/>
            </a:xfrm>
            <a:custGeom>
              <a:avLst/>
              <a:gdLst>
                <a:gd name="T0" fmla="*/ 13 w 13"/>
                <a:gd name="T1" fmla="*/ 1 h 1"/>
                <a:gd name="T2" fmla="*/ 0 w 13"/>
                <a:gd name="T3" fmla="*/ 0 h 1"/>
              </a:gdLst>
              <a:ahLst/>
              <a:cxnLst>
                <a:cxn ang="0">
                  <a:pos x="T0" y="T1"/>
                </a:cxn>
                <a:cxn ang="0">
                  <a:pos x="T2" y="T3"/>
                </a:cxn>
              </a:cxnLst>
              <a:rect l="0" t="0" r="r" b="b"/>
              <a:pathLst>
                <a:path w="13" h="1">
                  <a:moveTo>
                    <a:pt x="13" y="1"/>
                  </a:moveTo>
                  <a:cubicBezTo>
                    <a:pt x="9" y="0"/>
                    <a:pt x="4" y="0"/>
                    <a:pt x="0" y="0"/>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21" name="Freeform 23">
              <a:extLst>
                <a:ext uri="{FF2B5EF4-FFF2-40B4-BE49-F238E27FC236}">
                  <a16:creationId xmlns:a16="http://schemas.microsoft.com/office/drawing/2014/main" id="{29191ED1-97AB-42B6-90F7-D6830E6E9C09}"/>
                </a:ext>
              </a:extLst>
            </p:cNvPr>
            <p:cNvSpPr>
              <a:spLocks/>
            </p:cNvSpPr>
            <p:nvPr/>
          </p:nvSpPr>
          <p:spPr bwMode="auto">
            <a:xfrm>
              <a:off x="4171792" y="3770348"/>
              <a:ext cx="519683" cy="533824"/>
            </a:xfrm>
            <a:custGeom>
              <a:avLst/>
              <a:gdLst>
                <a:gd name="T0" fmla="*/ 66 w 124"/>
                <a:gd name="T1" fmla="*/ 78 h 127"/>
                <a:gd name="T2" fmla="*/ 81 w 124"/>
                <a:gd name="T3" fmla="*/ 32 h 127"/>
                <a:gd name="T4" fmla="*/ 81 w 124"/>
                <a:gd name="T5" fmla="*/ 32 h 127"/>
                <a:gd name="T6" fmla="*/ 81 w 124"/>
                <a:gd name="T7" fmla="*/ 32 h 127"/>
                <a:gd name="T8" fmla="*/ 88 w 124"/>
                <a:gd name="T9" fmla="*/ 14 h 127"/>
                <a:gd name="T10" fmla="*/ 93 w 124"/>
                <a:gd name="T11" fmla="*/ 8 h 127"/>
                <a:gd name="T12" fmla="*/ 85 w 124"/>
                <a:gd name="T13" fmla="*/ 0 h 127"/>
                <a:gd name="T14" fmla="*/ 65 w 124"/>
                <a:gd name="T15" fmla="*/ 27 h 127"/>
                <a:gd name="T16" fmla="*/ 65 w 124"/>
                <a:gd name="T17" fmla="*/ 27 h 127"/>
                <a:gd name="T18" fmla="*/ 60 w 124"/>
                <a:gd name="T19" fmla="*/ 35 h 127"/>
                <a:gd name="T20" fmla="*/ 53 w 124"/>
                <a:gd name="T21" fmla="*/ 37 h 127"/>
                <a:gd name="T22" fmla="*/ 53 w 124"/>
                <a:gd name="T23" fmla="*/ 37 h 127"/>
                <a:gd name="T24" fmla="*/ 20 w 124"/>
                <a:gd name="T25" fmla="*/ 45 h 127"/>
                <a:gd name="T26" fmla="*/ 73 w 124"/>
                <a:gd name="T27" fmla="*/ 124 h 127"/>
                <a:gd name="T28" fmla="*/ 101 w 124"/>
                <a:gd name="T29" fmla="*/ 105 h 127"/>
                <a:gd name="T30" fmla="*/ 95 w 124"/>
                <a:gd name="T31" fmla="*/ 3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127">
                  <a:moveTo>
                    <a:pt x="66" y="78"/>
                  </a:moveTo>
                  <a:cubicBezTo>
                    <a:pt x="83" y="62"/>
                    <a:pt x="82" y="40"/>
                    <a:pt x="81" y="32"/>
                  </a:cubicBezTo>
                  <a:cubicBezTo>
                    <a:pt x="81" y="32"/>
                    <a:pt x="81" y="32"/>
                    <a:pt x="81" y="32"/>
                  </a:cubicBezTo>
                  <a:cubicBezTo>
                    <a:pt x="81" y="32"/>
                    <a:pt x="81" y="32"/>
                    <a:pt x="81" y="32"/>
                  </a:cubicBezTo>
                  <a:cubicBezTo>
                    <a:pt x="81" y="25"/>
                    <a:pt x="83" y="18"/>
                    <a:pt x="88" y="14"/>
                  </a:cubicBezTo>
                  <a:cubicBezTo>
                    <a:pt x="93" y="8"/>
                    <a:pt x="93" y="8"/>
                    <a:pt x="93" y="8"/>
                  </a:cubicBezTo>
                  <a:cubicBezTo>
                    <a:pt x="85" y="0"/>
                    <a:pt x="85" y="0"/>
                    <a:pt x="85" y="0"/>
                  </a:cubicBezTo>
                  <a:cubicBezTo>
                    <a:pt x="78" y="7"/>
                    <a:pt x="69" y="19"/>
                    <a:pt x="65" y="27"/>
                  </a:cubicBezTo>
                  <a:cubicBezTo>
                    <a:pt x="65" y="27"/>
                    <a:pt x="65" y="27"/>
                    <a:pt x="65" y="27"/>
                  </a:cubicBezTo>
                  <a:cubicBezTo>
                    <a:pt x="65" y="27"/>
                    <a:pt x="63" y="31"/>
                    <a:pt x="60" y="35"/>
                  </a:cubicBezTo>
                  <a:cubicBezTo>
                    <a:pt x="59" y="38"/>
                    <a:pt x="55" y="38"/>
                    <a:pt x="53" y="37"/>
                  </a:cubicBezTo>
                  <a:cubicBezTo>
                    <a:pt x="53" y="37"/>
                    <a:pt x="53" y="37"/>
                    <a:pt x="53" y="37"/>
                  </a:cubicBezTo>
                  <a:cubicBezTo>
                    <a:pt x="46" y="34"/>
                    <a:pt x="30" y="29"/>
                    <a:pt x="20" y="45"/>
                  </a:cubicBezTo>
                  <a:cubicBezTo>
                    <a:pt x="0" y="79"/>
                    <a:pt x="53" y="122"/>
                    <a:pt x="73" y="124"/>
                  </a:cubicBezTo>
                  <a:cubicBezTo>
                    <a:pt x="94" y="127"/>
                    <a:pt x="101" y="105"/>
                    <a:pt x="101" y="105"/>
                  </a:cubicBezTo>
                  <a:cubicBezTo>
                    <a:pt x="101" y="105"/>
                    <a:pt x="124" y="52"/>
                    <a:pt x="95" y="38"/>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22" name="Freeform 24">
              <a:extLst>
                <a:ext uri="{FF2B5EF4-FFF2-40B4-BE49-F238E27FC236}">
                  <a16:creationId xmlns:a16="http://schemas.microsoft.com/office/drawing/2014/main" id="{884A9E73-7D03-4740-B997-598480175D77}"/>
                </a:ext>
              </a:extLst>
            </p:cNvPr>
            <p:cNvSpPr>
              <a:spLocks/>
            </p:cNvSpPr>
            <p:nvPr/>
          </p:nvSpPr>
          <p:spPr bwMode="auto">
            <a:xfrm>
              <a:off x="4208912" y="3842821"/>
              <a:ext cx="104291" cy="37121"/>
            </a:xfrm>
            <a:custGeom>
              <a:avLst/>
              <a:gdLst>
                <a:gd name="T0" fmla="*/ 0 w 25"/>
                <a:gd name="T1" fmla="*/ 2 h 9"/>
                <a:gd name="T2" fmla="*/ 18 w 25"/>
                <a:gd name="T3" fmla="*/ 0 h 9"/>
                <a:gd name="T4" fmla="*/ 21 w 25"/>
                <a:gd name="T5" fmla="*/ 1 h 9"/>
                <a:gd name="T6" fmla="*/ 25 w 25"/>
                <a:gd name="T7" fmla="*/ 9 h 9"/>
              </a:gdLst>
              <a:ahLst/>
              <a:cxnLst>
                <a:cxn ang="0">
                  <a:pos x="T0" y="T1"/>
                </a:cxn>
                <a:cxn ang="0">
                  <a:pos x="T2" y="T3"/>
                </a:cxn>
                <a:cxn ang="0">
                  <a:pos x="T4" y="T5"/>
                </a:cxn>
                <a:cxn ang="0">
                  <a:pos x="T6" y="T7"/>
                </a:cxn>
              </a:cxnLst>
              <a:rect l="0" t="0" r="r" b="b"/>
              <a:pathLst>
                <a:path w="25" h="9">
                  <a:moveTo>
                    <a:pt x="0" y="2"/>
                  </a:moveTo>
                  <a:cubicBezTo>
                    <a:pt x="18" y="0"/>
                    <a:pt x="18" y="0"/>
                    <a:pt x="18" y="0"/>
                  </a:cubicBezTo>
                  <a:cubicBezTo>
                    <a:pt x="19" y="0"/>
                    <a:pt x="20" y="0"/>
                    <a:pt x="21" y="1"/>
                  </a:cubicBezTo>
                  <a:cubicBezTo>
                    <a:pt x="25" y="9"/>
                    <a:pt x="25" y="9"/>
                    <a:pt x="25" y="9"/>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cxnSp>
          <p:nvCxnSpPr>
            <p:cNvPr id="323" name="Straight Connector 322">
              <a:extLst>
                <a:ext uri="{FF2B5EF4-FFF2-40B4-BE49-F238E27FC236}">
                  <a16:creationId xmlns:a16="http://schemas.microsoft.com/office/drawing/2014/main" id="{463192B2-C614-4B6E-99A2-B4EB1453F469}"/>
                </a:ext>
              </a:extLst>
            </p:cNvPr>
            <p:cNvCxnSpPr/>
            <p:nvPr/>
          </p:nvCxnSpPr>
          <p:spPr>
            <a:xfrm flipH="1" flipV="1">
              <a:off x="4317012" y="3776837"/>
              <a:ext cx="43051" cy="83411"/>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326" name="Line 60">
            <a:extLst>
              <a:ext uri="{FF2B5EF4-FFF2-40B4-BE49-F238E27FC236}">
                <a16:creationId xmlns:a16="http://schemas.microsoft.com/office/drawing/2014/main" id="{F64FC9BA-1BEF-4BF4-822B-9155BBD8872F}"/>
              </a:ext>
            </a:extLst>
          </p:cNvPr>
          <p:cNvSpPr>
            <a:spLocks noChangeShapeType="1"/>
          </p:cNvSpPr>
          <p:nvPr/>
        </p:nvSpPr>
        <p:spPr bwMode="auto">
          <a:xfrm flipH="1">
            <a:off x="5069384" y="2438092"/>
            <a:ext cx="327544" cy="291057"/>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nvGrpSpPr>
          <p:cNvPr id="355" name="Group 354">
            <a:extLst>
              <a:ext uri="{FF2B5EF4-FFF2-40B4-BE49-F238E27FC236}">
                <a16:creationId xmlns:a16="http://schemas.microsoft.com/office/drawing/2014/main" id="{BA5E4CA3-D276-45FC-8F3A-303E50000CF5}"/>
              </a:ext>
            </a:extLst>
          </p:cNvPr>
          <p:cNvGrpSpPr/>
          <p:nvPr/>
        </p:nvGrpSpPr>
        <p:grpSpPr>
          <a:xfrm>
            <a:off x="5277641" y="2132289"/>
            <a:ext cx="624795" cy="525452"/>
            <a:chOff x="12192000" y="4573246"/>
            <a:chExt cx="408785" cy="343788"/>
          </a:xfrm>
        </p:grpSpPr>
        <p:sp>
          <p:nvSpPr>
            <p:cNvPr id="356" name="Freeform: Shape 355">
              <a:extLst>
                <a:ext uri="{FF2B5EF4-FFF2-40B4-BE49-F238E27FC236}">
                  <a16:creationId xmlns:a16="http://schemas.microsoft.com/office/drawing/2014/main" id="{32A5E461-1D1C-4F00-B6DE-1F7E1FE0603D}"/>
                </a:ext>
              </a:extLst>
            </p:cNvPr>
            <p:cNvSpPr/>
            <p:nvPr/>
          </p:nvSpPr>
          <p:spPr>
            <a:xfrm>
              <a:off x="12192000" y="4573246"/>
              <a:ext cx="408785" cy="343788"/>
            </a:xfrm>
            <a:custGeom>
              <a:avLst/>
              <a:gdLst>
                <a:gd name="connsiteX0" fmla="*/ 171197 w 314719"/>
                <a:gd name="connsiteY0" fmla="*/ 4473 h 264679"/>
                <a:gd name="connsiteX1" fmla="*/ 121857 w 314719"/>
                <a:gd name="connsiteY1" fmla="*/ 10951 h 264679"/>
                <a:gd name="connsiteX2" fmla="*/ 108808 w 314719"/>
                <a:gd name="connsiteY2" fmla="*/ 15237 h 264679"/>
                <a:gd name="connsiteX3" fmla="*/ 43181 w 314719"/>
                <a:gd name="connsiteY3" fmla="*/ 35525 h 264679"/>
                <a:gd name="connsiteX4" fmla="*/ 4414 w 314719"/>
                <a:gd name="connsiteY4" fmla="*/ 94009 h 264679"/>
                <a:gd name="connsiteX5" fmla="*/ 22988 w 314719"/>
                <a:gd name="connsiteY5" fmla="*/ 184496 h 264679"/>
                <a:gd name="connsiteX6" fmla="*/ 64136 w 314719"/>
                <a:gd name="connsiteY6" fmla="*/ 202022 h 264679"/>
                <a:gd name="connsiteX7" fmla="*/ 77090 w 314719"/>
                <a:gd name="connsiteY7" fmla="*/ 202022 h 264679"/>
                <a:gd name="connsiteX8" fmla="*/ 86615 w 314719"/>
                <a:gd name="connsiteY8" fmla="*/ 214976 h 264679"/>
                <a:gd name="connsiteX9" fmla="*/ 79566 w 314719"/>
                <a:gd name="connsiteY9" fmla="*/ 256124 h 264679"/>
                <a:gd name="connsiteX10" fmla="*/ 86329 w 314719"/>
                <a:gd name="connsiteY10" fmla="*/ 264411 h 264679"/>
                <a:gd name="connsiteX11" fmla="*/ 108999 w 314719"/>
                <a:gd name="connsiteY11" fmla="*/ 252600 h 264679"/>
                <a:gd name="connsiteX12" fmla="*/ 129763 w 314719"/>
                <a:gd name="connsiteY12" fmla="*/ 212499 h 264679"/>
                <a:gd name="connsiteX13" fmla="*/ 144117 w 314719"/>
                <a:gd name="connsiteY13" fmla="*/ 204784 h 264679"/>
                <a:gd name="connsiteX14" fmla="*/ 145194 w 314719"/>
                <a:gd name="connsiteY14" fmla="*/ 205165 h 264679"/>
                <a:gd name="connsiteX15" fmla="*/ 174436 w 314719"/>
                <a:gd name="connsiteY15" fmla="*/ 201641 h 264679"/>
                <a:gd name="connsiteX16" fmla="*/ 183961 w 314719"/>
                <a:gd name="connsiteY16" fmla="*/ 190020 h 264679"/>
                <a:gd name="connsiteX17" fmla="*/ 194343 w 314719"/>
                <a:gd name="connsiteY17" fmla="*/ 179352 h 264679"/>
                <a:gd name="connsiteX18" fmla="*/ 254636 w 314719"/>
                <a:gd name="connsiteY18" fmla="*/ 185544 h 264679"/>
                <a:gd name="connsiteX19" fmla="*/ 313977 w 314719"/>
                <a:gd name="connsiteY19" fmla="*/ 135061 h 264679"/>
                <a:gd name="connsiteX20" fmla="*/ 285402 w 314719"/>
                <a:gd name="connsiteY20" fmla="*/ 77911 h 264679"/>
                <a:gd name="connsiteX21" fmla="*/ 269686 w 314719"/>
                <a:gd name="connsiteY21" fmla="*/ 56670 h 264679"/>
                <a:gd name="connsiteX22" fmla="*/ 224442 w 314719"/>
                <a:gd name="connsiteY22" fmla="*/ 20666 h 264679"/>
                <a:gd name="connsiteX23" fmla="*/ 188152 w 314719"/>
                <a:gd name="connsiteY23" fmla="*/ 8284 h 264679"/>
                <a:gd name="connsiteX24" fmla="*/ 182151 w 314719"/>
                <a:gd name="connsiteY24" fmla="*/ 4854 h 26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19" h="264679">
                  <a:moveTo>
                    <a:pt x="171197" y="4473"/>
                  </a:moveTo>
                  <a:cubicBezTo>
                    <a:pt x="152909" y="-6195"/>
                    <a:pt x="137288" y="3426"/>
                    <a:pt x="121857" y="10951"/>
                  </a:cubicBezTo>
                  <a:cubicBezTo>
                    <a:pt x="118029" y="13636"/>
                    <a:pt x="113485" y="15122"/>
                    <a:pt x="108808" y="15237"/>
                  </a:cubicBezTo>
                  <a:cubicBezTo>
                    <a:pt x="85110" y="13027"/>
                    <a:pt x="61497" y="20323"/>
                    <a:pt x="43181" y="35525"/>
                  </a:cubicBezTo>
                  <a:cubicBezTo>
                    <a:pt x="24102" y="50155"/>
                    <a:pt x="10453" y="70739"/>
                    <a:pt x="4414" y="94009"/>
                  </a:cubicBezTo>
                  <a:cubicBezTo>
                    <a:pt x="-5111" y="127060"/>
                    <a:pt x="-1587" y="158112"/>
                    <a:pt x="22988" y="184496"/>
                  </a:cubicBezTo>
                  <a:cubicBezTo>
                    <a:pt x="33799" y="195621"/>
                    <a:pt x="48620" y="201936"/>
                    <a:pt x="64136" y="202022"/>
                  </a:cubicBezTo>
                  <a:cubicBezTo>
                    <a:pt x="68422" y="202022"/>
                    <a:pt x="72804" y="202022"/>
                    <a:pt x="77090" y="202022"/>
                  </a:cubicBezTo>
                  <a:cubicBezTo>
                    <a:pt x="85186" y="202498"/>
                    <a:pt x="88996" y="205451"/>
                    <a:pt x="86615" y="214976"/>
                  </a:cubicBezTo>
                  <a:cubicBezTo>
                    <a:pt x="83281" y="228406"/>
                    <a:pt x="83757" y="242598"/>
                    <a:pt x="79566" y="256124"/>
                  </a:cubicBezTo>
                  <a:cubicBezTo>
                    <a:pt x="78423" y="259839"/>
                    <a:pt x="80043" y="264125"/>
                    <a:pt x="86329" y="264411"/>
                  </a:cubicBezTo>
                  <a:cubicBezTo>
                    <a:pt x="96426" y="264411"/>
                    <a:pt x="104331" y="264411"/>
                    <a:pt x="108999" y="252600"/>
                  </a:cubicBezTo>
                  <a:cubicBezTo>
                    <a:pt x="114714" y="238788"/>
                    <a:pt x="122905" y="225930"/>
                    <a:pt x="129763" y="212499"/>
                  </a:cubicBezTo>
                  <a:cubicBezTo>
                    <a:pt x="131602" y="206403"/>
                    <a:pt x="138022" y="202946"/>
                    <a:pt x="144117" y="204784"/>
                  </a:cubicBezTo>
                  <a:cubicBezTo>
                    <a:pt x="144489" y="204889"/>
                    <a:pt x="144841" y="205022"/>
                    <a:pt x="145194" y="205165"/>
                  </a:cubicBezTo>
                  <a:cubicBezTo>
                    <a:pt x="154719" y="207927"/>
                    <a:pt x="164244" y="202117"/>
                    <a:pt x="174436" y="201641"/>
                  </a:cubicBezTo>
                  <a:cubicBezTo>
                    <a:pt x="180150" y="201641"/>
                    <a:pt x="179960" y="193640"/>
                    <a:pt x="183961" y="190020"/>
                  </a:cubicBezTo>
                  <a:cubicBezTo>
                    <a:pt x="187228" y="186277"/>
                    <a:pt x="190695" y="182715"/>
                    <a:pt x="194343" y="179352"/>
                  </a:cubicBezTo>
                  <a:cubicBezTo>
                    <a:pt x="213897" y="185048"/>
                    <a:pt x="234329" y="187144"/>
                    <a:pt x="254636" y="185544"/>
                  </a:cubicBezTo>
                  <a:cubicBezTo>
                    <a:pt x="284735" y="181353"/>
                    <a:pt x="311024" y="165351"/>
                    <a:pt x="313977" y="135061"/>
                  </a:cubicBezTo>
                  <a:cubicBezTo>
                    <a:pt x="316187" y="112115"/>
                    <a:pt x="305090" y="89913"/>
                    <a:pt x="285402" y="77911"/>
                  </a:cubicBezTo>
                  <a:cubicBezTo>
                    <a:pt x="277467" y="73292"/>
                    <a:pt x="271781" y="65605"/>
                    <a:pt x="269686" y="56670"/>
                  </a:cubicBezTo>
                  <a:cubicBezTo>
                    <a:pt x="264752" y="35649"/>
                    <a:pt x="246035" y="20752"/>
                    <a:pt x="224442" y="20666"/>
                  </a:cubicBezTo>
                  <a:cubicBezTo>
                    <a:pt x="211221" y="21257"/>
                    <a:pt x="198257" y="16837"/>
                    <a:pt x="188152" y="8284"/>
                  </a:cubicBezTo>
                  <a:cubicBezTo>
                    <a:pt x="186246" y="6474"/>
                    <a:pt x="183770" y="6664"/>
                    <a:pt x="182151" y="4854"/>
                  </a:cubicBez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57" name="Freeform: Shape 356">
              <a:extLst>
                <a:ext uri="{FF2B5EF4-FFF2-40B4-BE49-F238E27FC236}">
                  <a16:creationId xmlns:a16="http://schemas.microsoft.com/office/drawing/2014/main" id="{7243CC86-A72A-4A43-8723-D82F856D68B7}"/>
                </a:ext>
              </a:extLst>
            </p:cNvPr>
            <p:cNvSpPr/>
            <p:nvPr/>
          </p:nvSpPr>
          <p:spPr>
            <a:xfrm>
              <a:off x="12451342" y="4701764"/>
              <a:ext cx="81283" cy="70271"/>
            </a:xfrm>
            <a:custGeom>
              <a:avLst/>
              <a:gdLst>
                <a:gd name="connsiteX0" fmla="*/ -465 w 62579"/>
                <a:gd name="connsiteY0" fmla="*/ -269 h 54101"/>
                <a:gd name="connsiteX1" fmla="*/ 43064 w 62579"/>
                <a:gd name="connsiteY1" fmla="*/ 38307 h 54101"/>
                <a:gd name="connsiteX2" fmla="*/ 62114 w 62579"/>
                <a:gd name="connsiteY2" fmla="*/ 53833 h 54101"/>
              </a:gdLst>
              <a:ahLst/>
              <a:cxnLst>
                <a:cxn ang="0">
                  <a:pos x="connsiteX0" y="connsiteY0"/>
                </a:cxn>
                <a:cxn ang="0">
                  <a:pos x="connsiteX1" y="connsiteY1"/>
                </a:cxn>
                <a:cxn ang="0">
                  <a:pos x="connsiteX2" y="connsiteY2"/>
                </a:cxn>
              </a:cxnLst>
              <a:rect l="l" t="t" r="r" b="b"/>
              <a:pathLst>
                <a:path w="62579" h="54101">
                  <a:moveTo>
                    <a:pt x="-465" y="-269"/>
                  </a:moveTo>
                  <a:cubicBezTo>
                    <a:pt x="3822" y="31735"/>
                    <a:pt x="9060" y="36879"/>
                    <a:pt x="43064" y="38307"/>
                  </a:cubicBezTo>
                  <a:cubicBezTo>
                    <a:pt x="54018" y="38784"/>
                    <a:pt x="56876" y="47070"/>
                    <a:pt x="62114" y="53833"/>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58" name="Freeform: Shape 357">
              <a:extLst>
                <a:ext uri="{FF2B5EF4-FFF2-40B4-BE49-F238E27FC236}">
                  <a16:creationId xmlns:a16="http://schemas.microsoft.com/office/drawing/2014/main" id="{7B32E9FE-BF8A-4A11-8F9A-C4F64ED6B029}"/>
                </a:ext>
              </a:extLst>
            </p:cNvPr>
            <p:cNvSpPr/>
            <p:nvPr/>
          </p:nvSpPr>
          <p:spPr>
            <a:xfrm>
              <a:off x="12262053" y="4683452"/>
              <a:ext cx="45775" cy="38229"/>
            </a:xfrm>
            <a:custGeom>
              <a:avLst/>
              <a:gdLst>
                <a:gd name="connsiteX0" fmla="*/ -465 w 35242"/>
                <a:gd name="connsiteY0" fmla="*/ -269 h 29432"/>
                <a:gd name="connsiteX1" fmla="*/ 23062 w 35242"/>
                <a:gd name="connsiteY1" fmla="*/ 25639 h 29432"/>
                <a:gd name="connsiteX2" fmla="*/ 34778 w 35242"/>
                <a:gd name="connsiteY2" fmla="*/ 29163 h 29432"/>
              </a:gdLst>
              <a:ahLst/>
              <a:cxnLst>
                <a:cxn ang="0">
                  <a:pos x="connsiteX0" y="connsiteY0"/>
                </a:cxn>
                <a:cxn ang="0">
                  <a:pos x="connsiteX1" y="connsiteY1"/>
                </a:cxn>
                <a:cxn ang="0">
                  <a:pos x="connsiteX2" y="connsiteY2"/>
                </a:cxn>
              </a:cxnLst>
              <a:rect l="l" t="t" r="r" b="b"/>
              <a:pathLst>
                <a:path w="35242" h="29432">
                  <a:moveTo>
                    <a:pt x="-465" y="-269"/>
                  </a:moveTo>
                  <a:cubicBezTo>
                    <a:pt x="202" y="13828"/>
                    <a:pt x="7441" y="21734"/>
                    <a:pt x="23062" y="25639"/>
                  </a:cubicBezTo>
                  <a:cubicBezTo>
                    <a:pt x="26967" y="26592"/>
                    <a:pt x="31444" y="26116"/>
                    <a:pt x="34778" y="29163"/>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59" name="Freeform: Shape 358">
              <a:extLst>
                <a:ext uri="{FF2B5EF4-FFF2-40B4-BE49-F238E27FC236}">
                  <a16:creationId xmlns:a16="http://schemas.microsoft.com/office/drawing/2014/main" id="{DFC27E1F-8A6F-4D1B-82AF-BDCDB17C3867}"/>
                </a:ext>
              </a:extLst>
            </p:cNvPr>
            <p:cNvSpPr/>
            <p:nvPr/>
          </p:nvSpPr>
          <p:spPr>
            <a:xfrm>
              <a:off x="12305794" y="4643863"/>
              <a:ext cx="61967" cy="146482"/>
            </a:xfrm>
            <a:custGeom>
              <a:avLst/>
              <a:gdLst>
                <a:gd name="connsiteX0" fmla="*/ 32534 w 47708"/>
                <a:gd name="connsiteY0" fmla="*/ -269 h 112775"/>
                <a:gd name="connsiteX1" fmla="*/ 46726 w 47708"/>
                <a:gd name="connsiteY1" fmla="*/ 34307 h 112775"/>
                <a:gd name="connsiteX2" fmla="*/ 26724 w 47708"/>
                <a:gd name="connsiteY2" fmla="*/ 41260 h 112775"/>
                <a:gd name="connsiteX3" fmla="*/ 1578 w 47708"/>
                <a:gd name="connsiteY3" fmla="*/ 60977 h 112775"/>
                <a:gd name="connsiteX4" fmla="*/ 9007 w 47708"/>
                <a:gd name="connsiteY4" fmla="*/ 96124 h 112775"/>
                <a:gd name="connsiteX5" fmla="*/ 24342 w 47708"/>
                <a:gd name="connsiteY5" fmla="*/ 112507 h 11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08" h="112775">
                  <a:moveTo>
                    <a:pt x="32534" y="-269"/>
                  </a:moveTo>
                  <a:cubicBezTo>
                    <a:pt x="46821" y="7065"/>
                    <a:pt x="48345" y="19733"/>
                    <a:pt x="46726" y="34307"/>
                  </a:cubicBezTo>
                  <a:cubicBezTo>
                    <a:pt x="40468" y="37679"/>
                    <a:pt x="33715" y="40022"/>
                    <a:pt x="26724" y="41260"/>
                  </a:cubicBezTo>
                  <a:cubicBezTo>
                    <a:pt x="15303" y="42584"/>
                    <a:pt x="5588" y="50194"/>
                    <a:pt x="1578" y="60977"/>
                  </a:cubicBezTo>
                  <a:cubicBezTo>
                    <a:pt x="-2842" y="73150"/>
                    <a:pt x="35" y="86780"/>
                    <a:pt x="9007" y="96124"/>
                  </a:cubicBezTo>
                  <a:cubicBezTo>
                    <a:pt x="14436" y="101172"/>
                    <a:pt x="19199" y="106982"/>
                    <a:pt x="24342" y="112507"/>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60" name="Freeform: Shape 359">
              <a:extLst>
                <a:ext uri="{FF2B5EF4-FFF2-40B4-BE49-F238E27FC236}">
                  <a16:creationId xmlns:a16="http://schemas.microsoft.com/office/drawing/2014/main" id="{01795AD4-80F3-4D3C-98BE-51ECA3B46464}"/>
                </a:ext>
              </a:extLst>
            </p:cNvPr>
            <p:cNvSpPr/>
            <p:nvPr/>
          </p:nvSpPr>
          <p:spPr>
            <a:xfrm>
              <a:off x="12367462" y="4691123"/>
              <a:ext cx="22860" cy="62601"/>
            </a:xfrm>
            <a:custGeom>
              <a:avLst/>
              <a:gdLst>
                <a:gd name="connsiteX0" fmla="*/ -465 w 17600"/>
                <a:gd name="connsiteY0" fmla="*/ -269 h 48196"/>
                <a:gd name="connsiteX1" fmla="*/ 13632 w 17600"/>
                <a:gd name="connsiteY1" fmla="*/ 47928 h 48196"/>
              </a:gdLst>
              <a:ahLst/>
              <a:cxnLst>
                <a:cxn ang="0">
                  <a:pos x="connsiteX0" y="connsiteY0"/>
                </a:cxn>
                <a:cxn ang="0">
                  <a:pos x="connsiteX1" y="connsiteY1"/>
                </a:cxn>
              </a:cxnLst>
              <a:rect l="l" t="t" r="r" b="b"/>
              <a:pathLst>
                <a:path w="17600" h="48196">
                  <a:moveTo>
                    <a:pt x="-465" y="-269"/>
                  </a:moveTo>
                  <a:cubicBezTo>
                    <a:pt x="17633" y="11828"/>
                    <a:pt x="20681" y="28306"/>
                    <a:pt x="13632" y="47928"/>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61" name="Freeform: Shape 360">
              <a:extLst>
                <a:ext uri="{FF2B5EF4-FFF2-40B4-BE49-F238E27FC236}">
                  <a16:creationId xmlns:a16="http://schemas.microsoft.com/office/drawing/2014/main" id="{ADE04863-D2CE-4134-838D-4F64C834E9B4}"/>
                </a:ext>
              </a:extLst>
            </p:cNvPr>
            <p:cNvSpPr/>
            <p:nvPr/>
          </p:nvSpPr>
          <p:spPr>
            <a:xfrm>
              <a:off x="12475716" y="4718688"/>
              <a:ext cx="44291" cy="25385"/>
            </a:xfrm>
            <a:custGeom>
              <a:avLst/>
              <a:gdLst>
                <a:gd name="connsiteX0" fmla="*/ 33635 w 34099"/>
                <a:gd name="connsiteY0" fmla="*/ 226 h 19544"/>
                <a:gd name="connsiteX1" fmla="*/ -465 w 34099"/>
                <a:gd name="connsiteY1" fmla="*/ 19276 h 19544"/>
              </a:gdLst>
              <a:ahLst/>
              <a:cxnLst>
                <a:cxn ang="0">
                  <a:pos x="connsiteX0" y="connsiteY0"/>
                </a:cxn>
                <a:cxn ang="0">
                  <a:pos x="connsiteX1" y="connsiteY1"/>
                </a:cxn>
              </a:cxnLst>
              <a:rect l="l" t="t" r="r" b="b"/>
              <a:pathLst>
                <a:path w="34099" h="19544">
                  <a:moveTo>
                    <a:pt x="33635" y="226"/>
                  </a:moveTo>
                  <a:cubicBezTo>
                    <a:pt x="15347" y="-1964"/>
                    <a:pt x="6774" y="2893"/>
                    <a:pt x="-465" y="19276"/>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62" name="Freeform: Shape 361">
              <a:extLst>
                <a:ext uri="{FF2B5EF4-FFF2-40B4-BE49-F238E27FC236}">
                  <a16:creationId xmlns:a16="http://schemas.microsoft.com/office/drawing/2014/main" id="{6456A3C3-246C-4ADD-9147-6F029CF458D1}"/>
                </a:ext>
              </a:extLst>
            </p:cNvPr>
            <p:cNvSpPr/>
            <p:nvPr/>
          </p:nvSpPr>
          <p:spPr>
            <a:xfrm>
              <a:off x="12271332" y="4761273"/>
              <a:ext cx="38104" cy="10763"/>
            </a:xfrm>
            <a:custGeom>
              <a:avLst/>
              <a:gdLst>
                <a:gd name="connsiteX0" fmla="*/ 28872 w 29336"/>
                <a:gd name="connsiteY0" fmla="*/ -269 h 8286"/>
                <a:gd name="connsiteX1" fmla="*/ -465 w 29336"/>
                <a:gd name="connsiteY1" fmla="*/ 8018 h 8286"/>
              </a:gdLst>
              <a:ahLst/>
              <a:cxnLst>
                <a:cxn ang="0">
                  <a:pos x="connsiteX0" y="connsiteY0"/>
                </a:cxn>
                <a:cxn ang="0">
                  <a:pos x="connsiteX1" y="connsiteY1"/>
                </a:cxn>
              </a:cxnLst>
              <a:rect l="l" t="t" r="r" b="b"/>
              <a:pathLst>
                <a:path w="29336" h="8286">
                  <a:moveTo>
                    <a:pt x="28872" y="-269"/>
                  </a:moveTo>
                  <a:lnTo>
                    <a:pt x="-465" y="8018"/>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63" name="Freeform: Shape 362">
              <a:extLst>
                <a:ext uri="{FF2B5EF4-FFF2-40B4-BE49-F238E27FC236}">
                  <a16:creationId xmlns:a16="http://schemas.microsoft.com/office/drawing/2014/main" id="{01152EB0-D709-42C8-965D-928D575775F3}"/>
                </a:ext>
              </a:extLst>
            </p:cNvPr>
            <p:cNvSpPr/>
            <p:nvPr/>
          </p:nvSpPr>
          <p:spPr>
            <a:xfrm>
              <a:off x="12410144" y="4675411"/>
              <a:ext cx="76334" cy="21990"/>
            </a:xfrm>
            <a:custGeom>
              <a:avLst/>
              <a:gdLst>
                <a:gd name="connsiteX0" fmla="*/ 58305 w 58769"/>
                <a:gd name="connsiteY0" fmla="*/ -269 h 16930"/>
                <a:gd name="connsiteX1" fmla="*/ 46589 w 58769"/>
                <a:gd name="connsiteY1" fmla="*/ 10399 h 16930"/>
                <a:gd name="connsiteX2" fmla="*/ 14775 w 58769"/>
                <a:gd name="connsiteY2" fmla="*/ 12780 h 16930"/>
                <a:gd name="connsiteX3" fmla="*/ -465 w 58769"/>
                <a:gd name="connsiteY3" fmla="*/ 7923 h 16930"/>
              </a:gdLst>
              <a:ahLst/>
              <a:cxnLst>
                <a:cxn ang="0">
                  <a:pos x="connsiteX0" y="connsiteY0"/>
                </a:cxn>
                <a:cxn ang="0">
                  <a:pos x="connsiteX1" y="connsiteY1"/>
                </a:cxn>
                <a:cxn ang="0">
                  <a:pos x="connsiteX2" y="connsiteY2"/>
                </a:cxn>
                <a:cxn ang="0">
                  <a:pos x="connsiteX3" y="connsiteY3"/>
                </a:cxn>
              </a:cxnLst>
              <a:rect l="l" t="t" r="r" b="b"/>
              <a:pathLst>
                <a:path w="58769" h="16930">
                  <a:moveTo>
                    <a:pt x="58305" y="-269"/>
                  </a:moveTo>
                  <a:cubicBezTo>
                    <a:pt x="54580" y="3484"/>
                    <a:pt x="50675" y="7046"/>
                    <a:pt x="46589" y="10399"/>
                  </a:cubicBezTo>
                  <a:cubicBezTo>
                    <a:pt x="37530" y="17772"/>
                    <a:pt x="24834" y="18724"/>
                    <a:pt x="14775" y="12780"/>
                  </a:cubicBezTo>
                  <a:cubicBezTo>
                    <a:pt x="9860" y="10694"/>
                    <a:pt x="4755" y="9066"/>
                    <a:pt x="-465" y="7923"/>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64" name="Freeform: Shape 363">
              <a:extLst>
                <a:ext uri="{FF2B5EF4-FFF2-40B4-BE49-F238E27FC236}">
                  <a16:creationId xmlns:a16="http://schemas.microsoft.com/office/drawing/2014/main" id="{80C32B3B-4379-41AC-8D38-821AAF0C8751}"/>
                </a:ext>
              </a:extLst>
            </p:cNvPr>
            <p:cNvSpPr/>
            <p:nvPr/>
          </p:nvSpPr>
          <p:spPr>
            <a:xfrm>
              <a:off x="12382679" y="4654503"/>
              <a:ext cx="31301" cy="47260"/>
            </a:xfrm>
            <a:custGeom>
              <a:avLst/>
              <a:gdLst>
                <a:gd name="connsiteX0" fmla="*/ 23633 w 24098"/>
                <a:gd name="connsiteY0" fmla="*/ -269 h 36385"/>
                <a:gd name="connsiteX1" fmla="*/ -465 w 24098"/>
                <a:gd name="connsiteY1" fmla="*/ 36117 h 36385"/>
              </a:gdLst>
              <a:ahLst/>
              <a:cxnLst>
                <a:cxn ang="0">
                  <a:pos x="connsiteX0" y="connsiteY0"/>
                </a:cxn>
                <a:cxn ang="0">
                  <a:pos x="connsiteX1" y="connsiteY1"/>
                </a:cxn>
              </a:cxnLst>
              <a:rect l="l" t="t" r="r" b="b"/>
              <a:pathLst>
                <a:path w="24098" h="36385">
                  <a:moveTo>
                    <a:pt x="23633" y="-269"/>
                  </a:moveTo>
                  <a:cubicBezTo>
                    <a:pt x="22681" y="16590"/>
                    <a:pt x="18014" y="30878"/>
                    <a:pt x="-465" y="36117"/>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sp>
        <p:nvSpPr>
          <p:cNvPr id="373" name="Line 60">
            <a:extLst>
              <a:ext uri="{FF2B5EF4-FFF2-40B4-BE49-F238E27FC236}">
                <a16:creationId xmlns:a16="http://schemas.microsoft.com/office/drawing/2014/main" id="{4416F485-FB62-4991-99E1-427DE2895CA4}"/>
              </a:ext>
            </a:extLst>
          </p:cNvPr>
          <p:cNvSpPr>
            <a:spLocks noChangeShapeType="1"/>
          </p:cNvSpPr>
          <p:nvPr/>
        </p:nvSpPr>
        <p:spPr bwMode="auto">
          <a:xfrm>
            <a:off x="2921988" y="2438092"/>
            <a:ext cx="327544" cy="291057"/>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nvGrpSpPr>
          <p:cNvPr id="33" name="Group 32">
            <a:extLst>
              <a:ext uri="{FF2B5EF4-FFF2-40B4-BE49-F238E27FC236}">
                <a16:creationId xmlns:a16="http://schemas.microsoft.com/office/drawing/2014/main" id="{2962322F-5308-4FD7-84B3-B6BE9C44DB49}"/>
              </a:ext>
            </a:extLst>
          </p:cNvPr>
          <p:cNvGrpSpPr/>
          <p:nvPr/>
        </p:nvGrpSpPr>
        <p:grpSpPr>
          <a:xfrm>
            <a:off x="2043317" y="2116576"/>
            <a:ext cx="1048141" cy="999905"/>
            <a:chOff x="2717648" y="2276835"/>
            <a:chExt cx="1048141" cy="999905"/>
          </a:xfrm>
        </p:grpSpPr>
        <p:sp>
          <p:nvSpPr>
            <p:cNvPr id="307" name="Freeform 11">
              <a:extLst>
                <a:ext uri="{FF2B5EF4-FFF2-40B4-BE49-F238E27FC236}">
                  <a16:creationId xmlns:a16="http://schemas.microsoft.com/office/drawing/2014/main" id="{DDDA130B-8578-41F3-B913-480D99BFCDD8}"/>
                </a:ext>
              </a:extLst>
            </p:cNvPr>
            <p:cNvSpPr>
              <a:spLocks noEditPoints="1"/>
            </p:cNvSpPr>
            <p:nvPr/>
          </p:nvSpPr>
          <p:spPr bwMode="auto">
            <a:xfrm>
              <a:off x="2901417" y="2411755"/>
              <a:ext cx="864372" cy="790131"/>
            </a:xfrm>
            <a:custGeom>
              <a:avLst/>
              <a:gdLst>
                <a:gd name="T0" fmla="*/ 37 w 206"/>
                <a:gd name="T1" fmla="*/ 10 h 188"/>
                <a:gd name="T2" fmla="*/ 37 w 206"/>
                <a:gd name="T3" fmla="*/ 10 h 188"/>
                <a:gd name="T4" fmla="*/ 119 w 206"/>
                <a:gd name="T5" fmla="*/ 188 h 188"/>
                <a:gd name="T6" fmla="*/ 119 w 206"/>
                <a:gd name="T7" fmla="*/ 114 h 188"/>
                <a:gd name="T8" fmla="*/ 119 w 206"/>
                <a:gd name="T9" fmla="*/ 112 h 188"/>
                <a:gd name="T10" fmla="*/ 117 w 206"/>
                <a:gd name="T11" fmla="*/ 113 h 188"/>
                <a:gd name="T12" fmla="*/ 62 w 206"/>
                <a:gd name="T13" fmla="*/ 134 h 188"/>
                <a:gd name="T14" fmla="*/ 0 w 206"/>
                <a:gd name="T15" fmla="*/ 64 h 188"/>
                <a:gd name="T16" fmla="*/ 32 w 206"/>
                <a:gd name="T17" fmla="*/ 1 h 188"/>
                <a:gd name="T18" fmla="*/ 39 w 206"/>
                <a:gd name="T19" fmla="*/ 3 h 188"/>
                <a:gd name="T20" fmla="*/ 205 w 206"/>
                <a:gd name="T21" fmla="*/ 12 h 188"/>
                <a:gd name="T22" fmla="*/ 158 w 206"/>
                <a:gd name="T23" fmla="*/ 45 h 188"/>
                <a:gd name="T24" fmla="*/ 130 w 206"/>
                <a:gd name="T25" fmla="*/ 61 h 188"/>
                <a:gd name="T26" fmla="*/ 112 w 206"/>
                <a:gd name="T27" fmla="*/ 72 h 188"/>
                <a:gd name="T28" fmla="*/ 97 w 206"/>
                <a:gd name="T29" fmla="*/ 100 h 188"/>
                <a:gd name="T30" fmla="*/ 34 w 206"/>
                <a:gd name="T31" fmla="*/ 94 h 188"/>
                <a:gd name="T32" fmla="*/ 25 w 206"/>
                <a:gd name="T33" fmla="*/ 54 h 188"/>
                <a:gd name="T34" fmla="*/ 145 w 206"/>
                <a:gd name="T35" fmla="*/ 1 h 188"/>
                <a:gd name="T36" fmla="*/ 192 w 206"/>
                <a:gd name="T37" fmla="*/ 1 h 188"/>
                <a:gd name="T38" fmla="*/ 204 w 206"/>
                <a:gd name="T39" fmla="*/ 5 h 188"/>
                <a:gd name="T40" fmla="*/ 205 w 206"/>
                <a:gd name="T41"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188">
                  <a:moveTo>
                    <a:pt x="37" y="10"/>
                  </a:moveTo>
                  <a:cubicBezTo>
                    <a:pt x="37" y="10"/>
                    <a:pt x="37" y="10"/>
                    <a:pt x="37" y="10"/>
                  </a:cubicBezTo>
                  <a:moveTo>
                    <a:pt x="119" y="188"/>
                  </a:moveTo>
                  <a:cubicBezTo>
                    <a:pt x="119" y="114"/>
                    <a:pt x="119" y="114"/>
                    <a:pt x="119" y="114"/>
                  </a:cubicBezTo>
                  <a:cubicBezTo>
                    <a:pt x="119" y="113"/>
                    <a:pt x="119" y="113"/>
                    <a:pt x="119" y="112"/>
                  </a:cubicBezTo>
                  <a:cubicBezTo>
                    <a:pt x="118" y="112"/>
                    <a:pt x="117" y="112"/>
                    <a:pt x="117" y="113"/>
                  </a:cubicBezTo>
                  <a:cubicBezTo>
                    <a:pt x="103" y="128"/>
                    <a:pt x="83" y="135"/>
                    <a:pt x="62" y="134"/>
                  </a:cubicBezTo>
                  <a:cubicBezTo>
                    <a:pt x="26" y="132"/>
                    <a:pt x="0" y="103"/>
                    <a:pt x="0" y="64"/>
                  </a:cubicBezTo>
                  <a:cubicBezTo>
                    <a:pt x="0" y="37"/>
                    <a:pt x="12" y="14"/>
                    <a:pt x="32" y="1"/>
                  </a:cubicBezTo>
                  <a:cubicBezTo>
                    <a:pt x="35" y="0"/>
                    <a:pt x="37" y="1"/>
                    <a:pt x="39" y="3"/>
                  </a:cubicBezTo>
                  <a:moveTo>
                    <a:pt x="205" y="12"/>
                  </a:moveTo>
                  <a:cubicBezTo>
                    <a:pt x="203" y="22"/>
                    <a:pt x="191" y="41"/>
                    <a:pt x="158" y="45"/>
                  </a:cubicBezTo>
                  <a:cubicBezTo>
                    <a:pt x="154" y="53"/>
                    <a:pt x="144" y="63"/>
                    <a:pt x="130" y="61"/>
                  </a:cubicBezTo>
                  <a:cubicBezTo>
                    <a:pt x="125" y="67"/>
                    <a:pt x="119" y="71"/>
                    <a:pt x="112" y="72"/>
                  </a:cubicBezTo>
                  <a:cubicBezTo>
                    <a:pt x="111" y="83"/>
                    <a:pt x="105" y="93"/>
                    <a:pt x="97" y="100"/>
                  </a:cubicBezTo>
                  <a:cubicBezTo>
                    <a:pt x="78" y="116"/>
                    <a:pt x="50" y="113"/>
                    <a:pt x="34" y="94"/>
                  </a:cubicBezTo>
                  <a:cubicBezTo>
                    <a:pt x="25" y="83"/>
                    <a:pt x="22" y="68"/>
                    <a:pt x="25" y="54"/>
                  </a:cubicBezTo>
                  <a:cubicBezTo>
                    <a:pt x="25" y="53"/>
                    <a:pt x="34" y="6"/>
                    <a:pt x="145" y="1"/>
                  </a:cubicBezTo>
                  <a:cubicBezTo>
                    <a:pt x="192" y="1"/>
                    <a:pt x="192" y="1"/>
                    <a:pt x="192" y="1"/>
                  </a:cubicBezTo>
                  <a:cubicBezTo>
                    <a:pt x="197" y="1"/>
                    <a:pt x="201" y="2"/>
                    <a:pt x="204" y="5"/>
                  </a:cubicBezTo>
                  <a:cubicBezTo>
                    <a:pt x="205" y="7"/>
                    <a:pt x="206" y="9"/>
                    <a:pt x="205" y="12"/>
                  </a:cubicBez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nvGrpSpPr>
            <p:cNvPr id="32" name="Group 31">
              <a:extLst>
                <a:ext uri="{FF2B5EF4-FFF2-40B4-BE49-F238E27FC236}">
                  <a16:creationId xmlns:a16="http://schemas.microsoft.com/office/drawing/2014/main" id="{B829C5E9-CE1D-42A2-ABD3-F6D941ED6A1D}"/>
                </a:ext>
              </a:extLst>
            </p:cNvPr>
            <p:cNvGrpSpPr/>
            <p:nvPr/>
          </p:nvGrpSpPr>
          <p:grpSpPr>
            <a:xfrm>
              <a:off x="2717648" y="2276835"/>
              <a:ext cx="817825" cy="999905"/>
              <a:chOff x="2717648" y="2276835"/>
              <a:chExt cx="817825" cy="999905"/>
            </a:xfrm>
          </p:grpSpPr>
          <p:sp>
            <p:nvSpPr>
              <p:cNvPr id="29" name="Rectangle 28">
                <a:extLst>
                  <a:ext uri="{FF2B5EF4-FFF2-40B4-BE49-F238E27FC236}">
                    <a16:creationId xmlns:a16="http://schemas.microsoft.com/office/drawing/2014/main" id="{ED84B406-FBEC-4BA4-9745-C63EB53648C3}"/>
                  </a:ext>
                </a:extLst>
              </p:cNvPr>
              <p:cNvSpPr/>
              <p:nvPr/>
            </p:nvSpPr>
            <p:spPr>
              <a:xfrm>
                <a:off x="2717648" y="2895190"/>
                <a:ext cx="817825" cy="381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74" name="Rectangle 373">
                <a:extLst>
                  <a:ext uri="{FF2B5EF4-FFF2-40B4-BE49-F238E27FC236}">
                    <a16:creationId xmlns:a16="http://schemas.microsoft.com/office/drawing/2014/main" id="{3FAAC987-2759-44C1-99CB-11C3D11AF4C5}"/>
                  </a:ext>
                </a:extLst>
              </p:cNvPr>
              <p:cNvSpPr/>
              <p:nvPr/>
            </p:nvSpPr>
            <p:spPr>
              <a:xfrm>
                <a:off x="3339619" y="2865909"/>
                <a:ext cx="177221" cy="191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75" name="Rectangle 374">
                <a:extLst>
                  <a:ext uri="{FF2B5EF4-FFF2-40B4-BE49-F238E27FC236}">
                    <a16:creationId xmlns:a16="http://schemas.microsoft.com/office/drawing/2014/main" id="{F88FEB20-FBDC-4FED-93A0-E873BBF83170}"/>
                  </a:ext>
                </a:extLst>
              </p:cNvPr>
              <p:cNvSpPr/>
              <p:nvPr/>
            </p:nvSpPr>
            <p:spPr>
              <a:xfrm>
                <a:off x="2801100" y="2276835"/>
                <a:ext cx="177221" cy="86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76" name="Rectangle 375">
                <a:extLst>
                  <a:ext uri="{FF2B5EF4-FFF2-40B4-BE49-F238E27FC236}">
                    <a16:creationId xmlns:a16="http://schemas.microsoft.com/office/drawing/2014/main" id="{6EF720C0-073E-40F9-AFC0-7D75D7A1ACC0}"/>
                  </a:ext>
                </a:extLst>
              </p:cNvPr>
              <p:cNvSpPr/>
              <p:nvPr/>
            </p:nvSpPr>
            <p:spPr>
              <a:xfrm>
                <a:off x="2891812" y="2335059"/>
                <a:ext cx="208870" cy="148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77" name="Rectangle 376">
                <a:extLst>
                  <a:ext uri="{FF2B5EF4-FFF2-40B4-BE49-F238E27FC236}">
                    <a16:creationId xmlns:a16="http://schemas.microsoft.com/office/drawing/2014/main" id="{0867C699-7282-41B7-A16D-0ECF761C8EC9}"/>
                  </a:ext>
                </a:extLst>
              </p:cNvPr>
              <p:cNvSpPr/>
              <p:nvPr/>
            </p:nvSpPr>
            <p:spPr>
              <a:xfrm>
                <a:off x="2887005" y="2877660"/>
                <a:ext cx="177221" cy="148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grpSp>
      </p:grpSp>
      <p:sp>
        <p:nvSpPr>
          <p:cNvPr id="380" name="Line 60">
            <a:extLst>
              <a:ext uri="{FF2B5EF4-FFF2-40B4-BE49-F238E27FC236}">
                <a16:creationId xmlns:a16="http://schemas.microsoft.com/office/drawing/2014/main" id="{AD5D1508-6110-484C-8634-6C8D27076A6F}"/>
              </a:ext>
            </a:extLst>
          </p:cNvPr>
          <p:cNvSpPr>
            <a:spLocks noChangeShapeType="1"/>
          </p:cNvSpPr>
          <p:nvPr/>
        </p:nvSpPr>
        <p:spPr bwMode="auto">
          <a:xfrm flipV="1">
            <a:off x="2811821" y="3739559"/>
            <a:ext cx="284466" cy="8726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81" name="Line 60">
            <a:extLst>
              <a:ext uri="{FF2B5EF4-FFF2-40B4-BE49-F238E27FC236}">
                <a16:creationId xmlns:a16="http://schemas.microsoft.com/office/drawing/2014/main" id="{5F00068D-A186-42F4-B010-7A790A3545E5}"/>
              </a:ext>
            </a:extLst>
          </p:cNvPr>
          <p:cNvSpPr>
            <a:spLocks noChangeShapeType="1"/>
          </p:cNvSpPr>
          <p:nvPr/>
        </p:nvSpPr>
        <p:spPr bwMode="auto">
          <a:xfrm flipH="1" flipV="1">
            <a:off x="5065621" y="4054326"/>
            <a:ext cx="327544" cy="291057"/>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383" name="Rectangle 382">
            <a:extLst>
              <a:ext uri="{FF2B5EF4-FFF2-40B4-BE49-F238E27FC236}">
                <a16:creationId xmlns:a16="http://schemas.microsoft.com/office/drawing/2014/main" id="{DB60F979-B2E1-4D9D-9836-BDD4D6612293}"/>
              </a:ext>
            </a:extLst>
          </p:cNvPr>
          <p:cNvSpPr/>
          <p:nvPr/>
        </p:nvSpPr>
        <p:spPr>
          <a:xfrm>
            <a:off x="9030371" y="5175836"/>
            <a:ext cx="2873917" cy="248912"/>
          </a:xfrm>
          <a:prstGeom prst="rect">
            <a:avLst/>
          </a:prstGeom>
        </p:spPr>
        <p:txBody>
          <a:bodyPr wrap="square" lIns="0" tIns="0" rIns="0" bIns="0" anchor="ctr">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 Risk of </a:t>
            </a:r>
            <a:r>
              <a:rPr kumimoji="0" lang="en-GB" sz="1200" b="1"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adverse kidney outcomes*</a:t>
            </a:r>
          </a:p>
        </p:txBody>
      </p:sp>
      <p:grpSp>
        <p:nvGrpSpPr>
          <p:cNvPr id="384" name="Group 383">
            <a:extLst>
              <a:ext uri="{FF2B5EF4-FFF2-40B4-BE49-F238E27FC236}">
                <a16:creationId xmlns:a16="http://schemas.microsoft.com/office/drawing/2014/main" id="{E682935A-89E4-4FBC-A6C6-5ACFC7C20B88}"/>
              </a:ext>
            </a:extLst>
          </p:cNvPr>
          <p:cNvGrpSpPr/>
          <p:nvPr/>
        </p:nvGrpSpPr>
        <p:grpSpPr>
          <a:xfrm>
            <a:off x="8559175" y="5120182"/>
            <a:ext cx="360220" cy="360220"/>
            <a:chOff x="7971396" y="2421606"/>
            <a:chExt cx="360220" cy="360220"/>
          </a:xfrm>
        </p:grpSpPr>
        <p:sp>
          <p:nvSpPr>
            <p:cNvPr id="385" name="Oval 384">
              <a:extLst>
                <a:ext uri="{FF2B5EF4-FFF2-40B4-BE49-F238E27FC236}">
                  <a16:creationId xmlns:a16="http://schemas.microsoft.com/office/drawing/2014/main" id="{098D1A65-13A6-4676-88FD-DBCE10FEC87A}"/>
                </a:ext>
              </a:extLst>
            </p:cNvPr>
            <p:cNvSpPr/>
            <p:nvPr/>
          </p:nvSpPr>
          <p:spPr>
            <a:xfrm>
              <a:off x="7971396" y="2421606"/>
              <a:ext cx="360220" cy="360220"/>
            </a:xfrm>
            <a:prstGeom prst="ellipse">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nvGrpSpPr>
            <p:cNvPr id="386" name="Group 385">
              <a:extLst>
                <a:ext uri="{FF2B5EF4-FFF2-40B4-BE49-F238E27FC236}">
                  <a16:creationId xmlns:a16="http://schemas.microsoft.com/office/drawing/2014/main" id="{05D26FEA-2124-4FD6-BF91-A34672ACA4E9}"/>
                </a:ext>
              </a:extLst>
            </p:cNvPr>
            <p:cNvGrpSpPr/>
            <p:nvPr/>
          </p:nvGrpSpPr>
          <p:grpSpPr>
            <a:xfrm>
              <a:off x="8027524" y="2513475"/>
              <a:ext cx="247962" cy="194972"/>
              <a:chOff x="5341963" y="1514851"/>
              <a:chExt cx="645185" cy="507310"/>
            </a:xfrm>
          </p:grpSpPr>
          <p:grpSp>
            <p:nvGrpSpPr>
              <p:cNvPr id="387" name="Group 386">
                <a:extLst>
                  <a:ext uri="{FF2B5EF4-FFF2-40B4-BE49-F238E27FC236}">
                    <a16:creationId xmlns:a16="http://schemas.microsoft.com/office/drawing/2014/main" id="{E887E20A-E62E-492B-BE35-59F305EBEE57}"/>
                  </a:ext>
                </a:extLst>
              </p:cNvPr>
              <p:cNvGrpSpPr/>
              <p:nvPr/>
            </p:nvGrpSpPr>
            <p:grpSpPr>
              <a:xfrm>
                <a:off x="5341963" y="1514851"/>
                <a:ext cx="645185" cy="507310"/>
                <a:chOff x="5341963" y="1514851"/>
                <a:chExt cx="645185" cy="507310"/>
              </a:xfrm>
            </p:grpSpPr>
            <p:sp>
              <p:nvSpPr>
                <p:cNvPr id="389" name="Freeform 17">
                  <a:extLst>
                    <a:ext uri="{FF2B5EF4-FFF2-40B4-BE49-F238E27FC236}">
                      <a16:creationId xmlns:a16="http://schemas.microsoft.com/office/drawing/2014/main" id="{3658B98E-A96B-470A-8253-720C528821B6}"/>
                    </a:ext>
                  </a:extLst>
                </p:cNvPr>
                <p:cNvSpPr>
                  <a:spLocks/>
                </p:cNvSpPr>
                <p:nvPr/>
              </p:nvSpPr>
              <p:spPr bwMode="auto">
                <a:xfrm>
                  <a:off x="5341963" y="1514851"/>
                  <a:ext cx="277519" cy="406556"/>
                </a:xfrm>
                <a:custGeom>
                  <a:avLst/>
                  <a:gdLst>
                    <a:gd name="T0" fmla="*/ 65 w 66"/>
                    <a:gd name="T1" fmla="*/ 19 h 97"/>
                    <a:gd name="T2" fmla="*/ 59 w 66"/>
                    <a:gd name="T3" fmla="*/ 34 h 97"/>
                    <a:gd name="T4" fmla="*/ 48 w 66"/>
                    <a:gd name="T5" fmla="*/ 68 h 97"/>
                    <a:gd name="T6" fmla="*/ 13 w 66"/>
                    <a:gd name="T7" fmla="*/ 80 h 97"/>
                    <a:gd name="T8" fmla="*/ 35 w 66"/>
                    <a:gd name="T9" fmla="*/ 6 h 97"/>
                    <a:gd name="T10" fmla="*/ 65 w 66"/>
                    <a:gd name="T11" fmla="*/ 19 h 97"/>
                  </a:gdLst>
                  <a:ahLst/>
                  <a:cxnLst>
                    <a:cxn ang="0">
                      <a:pos x="T0" y="T1"/>
                    </a:cxn>
                    <a:cxn ang="0">
                      <a:pos x="T2" y="T3"/>
                    </a:cxn>
                    <a:cxn ang="0">
                      <a:pos x="T4" y="T5"/>
                    </a:cxn>
                    <a:cxn ang="0">
                      <a:pos x="T6" y="T7"/>
                    </a:cxn>
                    <a:cxn ang="0">
                      <a:pos x="T8" y="T9"/>
                    </a:cxn>
                    <a:cxn ang="0">
                      <a:pos x="T10" y="T11"/>
                    </a:cxn>
                  </a:cxnLst>
                  <a:rect l="0" t="0" r="r" b="b"/>
                  <a:pathLst>
                    <a:path w="66" h="97">
                      <a:moveTo>
                        <a:pt x="65" y="19"/>
                      </a:moveTo>
                      <a:cubicBezTo>
                        <a:pt x="66" y="25"/>
                        <a:pt x="63" y="30"/>
                        <a:pt x="59" y="34"/>
                      </a:cubicBezTo>
                      <a:cubicBezTo>
                        <a:pt x="54" y="39"/>
                        <a:pt x="47" y="50"/>
                        <a:pt x="48" y="68"/>
                      </a:cubicBezTo>
                      <a:cubicBezTo>
                        <a:pt x="50" y="95"/>
                        <a:pt x="26" y="97"/>
                        <a:pt x="13" y="80"/>
                      </a:cubicBezTo>
                      <a:cubicBezTo>
                        <a:pt x="0" y="63"/>
                        <a:pt x="3" y="14"/>
                        <a:pt x="35" y="6"/>
                      </a:cubicBezTo>
                      <a:cubicBezTo>
                        <a:pt x="57" y="0"/>
                        <a:pt x="65" y="11"/>
                        <a:pt x="65" y="19"/>
                      </a:cubicBezTo>
                      <a:close/>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390" name="Freeform 18">
                  <a:extLst>
                    <a:ext uri="{FF2B5EF4-FFF2-40B4-BE49-F238E27FC236}">
                      <a16:creationId xmlns:a16="http://schemas.microsoft.com/office/drawing/2014/main" id="{1681E924-DFE1-45D1-AE0D-74F0F769245E}"/>
                    </a:ext>
                  </a:extLst>
                </p:cNvPr>
                <p:cNvSpPr>
                  <a:spLocks/>
                </p:cNvSpPr>
                <p:nvPr/>
              </p:nvSpPr>
              <p:spPr bwMode="auto">
                <a:xfrm>
                  <a:off x="5711398" y="1514851"/>
                  <a:ext cx="275750" cy="406556"/>
                </a:xfrm>
                <a:custGeom>
                  <a:avLst/>
                  <a:gdLst>
                    <a:gd name="T0" fmla="*/ 1 w 66"/>
                    <a:gd name="T1" fmla="*/ 19 h 97"/>
                    <a:gd name="T2" fmla="*/ 7 w 66"/>
                    <a:gd name="T3" fmla="*/ 34 h 97"/>
                    <a:gd name="T4" fmla="*/ 17 w 66"/>
                    <a:gd name="T5" fmla="*/ 68 h 97"/>
                    <a:gd name="T6" fmla="*/ 53 w 66"/>
                    <a:gd name="T7" fmla="*/ 80 h 97"/>
                    <a:gd name="T8" fmla="*/ 31 w 66"/>
                    <a:gd name="T9" fmla="*/ 6 h 97"/>
                    <a:gd name="T10" fmla="*/ 1 w 66"/>
                    <a:gd name="T11" fmla="*/ 19 h 97"/>
                  </a:gdLst>
                  <a:ahLst/>
                  <a:cxnLst>
                    <a:cxn ang="0">
                      <a:pos x="T0" y="T1"/>
                    </a:cxn>
                    <a:cxn ang="0">
                      <a:pos x="T2" y="T3"/>
                    </a:cxn>
                    <a:cxn ang="0">
                      <a:pos x="T4" y="T5"/>
                    </a:cxn>
                    <a:cxn ang="0">
                      <a:pos x="T6" y="T7"/>
                    </a:cxn>
                    <a:cxn ang="0">
                      <a:pos x="T8" y="T9"/>
                    </a:cxn>
                    <a:cxn ang="0">
                      <a:pos x="T10" y="T11"/>
                    </a:cxn>
                  </a:cxnLst>
                  <a:rect l="0" t="0" r="r" b="b"/>
                  <a:pathLst>
                    <a:path w="66" h="97">
                      <a:moveTo>
                        <a:pt x="1" y="19"/>
                      </a:moveTo>
                      <a:cubicBezTo>
                        <a:pt x="0" y="25"/>
                        <a:pt x="3" y="30"/>
                        <a:pt x="7" y="34"/>
                      </a:cubicBezTo>
                      <a:cubicBezTo>
                        <a:pt x="11" y="39"/>
                        <a:pt x="18" y="50"/>
                        <a:pt x="17" y="68"/>
                      </a:cubicBezTo>
                      <a:cubicBezTo>
                        <a:pt x="16" y="95"/>
                        <a:pt x="40" y="97"/>
                        <a:pt x="53" y="80"/>
                      </a:cubicBezTo>
                      <a:cubicBezTo>
                        <a:pt x="66" y="63"/>
                        <a:pt x="62" y="14"/>
                        <a:pt x="31" y="6"/>
                      </a:cubicBezTo>
                      <a:cubicBezTo>
                        <a:pt x="9" y="0"/>
                        <a:pt x="1" y="11"/>
                        <a:pt x="1" y="19"/>
                      </a:cubicBezTo>
                      <a:close/>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391" name="Freeform 19">
                  <a:extLst>
                    <a:ext uri="{FF2B5EF4-FFF2-40B4-BE49-F238E27FC236}">
                      <a16:creationId xmlns:a16="http://schemas.microsoft.com/office/drawing/2014/main" id="{0D63AD80-F836-4F62-A475-8861AD9BF814}"/>
                    </a:ext>
                  </a:extLst>
                </p:cNvPr>
                <p:cNvSpPr>
                  <a:spLocks/>
                </p:cNvSpPr>
                <p:nvPr/>
              </p:nvSpPr>
              <p:spPr bwMode="auto">
                <a:xfrm>
                  <a:off x="5708375" y="1737572"/>
                  <a:ext cx="73727" cy="284589"/>
                </a:xfrm>
                <a:custGeom>
                  <a:avLst/>
                  <a:gdLst>
                    <a:gd name="T0" fmla="*/ 0 w 41"/>
                    <a:gd name="T1" fmla="*/ 68 h 68"/>
                    <a:gd name="T2" fmla="*/ 23 w 41"/>
                    <a:gd name="T3" fmla="*/ 68 h 68"/>
                    <a:gd name="T4" fmla="*/ 23 w 41"/>
                    <a:gd name="T5" fmla="*/ 5 h 68"/>
                    <a:gd name="T6" fmla="*/ 28 w 41"/>
                    <a:gd name="T7" fmla="*/ 0 h 68"/>
                    <a:gd name="T8" fmla="*/ 41 w 41"/>
                    <a:gd name="T9" fmla="*/ 0 h 68"/>
                    <a:gd name="connsiteX0" fmla="*/ 0 w 4390"/>
                    <a:gd name="connsiteY0" fmla="*/ 10000 h 10000"/>
                    <a:gd name="connsiteX1" fmla="*/ 0 w 4390"/>
                    <a:gd name="connsiteY1" fmla="*/ 735 h 10000"/>
                    <a:gd name="connsiteX2" fmla="*/ 1219 w 4390"/>
                    <a:gd name="connsiteY2" fmla="*/ 0 h 10000"/>
                    <a:gd name="connsiteX3" fmla="*/ 4390 w 4390"/>
                    <a:gd name="connsiteY3" fmla="*/ 0 h 10000"/>
                  </a:gdLst>
                  <a:ahLst/>
                  <a:cxnLst>
                    <a:cxn ang="0">
                      <a:pos x="connsiteX0" y="connsiteY0"/>
                    </a:cxn>
                    <a:cxn ang="0">
                      <a:pos x="connsiteX1" y="connsiteY1"/>
                    </a:cxn>
                    <a:cxn ang="0">
                      <a:pos x="connsiteX2" y="connsiteY2"/>
                    </a:cxn>
                    <a:cxn ang="0">
                      <a:pos x="connsiteX3" y="connsiteY3"/>
                    </a:cxn>
                  </a:cxnLst>
                  <a:rect l="l" t="t" r="r" b="b"/>
                  <a:pathLst>
                    <a:path w="4390" h="10000">
                      <a:moveTo>
                        <a:pt x="0" y="10000"/>
                      </a:moveTo>
                      <a:lnTo>
                        <a:pt x="0" y="735"/>
                      </a:lnTo>
                      <a:cubicBezTo>
                        <a:pt x="0" y="294"/>
                        <a:pt x="488" y="0"/>
                        <a:pt x="1219" y="0"/>
                      </a:cubicBezTo>
                      <a:lnTo>
                        <a:pt x="4390" y="0"/>
                      </a:ln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sp>
            <p:nvSpPr>
              <p:cNvPr id="388" name="Freeform 20">
                <a:extLst>
                  <a:ext uri="{FF2B5EF4-FFF2-40B4-BE49-F238E27FC236}">
                    <a16:creationId xmlns:a16="http://schemas.microsoft.com/office/drawing/2014/main" id="{A840EBC5-37B9-4B1A-A603-F846D677CF75}"/>
                  </a:ext>
                </a:extLst>
              </p:cNvPr>
              <p:cNvSpPr>
                <a:spLocks/>
              </p:cNvSpPr>
              <p:nvPr/>
            </p:nvSpPr>
            <p:spPr bwMode="auto">
              <a:xfrm>
                <a:off x="5546630" y="1739397"/>
                <a:ext cx="74562" cy="278711"/>
              </a:xfrm>
              <a:custGeom>
                <a:avLst/>
                <a:gdLst>
                  <a:gd name="T0" fmla="*/ 0 w 19"/>
                  <a:gd name="T1" fmla="*/ 0 h 69"/>
                  <a:gd name="T2" fmla="*/ 13 w 19"/>
                  <a:gd name="T3" fmla="*/ 0 h 69"/>
                  <a:gd name="T4" fmla="*/ 19 w 19"/>
                  <a:gd name="T5" fmla="*/ 6 h 69"/>
                  <a:gd name="T6" fmla="*/ 19 w 19"/>
                  <a:gd name="T7" fmla="*/ 69 h 69"/>
                </a:gdLst>
                <a:ahLst/>
                <a:cxnLst>
                  <a:cxn ang="0">
                    <a:pos x="T0" y="T1"/>
                  </a:cxn>
                  <a:cxn ang="0">
                    <a:pos x="T2" y="T3"/>
                  </a:cxn>
                  <a:cxn ang="0">
                    <a:pos x="T4" y="T5"/>
                  </a:cxn>
                  <a:cxn ang="0">
                    <a:pos x="T6" y="T7"/>
                  </a:cxn>
                </a:cxnLst>
                <a:rect l="0" t="0" r="r" b="b"/>
                <a:pathLst>
                  <a:path w="19" h="69">
                    <a:moveTo>
                      <a:pt x="0" y="0"/>
                    </a:moveTo>
                    <a:cubicBezTo>
                      <a:pt x="13" y="0"/>
                      <a:pt x="13" y="0"/>
                      <a:pt x="13" y="0"/>
                    </a:cubicBezTo>
                    <a:cubicBezTo>
                      <a:pt x="16" y="0"/>
                      <a:pt x="19" y="3"/>
                      <a:pt x="19" y="6"/>
                    </a:cubicBezTo>
                    <a:cubicBezTo>
                      <a:pt x="19" y="69"/>
                      <a:pt x="19" y="69"/>
                      <a:pt x="19" y="69"/>
                    </a:cubicBezTo>
                  </a:path>
                </a:pathLst>
              </a:custGeom>
              <a:noFill/>
              <a:ln w="12700" cap="sq">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grpSp>
      <p:sp>
        <p:nvSpPr>
          <p:cNvPr id="223" name="Rectangle 222">
            <a:extLst>
              <a:ext uri="{FF2B5EF4-FFF2-40B4-BE49-F238E27FC236}">
                <a16:creationId xmlns:a16="http://schemas.microsoft.com/office/drawing/2014/main" id="{E1F8FDB7-EB06-4983-BFBF-A4AF54075947}"/>
              </a:ext>
            </a:extLst>
          </p:cNvPr>
          <p:cNvSpPr/>
          <p:nvPr/>
        </p:nvSpPr>
        <p:spPr>
          <a:xfrm>
            <a:off x="9030371" y="2567741"/>
            <a:ext cx="2873917" cy="248912"/>
          </a:xfrm>
          <a:prstGeom prst="rect">
            <a:avLst/>
          </a:prstGeom>
        </p:spPr>
        <p:txBody>
          <a:bodyPr wrap="square" lIns="0" tIns="0" rIns="0" bIns="0" anchor="ctr">
            <a:noAutofit/>
          </a:bodyPr>
          <a:lstStyle/>
          <a:p>
            <a:pPr marL="85723" marR="0" lvl="0" indent="-85723" algn="l"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 Risk of </a:t>
            </a:r>
            <a:r>
              <a:rPr kumimoji="0" lang="en-GB" sz="1200" b="1" i="0" u="none" strike="noStrike" kern="0" cap="none" spc="0" normalizeH="0" baseline="0" noProof="0" dirty="0">
                <a:ln>
                  <a:noFill/>
                </a:ln>
                <a:solidFill>
                  <a:srgbClr val="EEA7BF">
                    <a:lumMod val="75000"/>
                  </a:srgbClr>
                </a:solidFill>
                <a:effectLst/>
                <a:uLnTx/>
                <a:uFillTx/>
                <a:latin typeface="Apis For Office"/>
                <a:ea typeface="+mn-ea"/>
                <a:cs typeface="Apis For Office" panose="020B0504010101010104" pitchFamily="34" charset="0"/>
              </a:rPr>
              <a:t>MACE</a:t>
            </a:r>
          </a:p>
        </p:txBody>
      </p:sp>
      <p:grpSp>
        <p:nvGrpSpPr>
          <p:cNvPr id="392" name="Group 391">
            <a:extLst>
              <a:ext uri="{FF2B5EF4-FFF2-40B4-BE49-F238E27FC236}">
                <a16:creationId xmlns:a16="http://schemas.microsoft.com/office/drawing/2014/main" id="{EC9A691C-1B0B-42BB-A36C-5C788D0F5FFA}"/>
              </a:ext>
            </a:extLst>
          </p:cNvPr>
          <p:cNvGrpSpPr/>
          <p:nvPr/>
        </p:nvGrpSpPr>
        <p:grpSpPr>
          <a:xfrm>
            <a:off x="8559175" y="2523708"/>
            <a:ext cx="360220" cy="360220"/>
            <a:chOff x="7971396" y="2906892"/>
            <a:chExt cx="360220" cy="360220"/>
          </a:xfrm>
        </p:grpSpPr>
        <p:sp>
          <p:nvSpPr>
            <p:cNvPr id="393" name="Oval 392">
              <a:extLst>
                <a:ext uri="{FF2B5EF4-FFF2-40B4-BE49-F238E27FC236}">
                  <a16:creationId xmlns:a16="http://schemas.microsoft.com/office/drawing/2014/main" id="{5C3FDCDE-4480-4E21-BD39-B393D01AF53E}"/>
                </a:ext>
              </a:extLst>
            </p:cNvPr>
            <p:cNvSpPr/>
            <p:nvPr/>
          </p:nvSpPr>
          <p:spPr>
            <a:xfrm>
              <a:off x="7971396" y="2906892"/>
              <a:ext cx="360220" cy="360220"/>
            </a:xfrm>
            <a:prstGeom prst="ellipse">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grpSp>
          <p:nvGrpSpPr>
            <p:cNvPr id="394" name="Group 393">
              <a:extLst>
                <a:ext uri="{FF2B5EF4-FFF2-40B4-BE49-F238E27FC236}">
                  <a16:creationId xmlns:a16="http://schemas.microsoft.com/office/drawing/2014/main" id="{4FF4DFE9-1982-4486-AF0B-AFA1AC393508}"/>
                </a:ext>
              </a:extLst>
            </p:cNvPr>
            <p:cNvGrpSpPr/>
            <p:nvPr/>
          </p:nvGrpSpPr>
          <p:grpSpPr>
            <a:xfrm>
              <a:off x="8026876" y="2974679"/>
              <a:ext cx="234399" cy="240778"/>
              <a:chOff x="4171792" y="3770348"/>
              <a:chExt cx="519683" cy="533824"/>
            </a:xfrm>
          </p:grpSpPr>
          <p:sp>
            <p:nvSpPr>
              <p:cNvPr id="395" name="Freeform 22">
                <a:extLst>
                  <a:ext uri="{FF2B5EF4-FFF2-40B4-BE49-F238E27FC236}">
                    <a16:creationId xmlns:a16="http://schemas.microsoft.com/office/drawing/2014/main" id="{489BE13A-ADDE-4E3A-9428-10EE18F63614}"/>
                  </a:ext>
                </a:extLst>
              </p:cNvPr>
              <p:cNvSpPr>
                <a:spLocks/>
              </p:cNvSpPr>
              <p:nvPr/>
            </p:nvSpPr>
            <p:spPr bwMode="auto">
              <a:xfrm>
                <a:off x="4514712" y="3925900"/>
                <a:ext cx="54797" cy="5303"/>
              </a:xfrm>
              <a:custGeom>
                <a:avLst/>
                <a:gdLst>
                  <a:gd name="T0" fmla="*/ 13 w 13"/>
                  <a:gd name="T1" fmla="*/ 1 h 1"/>
                  <a:gd name="T2" fmla="*/ 0 w 13"/>
                  <a:gd name="T3" fmla="*/ 0 h 1"/>
                </a:gdLst>
                <a:ahLst/>
                <a:cxnLst>
                  <a:cxn ang="0">
                    <a:pos x="T0" y="T1"/>
                  </a:cxn>
                  <a:cxn ang="0">
                    <a:pos x="T2" y="T3"/>
                  </a:cxn>
                </a:cxnLst>
                <a:rect l="0" t="0" r="r" b="b"/>
                <a:pathLst>
                  <a:path w="13" h="1">
                    <a:moveTo>
                      <a:pt x="13" y="1"/>
                    </a:moveTo>
                    <a:cubicBezTo>
                      <a:pt x="9" y="0"/>
                      <a:pt x="4" y="0"/>
                      <a:pt x="0" y="0"/>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396" name="Freeform 23">
                <a:extLst>
                  <a:ext uri="{FF2B5EF4-FFF2-40B4-BE49-F238E27FC236}">
                    <a16:creationId xmlns:a16="http://schemas.microsoft.com/office/drawing/2014/main" id="{87168D15-F048-4CB8-8780-836D25A305E2}"/>
                  </a:ext>
                </a:extLst>
              </p:cNvPr>
              <p:cNvSpPr>
                <a:spLocks/>
              </p:cNvSpPr>
              <p:nvPr/>
            </p:nvSpPr>
            <p:spPr bwMode="auto">
              <a:xfrm>
                <a:off x="4171792" y="3770348"/>
                <a:ext cx="519683" cy="533824"/>
              </a:xfrm>
              <a:custGeom>
                <a:avLst/>
                <a:gdLst>
                  <a:gd name="T0" fmla="*/ 66 w 124"/>
                  <a:gd name="T1" fmla="*/ 78 h 127"/>
                  <a:gd name="T2" fmla="*/ 81 w 124"/>
                  <a:gd name="T3" fmla="*/ 32 h 127"/>
                  <a:gd name="T4" fmla="*/ 81 w 124"/>
                  <a:gd name="T5" fmla="*/ 32 h 127"/>
                  <a:gd name="T6" fmla="*/ 81 w 124"/>
                  <a:gd name="T7" fmla="*/ 32 h 127"/>
                  <a:gd name="T8" fmla="*/ 88 w 124"/>
                  <a:gd name="T9" fmla="*/ 14 h 127"/>
                  <a:gd name="T10" fmla="*/ 93 w 124"/>
                  <a:gd name="T11" fmla="*/ 8 h 127"/>
                  <a:gd name="T12" fmla="*/ 85 w 124"/>
                  <a:gd name="T13" fmla="*/ 0 h 127"/>
                  <a:gd name="T14" fmla="*/ 65 w 124"/>
                  <a:gd name="T15" fmla="*/ 27 h 127"/>
                  <a:gd name="T16" fmla="*/ 65 w 124"/>
                  <a:gd name="T17" fmla="*/ 27 h 127"/>
                  <a:gd name="T18" fmla="*/ 60 w 124"/>
                  <a:gd name="T19" fmla="*/ 35 h 127"/>
                  <a:gd name="T20" fmla="*/ 53 w 124"/>
                  <a:gd name="T21" fmla="*/ 37 h 127"/>
                  <a:gd name="T22" fmla="*/ 53 w 124"/>
                  <a:gd name="T23" fmla="*/ 37 h 127"/>
                  <a:gd name="T24" fmla="*/ 20 w 124"/>
                  <a:gd name="T25" fmla="*/ 45 h 127"/>
                  <a:gd name="T26" fmla="*/ 73 w 124"/>
                  <a:gd name="T27" fmla="*/ 124 h 127"/>
                  <a:gd name="T28" fmla="*/ 101 w 124"/>
                  <a:gd name="T29" fmla="*/ 105 h 127"/>
                  <a:gd name="T30" fmla="*/ 95 w 124"/>
                  <a:gd name="T31" fmla="*/ 3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127">
                    <a:moveTo>
                      <a:pt x="66" y="78"/>
                    </a:moveTo>
                    <a:cubicBezTo>
                      <a:pt x="83" y="62"/>
                      <a:pt x="82" y="40"/>
                      <a:pt x="81" y="32"/>
                    </a:cubicBezTo>
                    <a:cubicBezTo>
                      <a:pt x="81" y="32"/>
                      <a:pt x="81" y="32"/>
                      <a:pt x="81" y="32"/>
                    </a:cubicBezTo>
                    <a:cubicBezTo>
                      <a:pt x="81" y="32"/>
                      <a:pt x="81" y="32"/>
                      <a:pt x="81" y="32"/>
                    </a:cubicBezTo>
                    <a:cubicBezTo>
                      <a:pt x="81" y="25"/>
                      <a:pt x="83" y="18"/>
                      <a:pt x="88" y="14"/>
                    </a:cubicBezTo>
                    <a:cubicBezTo>
                      <a:pt x="93" y="8"/>
                      <a:pt x="93" y="8"/>
                      <a:pt x="93" y="8"/>
                    </a:cubicBezTo>
                    <a:cubicBezTo>
                      <a:pt x="85" y="0"/>
                      <a:pt x="85" y="0"/>
                      <a:pt x="85" y="0"/>
                    </a:cubicBezTo>
                    <a:cubicBezTo>
                      <a:pt x="78" y="7"/>
                      <a:pt x="69" y="19"/>
                      <a:pt x="65" y="27"/>
                    </a:cubicBezTo>
                    <a:cubicBezTo>
                      <a:pt x="65" y="27"/>
                      <a:pt x="65" y="27"/>
                      <a:pt x="65" y="27"/>
                    </a:cubicBezTo>
                    <a:cubicBezTo>
                      <a:pt x="65" y="27"/>
                      <a:pt x="63" y="31"/>
                      <a:pt x="60" y="35"/>
                    </a:cubicBezTo>
                    <a:cubicBezTo>
                      <a:pt x="59" y="38"/>
                      <a:pt x="55" y="38"/>
                      <a:pt x="53" y="37"/>
                    </a:cubicBezTo>
                    <a:cubicBezTo>
                      <a:pt x="53" y="37"/>
                      <a:pt x="53" y="37"/>
                      <a:pt x="53" y="37"/>
                    </a:cubicBezTo>
                    <a:cubicBezTo>
                      <a:pt x="46" y="34"/>
                      <a:pt x="30" y="29"/>
                      <a:pt x="20" y="45"/>
                    </a:cubicBezTo>
                    <a:cubicBezTo>
                      <a:pt x="0" y="79"/>
                      <a:pt x="53" y="122"/>
                      <a:pt x="73" y="124"/>
                    </a:cubicBezTo>
                    <a:cubicBezTo>
                      <a:pt x="94" y="127"/>
                      <a:pt x="101" y="105"/>
                      <a:pt x="101" y="105"/>
                    </a:cubicBezTo>
                    <a:cubicBezTo>
                      <a:pt x="101" y="105"/>
                      <a:pt x="124" y="52"/>
                      <a:pt x="95" y="38"/>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sp>
            <p:nvSpPr>
              <p:cNvPr id="397" name="Freeform 24">
                <a:extLst>
                  <a:ext uri="{FF2B5EF4-FFF2-40B4-BE49-F238E27FC236}">
                    <a16:creationId xmlns:a16="http://schemas.microsoft.com/office/drawing/2014/main" id="{BB3603CF-4E92-4CB4-B81A-DE9CF1A92F93}"/>
                  </a:ext>
                </a:extLst>
              </p:cNvPr>
              <p:cNvSpPr>
                <a:spLocks/>
              </p:cNvSpPr>
              <p:nvPr/>
            </p:nvSpPr>
            <p:spPr bwMode="auto">
              <a:xfrm>
                <a:off x="4208912" y="3842821"/>
                <a:ext cx="104291" cy="37121"/>
              </a:xfrm>
              <a:custGeom>
                <a:avLst/>
                <a:gdLst>
                  <a:gd name="T0" fmla="*/ 0 w 25"/>
                  <a:gd name="T1" fmla="*/ 2 h 9"/>
                  <a:gd name="T2" fmla="*/ 18 w 25"/>
                  <a:gd name="T3" fmla="*/ 0 h 9"/>
                  <a:gd name="T4" fmla="*/ 21 w 25"/>
                  <a:gd name="T5" fmla="*/ 1 h 9"/>
                  <a:gd name="T6" fmla="*/ 25 w 25"/>
                  <a:gd name="T7" fmla="*/ 9 h 9"/>
                </a:gdLst>
                <a:ahLst/>
                <a:cxnLst>
                  <a:cxn ang="0">
                    <a:pos x="T0" y="T1"/>
                  </a:cxn>
                  <a:cxn ang="0">
                    <a:pos x="T2" y="T3"/>
                  </a:cxn>
                  <a:cxn ang="0">
                    <a:pos x="T4" y="T5"/>
                  </a:cxn>
                  <a:cxn ang="0">
                    <a:pos x="T6" y="T7"/>
                  </a:cxn>
                </a:cxnLst>
                <a:rect l="0" t="0" r="r" b="b"/>
                <a:pathLst>
                  <a:path w="25" h="9">
                    <a:moveTo>
                      <a:pt x="0" y="2"/>
                    </a:moveTo>
                    <a:cubicBezTo>
                      <a:pt x="18" y="0"/>
                      <a:pt x="18" y="0"/>
                      <a:pt x="18" y="0"/>
                    </a:cubicBezTo>
                    <a:cubicBezTo>
                      <a:pt x="19" y="0"/>
                      <a:pt x="20" y="0"/>
                      <a:pt x="21" y="1"/>
                    </a:cubicBezTo>
                    <a:cubicBezTo>
                      <a:pt x="25" y="9"/>
                      <a:pt x="25" y="9"/>
                      <a:pt x="25" y="9"/>
                    </a:cubicBezTo>
                  </a:path>
                </a:pathLst>
              </a:cu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EEA7BF">
                      <a:lumMod val="75000"/>
                    </a:srgbClr>
                  </a:solidFill>
                  <a:effectLst/>
                  <a:uLnTx/>
                  <a:uFillTx/>
                  <a:latin typeface="Apis For Office"/>
                  <a:ea typeface="+mn-ea"/>
                  <a:cs typeface="+mn-cs"/>
                </a:endParaRPr>
              </a:p>
            </p:txBody>
          </p:sp>
          <p:cxnSp>
            <p:nvCxnSpPr>
              <p:cNvPr id="398" name="Straight Connector 397">
                <a:extLst>
                  <a:ext uri="{FF2B5EF4-FFF2-40B4-BE49-F238E27FC236}">
                    <a16:creationId xmlns:a16="http://schemas.microsoft.com/office/drawing/2014/main" id="{56F1F11C-0DA2-4EF5-AC55-A16CC26F2B51}"/>
                  </a:ext>
                </a:extLst>
              </p:cNvPr>
              <p:cNvCxnSpPr/>
              <p:nvPr/>
            </p:nvCxnSpPr>
            <p:spPr>
              <a:xfrm flipH="1" flipV="1">
                <a:off x="4317012" y="3776837"/>
                <a:ext cx="43051" cy="83411"/>
              </a:xfrm>
              <a:prstGeom prst="line">
                <a:avLst/>
              </a:prstGeom>
              <a:noFill/>
              <a:ln w="127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289" name="Rectangle 288">
            <a:extLst>
              <a:ext uri="{FF2B5EF4-FFF2-40B4-BE49-F238E27FC236}">
                <a16:creationId xmlns:a16="http://schemas.microsoft.com/office/drawing/2014/main" id="{1DCDAA0F-F51C-44DD-9AF0-3B494D18BF5D}"/>
              </a:ext>
            </a:extLst>
          </p:cNvPr>
          <p:cNvSpPr/>
          <p:nvPr/>
        </p:nvSpPr>
        <p:spPr>
          <a:xfrm>
            <a:off x="638501" y="2075498"/>
            <a:ext cx="1688290" cy="635772"/>
          </a:xfrm>
          <a:prstGeom prst="rect">
            <a:avLst/>
          </a:prstGeom>
        </p:spPr>
        <p:txBody>
          <a:bodyPr wrap="square" lIns="0" tIns="0" rIns="0" bIns="0" anchor="t">
            <a:noAutofit/>
          </a:bodyPr>
          <a:lstStyle/>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eta-cell func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a:t>
            </a:r>
            <a:endParaRPr kumimoji="0" lang="en-GB" sz="1200" b="0" i="0" u="none" strike="noStrike" kern="1200" cap="none" spc="0" normalizeH="0" baseline="3000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Insulin biosynthesis</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a:t>
            </a: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Glucose-dependent </a:t>
            </a:r>
            <a:b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b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insulin secre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a:t>
            </a: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Glucose-dependent glucagon secre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a:t>
            </a:r>
          </a:p>
        </p:txBody>
      </p:sp>
      <p:sp>
        <p:nvSpPr>
          <p:cNvPr id="134" name="Oval 56">
            <a:extLst>
              <a:ext uri="{FF2B5EF4-FFF2-40B4-BE49-F238E27FC236}">
                <a16:creationId xmlns:a16="http://schemas.microsoft.com/office/drawing/2014/main" id="{C1936C30-3EC8-40E6-ADF8-4BF1720AE3BD}"/>
              </a:ext>
            </a:extLst>
          </p:cNvPr>
          <p:cNvSpPr>
            <a:spLocks noChangeArrowheads="1"/>
          </p:cNvSpPr>
          <p:nvPr/>
        </p:nvSpPr>
        <p:spPr bwMode="auto">
          <a:xfrm>
            <a:off x="3029449" y="2261387"/>
            <a:ext cx="2241355" cy="2244891"/>
          </a:xfrm>
          <a:prstGeom prst="ellipse">
            <a:avLst/>
          </a:prstGeom>
          <a:solidFill>
            <a:schemeClr val="accent5">
              <a:lumMod val="20000"/>
              <a:lumOff val="80000"/>
            </a:schemeClr>
          </a:solidFill>
          <a:ln w="190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35" name="Oval 56">
            <a:extLst>
              <a:ext uri="{FF2B5EF4-FFF2-40B4-BE49-F238E27FC236}">
                <a16:creationId xmlns:a16="http://schemas.microsoft.com/office/drawing/2014/main" id="{305395C4-804D-45FD-BFA6-6668D7308CDD}"/>
              </a:ext>
            </a:extLst>
          </p:cNvPr>
          <p:cNvSpPr>
            <a:spLocks noChangeArrowheads="1"/>
          </p:cNvSpPr>
          <p:nvPr/>
        </p:nvSpPr>
        <p:spPr bwMode="auto">
          <a:xfrm>
            <a:off x="3447616" y="2680214"/>
            <a:ext cx="1405020" cy="1407236"/>
          </a:xfrm>
          <a:prstGeom prst="ellipse">
            <a:avLst/>
          </a:prstGeom>
          <a:solidFill>
            <a:schemeClr val="tx2"/>
          </a:solidFill>
          <a:ln w="19050" cap="flat">
            <a:solidFill>
              <a:srgbClr val="001965"/>
            </a:solidFill>
            <a:prstDash val="solid"/>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pis For Office"/>
                <a:ea typeface="+mn-ea"/>
                <a:cs typeface="+mn-cs"/>
              </a:rPr>
              <a:t>GLP-1RAs</a:t>
            </a:r>
          </a:p>
        </p:txBody>
      </p:sp>
      <p:grpSp>
        <p:nvGrpSpPr>
          <p:cNvPr id="13" name="Group 12">
            <a:extLst>
              <a:ext uri="{FF2B5EF4-FFF2-40B4-BE49-F238E27FC236}">
                <a16:creationId xmlns:a16="http://schemas.microsoft.com/office/drawing/2014/main" id="{EB1F39C3-4969-4F04-950C-8A9C11449C20}"/>
              </a:ext>
            </a:extLst>
          </p:cNvPr>
          <p:cNvGrpSpPr/>
          <p:nvPr/>
        </p:nvGrpSpPr>
        <p:grpSpPr>
          <a:xfrm>
            <a:off x="5359329" y="3130062"/>
            <a:ext cx="689778" cy="1652484"/>
            <a:chOff x="5532458" y="2721806"/>
            <a:chExt cx="821522" cy="1968099"/>
          </a:xfrm>
        </p:grpSpPr>
        <p:sp>
          <p:nvSpPr>
            <p:cNvPr id="9" name="Freeform: Shape 8">
              <a:extLst>
                <a:ext uri="{FF2B5EF4-FFF2-40B4-BE49-F238E27FC236}">
                  <a16:creationId xmlns:a16="http://schemas.microsoft.com/office/drawing/2014/main" id="{45BC6759-1FA2-4E24-A3BD-674FD345AA8C}"/>
                </a:ext>
              </a:extLst>
            </p:cNvPr>
            <p:cNvSpPr/>
            <p:nvPr/>
          </p:nvSpPr>
          <p:spPr>
            <a:xfrm>
              <a:off x="5596080" y="2736107"/>
              <a:ext cx="424443" cy="632539"/>
            </a:xfrm>
            <a:custGeom>
              <a:avLst/>
              <a:gdLst>
                <a:gd name="connsiteX0" fmla="*/ -359 w 424443"/>
                <a:gd name="connsiteY0" fmla="*/ 632294 h 632539"/>
                <a:gd name="connsiteX1" fmla="*/ 70549 w 424443"/>
                <a:gd name="connsiteY1" fmla="*/ 481044 h 632539"/>
                <a:gd name="connsiteX2" fmla="*/ 128371 w 424443"/>
                <a:gd name="connsiteY2" fmla="*/ 464915 h 632539"/>
                <a:gd name="connsiteX3" fmla="*/ 147695 w 424443"/>
                <a:gd name="connsiteY3" fmla="*/ 461720 h 632539"/>
                <a:gd name="connsiteX4" fmla="*/ 147695 w 424443"/>
                <a:gd name="connsiteY4" fmla="*/ 460046 h 632539"/>
                <a:gd name="connsiteX5" fmla="*/ 257100 w 424443"/>
                <a:gd name="connsiteY5" fmla="*/ 397355 h 632539"/>
                <a:gd name="connsiteX6" fmla="*/ 405002 w 424443"/>
                <a:gd name="connsiteY6" fmla="*/ 239562 h 632539"/>
                <a:gd name="connsiteX7" fmla="*/ 419458 w 424443"/>
                <a:gd name="connsiteY7" fmla="*/ 181588 h 632539"/>
                <a:gd name="connsiteX8" fmla="*/ 416262 w 424443"/>
                <a:gd name="connsiteY8" fmla="*/ 151156 h 632539"/>
                <a:gd name="connsiteX9" fmla="*/ 337442 w 424443"/>
                <a:gd name="connsiteY9" fmla="*/ -246 h 63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4443" h="632539">
                  <a:moveTo>
                    <a:pt x="-359" y="632294"/>
                  </a:moveTo>
                  <a:cubicBezTo>
                    <a:pt x="-1881" y="567929"/>
                    <a:pt x="25509" y="508433"/>
                    <a:pt x="70549" y="481044"/>
                  </a:cubicBezTo>
                  <a:cubicBezTo>
                    <a:pt x="88595" y="471975"/>
                    <a:pt x="108239" y="466498"/>
                    <a:pt x="128371" y="464915"/>
                  </a:cubicBezTo>
                  <a:cubicBezTo>
                    <a:pt x="134929" y="464717"/>
                    <a:pt x="141426" y="463652"/>
                    <a:pt x="147695" y="461720"/>
                  </a:cubicBezTo>
                  <a:lnTo>
                    <a:pt x="147695" y="460046"/>
                  </a:lnTo>
                  <a:cubicBezTo>
                    <a:pt x="175084" y="429613"/>
                    <a:pt x="215255" y="413332"/>
                    <a:pt x="257100" y="397355"/>
                  </a:cubicBezTo>
                  <a:cubicBezTo>
                    <a:pt x="329377" y="369966"/>
                    <a:pt x="398611" y="342576"/>
                    <a:pt x="405002" y="239562"/>
                  </a:cubicBezTo>
                  <a:cubicBezTo>
                    <a:pt x="405489" y="219416"/>
                    <a:pt x="410434" y="199620"/>
                    <a:pt x="419458" y="181588"/>
                  </a:cubicBezTo>
                  <a:cubicBezTo>
                    <a:pt x="426000" y="165459"/>
                    <a:pt x="426000" y="163938"/>
                    <a:pt x="416262" y="151156"/>
                  </a:cubicBezTo>
                  <a:cubicBezTo>
                    <a:pt x="390546" y="120723"/>
                    <a:pt x="340181" y="46468"/>
                    <a:pt x="337442" y="-246"/>
                  </a:cubicBez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0" name="Freeform: Shape 9">
              <a:extLst>
                <a:ext uri="{FF2B5EF4-FFF2-40B4-BE49-F238E27FC236}">
                  <a16:creationId xmlns:a16="http://schemas.microsoft.com/office/drawing/2014/main" id="{BA937742-CEA0-414E-94DF-CD27236D256D}"/>
                </a:ext>
              </a:extLst>
            </p:cNvPr>
            <p:cNvSpPr/>
            <p:nvPr/>
          </p:nvSpPr>
          <p:spPr>
            <a:xfrm>
              <a:off x="5961787" y="2721806"/>
              <a:ext cx="324595" cy="673927"/>
            </a:xfrm>
            <a:custGeom>
              <a:avLst/>
              <a:gdLst>
                <a:gd name="connsiteX0" fmla="*/ 61815 w 324595"/>
                <a:gd name="connsiteY0" fmla="*/ -246 h 673927"/>
                <a:gd name="connsiteX1" fmla="*/ 129376 w 324595"/>
                <a:gd name="connsiteY1" fmla="*/ 110833 h 673927"/>
                <a:gd name="connsiteX2" fmla="*/ 164677 w 324595"/>
                <a:gd name="connsiteY2" fmla="*/ 118745 h 673927"/>
                <a:gd name="connsiteX3" fmla="*/ 192066 w 324595"/>
                <a:gd name="connsiteY3" fmla="*/ 123614 h 673927"/>
                <a:gd name="connsiteX4" fmla="*/ 195262 w 324595"/>
                <a:gd name="connsiteY4" fmla="*/ 125288 h 673927"/>
                <a:gd name="connsiteX5" fmla="*/ 323839 w 324595"/>
                <a:gd name="connsiteY5" fmla="*/ 361596 h 673927"/>
                <a:gd name="connsiteX6" fmla="*/ 121311 w 324595"/>
                <a:gd name="connsiteY6" fmla="*/ 656031 h 673927"/>
                <a:gd name="connsiteX7" fmla="*/ -419 w 324595"/>
                <a:gd name="connsiteY7" fmla="*/ 673682 h 67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95" h="673927">
                  <a:moveTo>
                    <a:pt x="61815" y="-246"/>
                  </a:moveTo>
                  <a:cubicBezTo>
                    <a:pt x="65011" y="45403"/>
                    <a:pt x="116442" y="99573"/>
                    <a:pt x="129376" y="110833"/>
                  </a:cubicBezTo>
                  <a:cubicBezTo>
                    <a:pt x="140757" y="114971"/>
                    <a:pt x="152626" y="117634"/>
                    <a:pt x="164677" y="118745"/>
                  </a:cubicBezTo>
                  <a:cubicBezTo>
                    <a:pt x="173974" y="119201"/>
                    <a:pt x="183180" y="120830"/>
                    <a:pt x="192066" y="123614"/>
                  </a:cubicBezTo>
                  <a:cubicBezTo>
                    <a:pt x="193299" y="123751"/>
                    <a:pt x="194440" y="124360"/>
                    <a:pt x="195262" y="125288"/>
                  </a:cubicBezTo>
                  <a:cubicBezTo>
                    <a:pt x="283668" y="151003"/>
                    <a:pt x="328556" y="233019"/>
                    <a:pt x="323839" y="361596"/>
                  </a:cubicBezTo>
                  <a:cubicBezTo>
                    <a:pt x="318970" y="504781"/>
                    <a:pt x="246693" y="610991"/>
                    <a:pt x="121311" y="656031"/>
                  </a:cubicBezTo>
                  <a:cubicBezTo>
                    <a:pt x="81763" y="667580"/>
                    <a:pt x="40786" y="673530"/>
                    <a:pt x="-419" y="673682"/>
                  </a:cubicBez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1" name="Freeform: Shape 10">
              <a:extLst>
                <a:ext uri="{FF2B5EF4-FFF2-40B4-BE49-F238E27FC236}">
                  <a16:creationId xmlns:a16="http://schemas.microsoft.com/office/drawing/2014/main" id="{769B3985-6673-4F71-9BF7-9B9EF0FD9183}"/>
                </a:ext>
              </a:extLst>
            </p:cNvPr>
            <p:cNvSpPr/>
            <p:nvPr/>
          </p:nvSpPr>
          <p:spPr>
            <a:xfrm>
              <a:off x="5684547" y="3293076"/>
              <a:ext cx="276782" cy="102666"/>
            </a:xfrm>
            <a:custGeom>
              <a:avLst/>
              <a:gdLst>
                <a:gd name="connsiteX0" fmla="*/ 276364 w 276783"/>
                <a:gd name="connsiteY0" fmla="*/ 102412 h 102666"/>
                <a:gd name="connsiteX1" fmla="*/ 139417 w 276783"/>
                <a:gd name="connsiteY1" fmla="*/ 73501 h 102666"/>
                <a:gd name="connsiteX2" fmla="*/ 83270 w 276783"/>
                <a:gd name="connsiteY2" fmla="*/ 22070 h 102666"/>
                <a:gd name="connsiteX3" fmla="*/ 31839 w 276783"/>
                <a:gd name="connsiteY3" fmla="*/ 4267 h 102666"/>
                <a:gd name="connsiteX4" fmla="*/ -419 w 276783"/>
                <a:gd name="connsiteY4" fmla="*/ 84761 h 102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783" h="102666">
                  <a:moveTo>
                    <a:pt x="276364" y="102412"/>
                  </a:moveTo>
                  <a:cubicBezTo>
                    <a:pt x="229163" y="102747"/>
                    <a:pt x="182449" y="92886"/>
                    <a:pt x="139417" y="73501"/>
                  </a:cubicBezTo>
                  <a:cubicBezTo>
                    <a:pt x="117126" y="60734"/>
                    <a:pt x="97938" y="43160"/>
                    <a:pt x="83270" y="22070"/>
                  </a:cubicBezTo>
                  <a:cubicBezTo>
                    <a:pt x="70336" y="4267"/>
                    <a:pt x="59076" y="-6993"/>
                    <a:pt x="31839" y="4267"/>
                  </a:cubicBezTo>
                  <a:cubicBezTo>
                    <a:pt x="4602" y="15527"/>
                    <a:pt x="-419" y="49916"/>
                    <a:pt x="-419" y="84761"/>
                  </a:cubicBez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2" name="Freeform: Shape 11">
              <a:extLst>
                <a:ext uri="{FF2B5EF4-FFF2-40B4-BE49-F238E27FC236}">
                  <a16:creationId xmlns:a16="http://schemas.microsoft.com/office/drawing/2014/main" id="{5611AD06-33D2-492F-A815-9D7BAF184711}"/>
                </a:ext>
              </a:extLst>
            </p:cNvPr>
            <p:cNvSpPr/>
            <p:nvPr/>
          </p:nvSpPr>
          <p:spPr>
            <a:xfrm>
              <a:off x="5532458" y="4101915"/>
              <a:ext cx="821522" cy="587990"/>
            </a:xfrm>
            <a:custGeom>
              <a:avLst/>
              <a:gdLst>
                <a:gd name="connsiteX0" fmla="*/ 520295 w 821522"/>
                <a:gd name="connsiteY0" fmla="*/ 317445 h 587989"/>
                <a:gd name="connsiteX1" fmla="*/ 632895 w 821522"/>
                <a:gd name="connsiteY1" fmla="*/ 285034 h 587989"/>
                <a:gd name="connsiteX2" fmla="*/ 805296 w 821522"/>
                <a:gd name="connsiteY2" fmla="*/ 189172 h 587989"/>
                <a:gd name="connsiteX3" fmla="*/ 815490 w 821522"/>
                <a:gd name="connsiteY3" fmla="*/ 100309 h 587989"/>
                <a:gd name="connsiteX4" fmla="*/ 503253 w 821522"/>
                <a:gd name="connsiteY4" fmla="*/ 6272 h 587989"/>
                <a:gd name="connsiteX5" fmla="*/ 481190 w 821522"/>
                <a:gd name="connsiteY5" fmla="*/ 4599 h 587989"/>
                <a:gd name="connsiteX6" fmla="*/ 63047 w 821522"/>
                <a:gd name="connsiteY6" fmla="*/ 59225 h 587989"/>
                <a:gd name="connsiteX7" fmla="*/ 10247 w 821522"/>
                <a:gd name="connsiteY7" fmla="*/ 355181 h 587989"/>
                <a:gd name="connsiteX8" fmla="*/ 10247 w 821522"/>
                <a:gd name="connsiteY8" fmla="*/ 360202 h 587989"/>
                <a:gd name="connsiteX9" fmla="*/ 143236 w 821522"/>
                <a:gd name="connsiteY9" fmla="*/ 582512 h 587989"/>
                <a:gd name="connsiteX10" fmla="*/ 175647 w 821522"/>
                <a:gd name="connsiteY10" fmla="*/ 587685 h 587989"/>
                <a:gd name="connsiteX11" fmla="*/ 290073 w 821522"/>
                <a:gd name="connsiteY11" fmla="*/ 507343 h 587989"/>
                <a:gd name="connsiteX12" fmla="*/ 392326 w 821522"/>
                <a:gd name="connsiteY12" fmla="*/ 428676 h 587989"/>
                <a:gd name="connsiteX13" fmla="*/ 498840 w 821522"/>
                <a:gd name="connsiteY13" fmla="*/ 358528 h 587989"/>
                <a:gd name="connsiteX14" fmla="*/ 520904 w 821522"/>
                <a:gd name="connsiteY14" fmla="*/ 317445 h 587989"/>
                <a:gd name="connsiteX15" fmla="*/ 523947 w 821522"/>
                <a:gd name="connsiteY15" fmla="*/ 262514 h 587989"/>
                <a:gd name="connsiteX16" fmla="*/ 525469 w 821522"/>
                <a:gd name="connsiteY16" fmla="*/ 255819 h 587989"/>
                <a:gd name="connsiteX17" fmla="*/ 519230 w 821522"/>
                <a:gd name="connsiteY17" fmla="*/ 204692 h 58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1522" h="587989">
                  <a:moveTo>
                    <a:pt x="520295" y="317445"/>
                  </a:moveTo>
                  <a:cubicBezTo>
                    <a:pt x="557225" y="304633"/>
                    <a:pt x="594809" y="293814"/>
                    <a:pt x="632895" y="285034"/>
                  </a:cubicBezTo>
                  <a:cubicBezTo>
                    <a:pt x="740474" y="267840"/>
                    <a:pt x="786579" y="223408"/>
                    <a:pt x="805296" y="189172"/>
                  </a:cubicBezTo>
                  <a:cubicBezTo>
                    <a:pt x="821897" y="162589"/>
                    <a:pt x="825640" y="129950"/>
                    <a:pt x="815490" y="100309"/>
                  </a:cubicBezTo>
                  <a:cubicBezTo>
                    <a:pt x="788254" y="23314"/>
                    <a:pt x="551032" y="7946"/>
                    <a:pt x="503253" y="6272"/>
                  </a:cubicBezTo>
                  <a:lnTo>
                    <a:pt x="481190" y="4599"/>
                  </a:lnTo>
                  <a:cubicBezTo>
                    <a:pt x="363416" y="-2249"/>
                    <a:pt x="141563" y="-12596"/>
                    <a:pt x="63047" y="59225"/>
                  </a:cubicBezTo>
                  <a:cubicBezTo>
                    <a:pt x="-20490" y="136219"/>
                    <a:pt x="-1774" y="273013"/>
                    <a:pt x="10247" y="355181"/>
                  </a:cubicBezTo>
                  <a:lnTo>
                    <a:pt x="10247" y="360202"/>
                  </a:lnTo>
                  <a:cubicBezTo>
                    <a:pt x="22115" y="452565"/>
                    <a:pt x="42657" y="539754"/>
                    <a:pt x="143236" y="582512"/>
                  </a:cubicBezTo>
                  <a:cubicBezTo>
                    <a:pt x="153599" y="586346"/>
                    <a:pt x="164615" y="588096"/>
                    <a:pt x="175647" y="587685"/>
                  </a:cubicBezTo>
                  <a:cubicBezTo>
                    <a:pt x="211558" y="587685"/>
                    <a:pt x="257663" y="570643"/>
                    <a:pt x="290073" y="507343"/>
                  </a:cubicBezTo>
                  <a:cubicBezTo>
                    <a:pt x="303616" y="476911"/>
                    <a:pt x="346373" y="452565"/>
                    <a:pt x="392326" y="428676"/>
                  </a:cubicBezTo>
                  <a:cubicBezTo>
                    <a:pt x="430930" y="410386"/>
                    <a:pt x="466780" y="386770"/>
                    <a:pt x="498840" y="358528"/>
                  </a:cubicBezTo>
                  <a:cubicBezTo>
                    <a:pt x="510389" y="347542"/>
                    <a:pt x="518119" y="333148"/>
                    <a:pt x="520904" y="317445"/>
                  </a:cubicBezTo>
                  <a:cubicBezTo>
                    <a:pt x="523141" y="299216"/>
                    <a:pt x="524160" y="280865"/>
                    <a:pt x="523947" y="262514"/>
                  </a:cubicBezTo>
                  <a:cubicBezTo>
                    <a:pt x="523932" y="260201"/>
                    <a:pt x="524465" y="257904"/>
                    <a:pt x="525469" y="255819"/>
                  </a:cubicBezTo>
                  <a:cubicBezTo>
                    <a:pt x="524693" y="238640"/>
                    <a:pt x="522608" y="221552"/>
                    <a:pt x="519230" y="204692"/>
                  </a:cubicBez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grpSp>
        <p:nvGrpSpPr>
          <p:cNvPr id="4" name="Group 3">
            <a:extLst>
              <a:ext uri="{FF2B5EF4-FFF2-40B4-BE49-F238E27FC236}">
                <a16:creationId xmlns:a16="http://schemas.microsoft.com/office/drawing/2014/main" id="{70D9723B-B60F-4FF5-A371-BF5D6A0DD13D}"/>
              </a:ext>
            </a:extLst>
          </p:cNvPr>
          <p:cNvGrpSpPr/>
          <p:nvPr/>
        </p:nvGrpSpPr>
        <p:grpSpPr>
          <a:xfrm>
            <a:off x="3798738" y="4754662"/>
            <a:ext cx="1688290" cy="883115"/>
            <a:chOff x="3513703" y="4754662"/>
            <a:chExt cx="1688290" cy="883115"/>
          </a:xfrm>
        </p:grpSpPr>
        <p:sp>
          <p:nvSpPr>
            <p:cNvPr id="113" name="Textfeld 249">
              <a:extLst>
                <a:ext uri="{FF2B5EF4-FFF2-40B4-BE49-F238E27FC236}">
                  <a16:creationId xmlns:a16="http://schemas.microsoft.com/office/drawing/2014/main" id="{2E54DA97-B404-4F74-BF10-5A7A1B63AAE4}"/>
                </a:ext>
              </a:extLst>
            </p:cNvPr>
            <p:cNvSpPr txBox="1">
              <a:spLocks noChangeArrowheads="1"/>
            </p:cNvSpPr>
            <p:nvPr/>
          </p:nvSpPr>
          <p:spPr bwMode="auto">
            <a:xfrm>
              <a:off x="3513703" y="4754662"/>
              <a:ext cx="966561" cy="30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sym typeface="Symbol" panose="05050102010706020507" pitchFamily="18" charset="2"/>
                </a:rPr>
                <a:t>Kidneys</a:t>
              </a:r>
              <a:endParaRPr kumimoji="0" lang="en-GB" altLang="de-DE" sz="1250" b="1" i="0" u="none" strike="noStrike" kern="0" cap="none" spc="0" normalizeH="0" baseline="0" noProof="0" dirty="0">
                <a:ln>
                  <a:noFill/>
                </a:ln>
                <a:solidFill>
                  <a:srgbClr val="3B97DE"/>
                </a:solidFill>
                <a:effectLst/>
                <a:uLnTx/>
                <a:uFillTx/>
                <a:latin typeface="Apis For Office"/>
                <a:ea typeface="+mn-ea"/>
                <a:cs typeface="Apis For Office" panose="020B0504010101010104" pitchFamily="34" charset="0"/>
              </a:endParaRPr>
            </a:p>
          </p:txBody>
        </p:sp>
        <p:sp>
          <p:nvSpPr>
            <p:cNvPr id="114" name="Rectangle 113">
              <a:extLst>
                <a:ext uri="{FF2B5EF4-FFF2-40B4-BE49-F238E27FC236}">
                  <a16:creationId xmlns:a16="http://schemas.microsoft.com/office/drawing/2014/main" id="{EFC2FF25-5500-41C1-8965-6F1F00C89617}"/>
                </a:ext>
              </a:extLst>
            </p:cNvPr>
            <p:cNvSpPr/>
            <p:nvPr/>
          </p:nvSpPr>
          <p:spPr>
            <a:xfrm>
              <a:off x="3513703" y="5002005"/>
              <a:ext cx="1688290" cy="635772"/>
            </a:xfrm>
            <a:prstGeom prst="rect">
              <a:avLst/>
            </a:prstGeom>
          </p:spPr>
          <p:txBody>
            <a:bodyPr wrap="square" lIns="0" tIns="0" rIns="0" bIns="0" anchor="t">
              <a:noAutofit/>
            </a:bodyPr>
            <a:lstStyle/>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atriuresis</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2</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2</a:t>
              </a:r>
            </a:p>
            <a:p>
              <a:pPr marL="0" marR="0" lvl="0" indent="0" algn="l" defTabSz="1219080" rtl="0" eaLnBrk="1" fontAlgn="auto" latinLnBrk="0" hangingPunct="1">
                <a:lnSpc>
                  <a:spcPct val="11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Apis For Office" panose="020B0504010101010104" pitchFamily="34" charset="0"/>
                </a:rPr>
                <a:t>↓</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 Risk of worsening kidney function</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mn-ea"/>
                  <a:cs typeface="Apis For Office" panose="020B0504010101010104" pitchFamily="34" charset="0"/>
                </a:rPr>
                <a:t>13</a:t>
              </a:r>
            </a:p>
            <a:p>
              <a:pPr marL="0" marR="0" lvl="0" indent="0" algn="l" defTabSz="1219080" rtl="0" eaLnBrk="1" fontAlgn="auto" latinLnBrk="0" hangingPunct="1">
                <a:lnSpc>
                  <a:spcPct val="110000"/>
                </a:lnSpc>
                <a:spcBef>
                  <a:spcPts val="0"/>
                </a:spcBef>
                <a:spcAft>
                  <a:spcPts val="0"/>
                </a:spcAft>
                <a:buClrTx/>
                <a:buSzTx/>
                <a:buFontTx/>
                <a:buNone/>
                <a:tabLst/>
                <a:defRPr/>
              </a:pPr>
              <a:endParaRPr kumimoji="0" lang="en-GB" sz="1200" b="0" i="0" u="none" strike="noStrike" kern="1200" cap="none" spc="0" normalizeH="0" baseline="3000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123" name="Group 122">
            <a:extLst>
              <a:ext uri="{FF2B5EF4-FFF2-40B4-BE49-F238E27FC236}">
                <a16:creationId xmlns:a16="http://schemas.microsoft.com/office/drawing/2014/main" id="{8651FA2E-4320-4216-977F-81917FE43525}"/>
              </a:ext>
            </a:extLst>
          </p:cNvPr>
          <p:cNvGrpSpPr/>
          <p:nvPr/>
        </p:nvGrpSpPr>
        <p:grpSpPr>
          <a:xfrm>
            <a:off x="3048536" y="4633425"/>
            <a:ext cx="609052" cy="483904"/>
            <a:chOff x="5275390" y="1463874"/>
            <a:chExt cx="609052" cy="483904"/>
          </a:xfrm>
        </p:grpSpPr>
        <p:sp>
          <p:nvSpPr>
            <p:cNvPr id="124" name="Freeform 17">
              <a:extLst>
                <a:ext uri="{FF2B5EF4-FFF2-40B4-BE49-F238E27FC236}">
                  <a16:creationId xmlns:a16="http://schemas.microsoft.com/office/drawing/2014/main" id="{6C7864AF-73B8-4A1A-88D4-967275F44199}"/>
                </a:ext>
              </a:extLst>
            </p:cNvPr>
            <p:cNvSpPr>
              <a:spLocks/>
            </p:cNvSpPr>
            <p:nvPr/>
          </p:nvSpPr>
          <p:spPr bwMode="auto">
            <a:xfrm>
              <a:off x="5275390" y="1463874"/>
              <a:ext cx="261977" cy="383787"/>
            </a:xfrm>
            <a:custGeom>
              <a:avLst/>
              <a:gdLst>
                <a:gd name="T0" fmla="*/ 65 w 66"/>
                <a:gd name="T1" fmla="*/ 19 h 97"/>
                <a:gd name="T2" fmla="*/ 59 w 66"/>
                <a:gd name="T3" fmla="*/ 34 h 97"/>
                <a:gd name="T4" fmla="*/ 48 w 66"/>
                <a:gd name="T5" fmla="*/ 68 h 97"/>
                <a:gd name="T6" fmla="*/ 13 w 66"/>
                <a:gd name="T7" fmla="*/ 80 h 97"/>
                <a:gd name="T8" fmla="*/ 35 w 66"/>
                <a:gd name="T9" fmla="*/ 6 h 97"/>
                <a:gd name="T10" fmla="*/ 65 w 66"/>
                <a:gd name="T11" fmla="*/ 19 h 97"/>
              </a:gdLst>
              <a:ahLst/>
              <a:cxnLst>
                <a:cxn ang="0">
                  <a:pos x="T0" y="T1"/>
                </a:cxn>
                <a:cxn ang="0">
                  <a:pos x="T2" y="T3"/>
                </a:cxn>
                <a:cxn ang="0">
                  <a:pos x="T4" y="T5"/>
                </a:cxn>
                <a:cxn ang="0">
                  <a:pos x="T6" y="T7"/>
                </a:cxn>
                <a:cxn ang="0">
                  <a:pos x="T8" y="T9"/>
                </a:cxn>
                <a:cxn ang="0">
                  <a:pos x="T10" y="T11"/>
                </a:cxn>
              </a:cxnLst>
              <a:rect l="0" t="0" r="r" b="b"/>
              <a:pathLst>
                <a:path w="66" h="97">
                  <a:moveTo>
                    <a:pt x="65" y="19"/>
                  </a:moveTo>
                  <a:cubicBezTo>
                    <a:pt x="66" y="25"/>
                    <a:pt x="63" y="30"/>
                    <a:pt x="59" y="34"/>
                  </a:cubicBezTo>
                  <a:cubicBezTo>
                    <a:pt x="54" y="39"/>
                    <a:pt x="47" y="50"/>
                    <a:pt x="48" y="68"/>
                  </a:cubicBezTo>
                  <a:cubicBezTo>
                    <a:pt x="50" y="95"/>
                    <a:pt x="26" y="97"/>
                    <a:pt x="13" y="80"/>
                  </a:cubicBezTo>
                  <a:cubicBezTo>
                    <a:pt x="0" y="63"/>
                    <a:pt x="3" y="14"/>
                    <a:pt x="35" y="6"/>
                  </a:cubicBezTo>
                  <a:cubicBezTo>
                    <a:pt x="57" y="0"/>
                    <a:pt x="65" y="11"/>
                    <a:pt x="65" y="19"/>
                  </a:cubicBez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25" name="Freeform 18">
              <a:extLst>
                <a:ext uri="{FF2B5EF4-FFF2-40B4-BE49-F238E27FC236}">
                  <a16:creationId xmlns:a16="http://schemas.microsoft.com/office/drawing/2014/main" id="{9CCC0003-919E-4230-B781-4155840DCBD7}"/>
                </a:ext>
              </a:extLst>
            </p:cNvPr>
            <p:cNvSpPr>
              <a:spLocks/>
            </p:cNvSpPr>
            <p:nvPr/>
          </p:nvSpPr>
          <p:spPr bwMode="auto">
            <a:xfrm>
              <a:off x="5624135" y="1463874"/>
              <a:ext cx="260307" cy="383787"/>
            </a:xfrm>
            <a:custGeom>
              <a:avLst/>
              <a:gdLst>
                <a:gd name="T0" fmla="*/ 1 w 66"/>
                <a:gd name="T1" fmla="*/ 19 h 97"/>
                <a:gd name="T2" fmla="*/ 7 w 66"/>
                <a:gd name="T3" fmla="*/ 34 h 97"/>
                <a:gd name="T4" fmla="*/ 17 w 66"/>
                <a:gd name="T5" fmla="*/ 68 h 97"/>
                <a:gd name="T6" fmla="*/ 53 w 66"/>
                <a:gd name="T7" fmla="*/ 80 h 97"/>
                <a:gd name="T8" fmla="*/ 31 w 66"/>
                <a:gd name="T9" fmla="*/ 6 h 97"/>
                <a:gd name="T10" fmla="*/ 1 w 66"/>
                <a:gd name="T11" fmla="*/ 19 h 97"/>
              </a:gdLst>
              <a:ahLst/>
              <a:cxnLst>
                <a:cxn ang="0">
                  <a:pos x="T0" y="T1"/>
                </a:cxn>
                <a:cxn ang="0">
                  <a:pos x="T2" y="T3"/>
                </a:cxn>
                <a:cxn ang="0">
                  <a:pos x="T4" y="T5"/>
                </a:cxn>
                <a:cxn ang="0">
                  <a:pos x="T6" y="T7"/>
                </a:cxn>
                <a:cxn ang="0">
                  <a:pos x="T8" y="T9"/>
                </a:cxn>
                <a:cxn ang="0">
                  <a:pos x="T10" y="T11"/>
                </a:cxn>
              </a:cxnLst>
              <a:rect l="0" t="0" r="r" b="b"/>
              <a:pathLst>
                <a:path w="66" h="97">
                  <a:moveTo>
                    <a:pt x="1" y="19"/>
                  </a:moveTo>
                  <a:cubicBezTo>
                    <a:pt x="0" y="25"/>
                    <a:pt x="3" y="30"/>
                    <a:pt x="7" y="34"/>
                  </a:cubicBezTo>
                  <a:cubicBezTo>
                    <a:pt x="11" y="39"/>
                    <a:pt x="18" y="50"/>
                    <a:pt x="17" y="68"/>
                  </a:cubicBezTo>
                  <a:cubicBezTo>
                    <a:pt x="16" y="95"/>
                    <a:pt x="40" y="97"/>
                    <a:pt x="53" y="80"/>
                  </a:cubicBezTo>
                  <a:cubicBezTo>
                    <a:pt x="66" y="63"/>
                    <a:pt x="62" y="14"/>
                    <a:pt x="31" y="6"/>
                  </a:cubicBezTo>
                  <a:cubicBezTo>
                    <a:pt x="9" y="0"/>
                    <a:pt x="1" y="11"/>
                    <a:pt x="1" y="19"/>
                  </a:cubicBez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26" name="Freeform 19">
              <a:extLst>
                <a:ext uri="{FF2B5EF4-FFF2-40B4-BE49-F238E27FC236}">
                  <a16:creationId xmlns:a16="http://schemas.microsoft.com/office/drawing/2014/main" id="{D7F2AABA-201D-456A-8C54-5D21ACEF4B3A}"/>
                </a:ext>
              </a:extLst>
            </p:cNvPr>
            <p:cNvSpPr>
              <a:spLocks/>
            </p:cNvSpPr>
            <p:nvPr/>
          </p:nvSpPr>
          <p:spPr bwMode="auto">
            <a:xfrm>
              <a:off x="5619825" y="1674122"/>
              <a:ext cx="71056" cy="268651"/>
            </a:xfrm>
            <a:custGeom>
              <a:avLst/>
              <a:gdLst>
                <a:gd name="T0" fmla="*/ 0 w 41"/>
                <a:gd name="T1" fmla="*/ 68 h 68"/>
                <a:gd name="T2" fmla="*/ 23 w 41"/>
                <a:gd name="T3" fmla="*/ 68 h 68"/>
                <a:gd name="T4" fmla="*/ 23 w 41"/>
                <a:gd name="T5" fmla="*/ 5 h 68"/>
                <a:gd name="T6" fmla="*/ 28 w 41"/>
                <a:gd name="T7" fmla="*/ 0 h 68"/>
                <a:gd name="T8" fmla="*/ 41 w 41"/>
                <a:gd name="T9" fmla="*/ 0 h 68"/>
                <a:gd name="connsiteX0" fmla="*/ 0 w 4390"/>
                <a:gd name="connsiteY0" fmla="*/ 10000 h 10000"/>
                <a:gd name="connsiteX1" fmla="*/ 0 w 4390"/>
                <a:gd name="connsiteY1" fmla="*/ 735 h 10000"/>
                <a:gd name="connsiteX2" fmla="*/ 1219 w 4390"/>
                <a:gd name="connsiteY2" fmla="*/ 0 h 10000"/>
                <a:gd name="connsiteX3" fmla="*/ 4390 w 4390"/>
                <a:gd name="connsiteY3" fmla="*/ 0 h 10000"/>
              </a:gdLst>
              <a:ahLst/>
              <a:cxnLst>
                <a:cxn ang="0">
                  <a:pos x="connsiteX0" y="connsiteY0"/>
                </a:cxn>
                <a:cxn ang="0">
                  <a:pos x="connsiteX1" y="connsiteY1"/>
                </a:cxn>
                <a:cxn ang="0">
                  <a:pos x="connsiteX2" y="connsiteY2"/>
                </a:cxn>
                <a:cxn ang="0">
                  <a:pos x="connsiteX3" y="connsiteY3"/>
                </a:cxn>
              </a:cxnLst>
              <a:rect l="l" t="t" r="r" b="b"/>
              <a:pathLst>
                <a:path w="4390" h="10000">
                  <a:moveTo>
                    <a:pt x="0" y="10000"/>
                  </a:moveTo>
                  <a:lnTo>
                    <a:pt x="0" y="735"/>
                  </a:lnTo>
                  <a:cubicBezTo>
                    <a:pt x="0" y="294"/>
                    <a:pt x="488" y="0"/>
                    <a:pt x="1219" y="0"/>
                  </a:cubicBezTo>
                  <a:lnTo>
                    <a:pt x="4390" y="0"/>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27" name="Freeform 20">
              <a:extLst>
                <a:ext uri="{FF2B5EF4-FFF2-40B4-BE49-F238E27FC236}">
                  <a16:creationId xmlns:a16="http://schemas.microsoft.com/office/drawing/2014/main" id="{40C30F9C-406D-4CE3-92F3-187517B26B6E}"/>
                </a:ext>
              </a:extLst>
            </p:cNvPr>
            <p:cNvSpPr>
              <a:spLocks/>
            </p:cNvSpPr>
            <p:nvPr/>
          </p:nvSpPr>
          <p:spPr bwMode="auto">
            <a:xfrm>
              <a:off x="5465615" y="1674122"/>
              <a:ext cx="75089" cy="273656"/>
            </a:xfrm>
            <a:custGeom>
              <a:avLst/>
              <a:gdLst>
                <a:gd name="T0" fmla="*/ 0 w 19"/>
                <a:gd name="T1" fmla="*/ 0 h 69"/>
                <a:gd name="T2" fmla="*/ 13 w 19"/>
                <a:gd name="T3" fmla="*/ 0 h 69"/>
                <a:gd name="T4" fmla="*/ 19 w 19"/>
                <a:gd name="T5" fmla="*/ 6 h 69"/>
                <a:gd name="T6" fmla="*/ 19 w 19"/>
                <a:gd name="T7" fmla="*/ 69 h 69"/>
              </a:gdLst>
              <a:ahLst/>
              <a:cxnLst>
                <a:cxn ang="0">
                  <a:pos x="T0" y="T1"/>
                </a:cxn>
                <a:cxn ang="0">
                  <a:pos x="T2" y="T3"/>
                </a:cxn>
                <a:cxn ang="0">
                  <a:pos x="T4" y="T5"/>
                </a:cxn>
                <a:cxn ang="0">
                  <a:pos x="T6" y="T7"/>
                </a:cxn>
              </a:cxnLst>
              <a:rect l="0" t="0" r="r" b="b"/>
              <a:pathLst>
                <a:path w="19" h="69">
                  <a:moveTo>
                    <a:pt x="0" y="0"/>
                  </a:moveTo>
                  <a:cubicBezTo>
                    <a:pt x="13" y="0"/>
                    <a:pt x="13" y="0"/>
                    <a:pt x="13" y="0"/>
                  </a:cubicBezTo>
                  <a:cubicBezTo>
                    <a:pt x="16" y="0"/>
                    <a:pt x="19" y="3"/>
                    <a:pt x="19" y="6"/>
                  </a:cubicBezTo>
                  <a:cubicBezTo>
                    <a:pt x="19" y="69"/>
                    <a:pt x="19" y="69"/>
                    <a:pt x="19" y="69"/>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sp>
        <p:nvSpPr>
          <p:cNvPr id="130" name="Line 60">
            <a:extLst>
              <a:ext uri="{FF2B5EF4-FFF2-40B4-BE49-F238E27FC236}">
                <a16:creationId xmlns:a16="http://schemas.microsoft.com/office/drawing/2014/main" id="{B8899CED-919D-4255-B9C0-D550C7FBDD3F}"/>
              </a:ext>
            </a:extLst>
          </p:cNvPr>
          <p:cNvSpPr>
            <a:spLocks noChangeShapeType="1"/>
          </p:cNvSpPr>
          <p:nvPr/>
        </p:nvSpPr>
        <p:spPr bwMode="auto">
          <a:xfrm flipV="1">
            <a:off x="3568757" y="4431241"/>
            <a:ext cx="144311" cy="24111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1242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D359D4E-AAB4-4B91-8A58-A9CB35E3DB92}"/>
              </a:ext>
            </a:extLst>
          </p:cNvPr>
          <p:cNvSpPr>
            <a:spLocks noGrp="1"/>
          </p:cNvSpPr>
          <p:nvPr>
            <p:ph type="title"/>
          </p:nvPr>
        </p:nvSpPr>
        <p:spPr>
          <a:xfrm>
            <a:off x="642545" y="287060"/>
            <a:ext cx="10896000" cy="1296000"/>
          </a:xfrm>
        </p:spPr>
        <p:txBody>
          <a:bodyPr/>
          <a:lstStyle/>
          <a:p>
            <a:pPr>
              <a:buClr>
                <a:srgbClr val="3B97DE"/>
              </a:buClr>
            </a:pPr>
            <a:r>
              <a:rPr lang="en-US" dirty="0"/>
              <a:t>Weight loss across STEP 1-4</a:t>
            </a:r>
            <a:br>
              <a:rPr lang="en-US" dirty="0"/>
            </a:br>
            <a:r>
              <a:rPr lang="en-GB" sz="1600" b="1" dirty="0">
                <a:solidFill>
                  <a:srgbClr val="3B97DE"/>
                </a:solidFill>
                <a:ea typeface="+mn-ea"/>
                <a:cs typeface="+mn-cs"/>
              </a:rPr>
              <a:t>S</a:t>
            </a:r>
            <a:r>
              <a:rPr lang="en-GB" sz="1600" b="1" dirty="0">
                <a:solidFill>
                  <a:srgbClr val="001965"/>
                </a:solidFill>
                <a:ea typeface="+mn-ea"/>
                <a:cs typeface="+mn-cs"/>
              </a:rPr>
              <a:t>emaglutide </a:t>
            </a:r>
            <a:r>
              <a:rPr lang="en-GB" sz="1600" b="1" dirty="0">
                <a:solidFill>
                  <a:srgbClr val="3B97DE"/>
                </a:solidFill>
                <a:ea typeface="+mn-ea"/>
                <a:cs typeface="+mn-cs"/>
              </a:rPr>
              <a:t>T</a:t>
            </a:r>
            <a:r>
              <a:rPr lang="en-GB" sz="1600" b="1" dirty="0">
                <a:solidFill>
                  <a:srgbClr val="001965"/>
                </a:solidFill>
                <a:ea typeface="+mn-ea"/>
                <a:cs typeface="+mn-cs"/>
              </a:rPr>
              <a:t>reatment </a:t>
            </a:r>
            <a:r>
              <a:rPr lang="en-GB" sz="1600" b="1" dirty="0">
                <a:solidFill>
                  <a:srgbClr val="3B97DE"/>
                </a:solidFill>
                <a:ea typeface="+mn-ea"/>
                <a:cs typeface="+mn-cs"/>
              </a:rPr>
              <a:t>E</a:t>
            </a:r>
            <a:r>
              <a:rPr lang="en-GB" sz="1600" b="1" dirty="0">
                <a:solidFill>
                  <a:srgbClr val="001965"/>
                </a:solidFill>
                <a:ea typeface="+mn-ea"/>
                <a:cs typeface="+mn-cs"/>
              </a:rPr>
              <a:t>ffect in </a:t>
            </a:r>
            <a:r>
              <a:rPr lang="en-GB" sz="1600" b="1" dirty="0">
                <a:solidFill>
                  <a:srgbClr val="3B97DE"/>
                </a:solidFill>
                <a:ea typeface="+mn-ea"/>
                <a:cs typeface="+mn-cs"/>
              </a:rPr>
              <a:t>P</a:t>
            </a:r>
            <a:r>
              <a:rPr lang="en-GB" sz="1600" b="1" dirty="0">
                <a:solidFill>
                  <a:srgbClr val="001965"/>
                </a:solidFill>
                <a:ea typeface="+mn-ea"/>
                <a:cs typeface="+mn-cs"/>
              </a:rPr>
              <a:t>eople with Obesity</a:t>
            </a:r>
            <a:br>
              <a:rPr lang="en-US" dirty="0"/>
            </a:br>
            <a:r>
              <a:rPr lang="en-US" sz="1600" dirty="0">
                <a:solidFill>
                  <a:schemeClr val="accent5"/>
                </a:solidFill>
              </a:rPr>
              <a:t>Semaglutide 2.4 mg once-weekly in subjects with overweight or obesity</a:t>
            </a:r>
            <a:endParaRPr lang="en-GB" sz="2200" dirty="0">
              <a:solidFill>
                <a:schemeClr val="accent5"/>
              </a:solidFill>
            </a:endParaRPr>
          </a:p>
        </p:txBody>
      </p:sp>
      <p:sp>
        <p:nvSpPr>
          <p:cNvPr id="9" name="Text Placeholder 8">
            <a:extLst>
              <a:ext uri="{FF2B5EF4-FFF2-40B4-BE49-F238E27FC236}">
                <a16:creationId xmlns:a16="http://schemas.microsoft.com/office/drawing/2014/main" id="{08731D0F-E6D9-4E4A-8043-04F328F599F6}"/>
              </a:ext>
            </a:extLst>
          </p:cNvPr>
          <p:cNvSpPr>
            <a:spLocks noGrp="1"/>
          </p:cNvSpPr>
          <p:nvPr>
            <p:ph type="body" sz="quarter" idx="13"/>
          </p:nvPr>
        </p:nvSpPr>
        <p:spPr>
          <a:xfrm>
            <a:off x="792243" y="6398845"/>
            <a:ext cx="8652000" cy="324000"/>
          </a:xfrm>
        </p:spPr>
        <p:txBody>
          <a:bodyPr/>
          <a:lstStyle/>
          <a:p>
            <a:r>
              <a:rPr lang="en-GB" dirty="0"/>
              <a:t>*Statistically significant vs placebo. BW, body weight; IBT, intensive behavioural therapy; T2D, type 2 diabetes</a:t>
            </a:r>
            <a:br>
              <a:rPr lang="en-GB" dirty="0"/>
            </a:br>
            <a:r>
              <a:rPr lang="en-GB" dirty="0"/>
              <a:t>Wilding JPH et al. NEJM 2021;384:989–1002; Davies M et al. Lancet 2021; 397: 971–84;; </a:t>
            </a:r>
            <a:r>
              <a:rPr lang="en-GB" dirty="0" err="1"/>
              <a:t>Wadden</a:t>
            </a:r>
            <a:r>
              <a:rPr lang="en-GB" dirty="0"/>
              <a:t> TA et al. JAMA 2021; </a:t>
            </a:r>
            <a:r>
              <a:rPr lang="en-GB" dirty="0" err="1"/>
              <a:t>doi</a:t>
            </a:r>
            <a:r>
              <a:rPr lang="en-GB" dirty="0"/>
              <a:t>: 10.1001/jama.2021.1831. Online ahead of print; </a:t>
            </a:r>
            <a:r>
              <a:rPr lang="en-GB" dirty="0" err="1"/>
              <a:t>Rubino</a:t>
            </a:r>
            <a:r>
              <a:rPr lang="en-GB" dirty="0"/>
              <a:t> DM et al. Presented at the Endocrine Society (ENDO) virtual meeting, March 20-23, 2021.</a:t>
            </a:r>
          </a:p>
        </p:txBody>
      </p:sp>
      <p:grpSp>
        <p:nvGrpSpPr>
          <p:cNvPr id="40" name="Group 39">
            <a:extLst>
              <a:ext uri="{FF2B5EF4-FFF2-40B4-BE49-F238E27FC236}">
                <a16:creationId xmlns:a16="http://schemas.microsoft.com/office/drawing/2014/main" id="{78A303E9-0B9F-4B11-98E3-6730AF591B92}"/>
              </a:ext>
            </a:extLst>
          </p:cNvPr>
          <p:cNvGrpSpPr/>
          <p:nvPr/>
        </p:nvGrpSpPr>
        <p:grpSpPr>
          <a:xfrm>
            <a:off x="3647725" y="2870780"/>
            <a:ext cx="5929722" cy="3008369"/>
            <a:chOff x="3647725" y="3037868"/>
            <a:chExt cx="5929722" cy="3367707"/>
          </a:xfrm>
        </p:grpSpPr>
        <p:cxnSp>
          <p:nvCxnSpPr>
            <p:cNvPr id="10" name="Straight Connector 9">
              <a:extLst>
                <a:ext uri="{FF2B5EF4-FFF2-40B4-BE49-F238E27FC236}">
                  <a16:creationId xmlns:a16="http://schemas.microsoft.com/office/drawing/2014/main" id="{2507B532-68A7-410D-A8D9-F0217D596013}"/>
                </a:ext>
              </a:extLst>
            </p:cNvPr>
            <p:cNvCxnSpPr>
              <a:cxnSpLocks/>
            </p:cNvCxnSpPr>
            <p:nvPr/>
          </p:nvCxnSpPr>
          <p:spPr>
            <a:xfrm>
              <a:off x="3647725" y="3037868"/>
              <a:ext cx="0" cy="3367707"/>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FE40823-506A-4372-9C6A-22FDE40DA1CC}"/>
                </a:ext>
              </a:extLst>
            </p:cNvPr>
            <p:cNvCxnSpPr>
              <a:cxnSpLocks/>
            </p:cNvCxnSpPr>
            <p:nvPr/>
          </p:nvCxnSpPr>
          <p:spPr>
            <a:xfrm>
              <a:off x="5630056" y="3037868"/>
              <a:ext cx="0" cy="3367705"/>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06AB2FE-E137-45E7-8182-F330795AE717}"/>
                </a:ext>
              </a:extLst>
            </p:cNvPr>
            <p:cNvCxnSpPr>
              <a:cxnSpLocks/>
            </p:cNvCxnSpPr>
            <p:nvPr/>
          </p:nvCxnSpPr>
          <p:spPr>
            <a:xfrm>
              <a:off x="9577447" y="3037868"/>
              <a:ext cx="0" cy="3367705"/>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E681DB79-E1EE-4471-8476-B0EDD6D2B448}"/>
              </a:ext>
            </a:extLst>
          </p:cNvPr>
          <p:cNvSpPr txBox="1"/>
          <p:nvPr/>
        </p:nvSpPr>
        <p:spPr>
          <a:xfrm>
            <a:off x="1487222" y="6071002"/>
            <a:ext cx="231820" cy="266676"/>
          </a:xfrm>
          <a:prstGeom prst="rect">
            <a:avLst/>
          </a:prstGeom>
          <a:noFill/>
        </p:spPr>
        <p:txBody>
          <a:bodyPr wrap="square" lIns="0" tIns="0" rIns="0" bIns="0"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4" name="Rectangle 13">
            <a:extLst>
              <a:ext uri="{FF2B5EF4-FFF2-40B4-BE49-F238E27FC236}">
                <a16:creationId xmlns:a16="http://schemas.microsoft.com/office/drawing/2014/main" id="{5CF8D89A-74FD-4B2E-97DF-C5FDFC4ABCC0}"/>
              </a:ext>
            </a:extLst>
          </p:cNvPr>
          <p:cNvSpPr/>
          <p:nvPr/>
        </p:nvSpPr>
        <p:spPr>
          <a:xfrm>
            <a:off x="-10909" y="5899574"/>
            <a:ext cx="12202909" cy="324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ial product </a:t>
            </a:r>
            <a:r>
              <a:rPr kumimoji="0" lang="en-GB" sz="1400" b="1" i="0" u="none" strike="noStrike" kern="1200" cap="none" spc="0" normalizeH="0" baseline="0" noProof="0" dirty="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stimand</a:t>
            </a:r>
            <a:r>
              <a:rPr kumimoji="0" lang="en-GB" sz="14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GB" sz="1400" b="0"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valuates the treatment effect under the assumption that the trial product is taken as intended</a:t>
            </a:r>
            <a:endParaRPr kumimoji="0" lang="en-GB" altLang="en-US" sz="1400" b="0"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 name="TextBox 1">
            <a:extLst>
              <a:ext uri="{FF2B5EF4-FFF2-40B4-BE49-F238E27FC236}">
                <a16:creationId xmlns:a16="http://schemas.microsoft.com/office/drawing/2014/main" id="{3E60F2D3-8B75-49D1-AAA7-5637D3FFA55B}"/>
              </a:ext>
            </a:extLst>
          </p:cNvPr>
          <p:cNvSpPr txBox="1"/>
          <p:nvPr/>
        </p:nvSpPr>
        <p:spPr>
          <a:xfrm>
            <a:off x="2385095" y="5520477"/>
            <a:ext cx="56105" cy="123111"/>
          </a:xfrm>
          <a:prstGeom prst="rect">
            <a:avLst/>
          </a:prstGeom>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t>
            </a:r>
            <a:endParaRPr kumimoji="0" lang="en-GB"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endParaRPr>
          </a:p>
        </p:txBody>
      </p:sp>
      <p:sp>
        <p:nvSpPr>
          <p:cNvPr id="23" name="TextBox 1">
            <a:extLst>
              <a:ext uri="{FF2B5EF4-FFF2-40B4-BE49-F238E27FC236}">
                <a16:creationId xmlns:a16="http://schemas.microsoft.com/office/drawing/2014/main" id="{1EB3D7A1-F1CC-4DBA-B16D-576E9A102CAD}"/>
              </a:ext>
            </a:extLst>
          </p:cNvPr>
          <p:cNvSpPr txBox="1"/>
          <p:nvPr/>
        </p:nvSpPr>
        <p:spPr>
          <a:xfrm>
            <a:off x="4365054" y="5589794"/>
            <a:ext cx="56105" cy="123111"/>
          </a:xfrm>
          <a:prstGeom prst="rect">
            <a:avLst/>
          </a:prstGeom>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t>
            </a:r>
            <a:endParaRPr kumimoji="0" lang="en-GB"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endParaRPr>
          </a:p>
        </p:txBody>
      </p:sp>
      <p:sp>
        <p:nvSpPr>
          <p:cNvPr id="24" name="TextBox 1">
            <a:extLst>
              <a:ext uri="{FF2B5EF4-FFF2-40B4-BE49-F238E27FC236}">
                <a16:creationId xmlns:a16="http://schemas.microsoft.com/office/drawing/2014/main" id="{9E91F64A-44F9-48DA-9817-D9C6F85E5EF6}"/>
              </a:ext>
            </a:extLst>
          </p:cNvPr>
          <p:cNvSpPr txBox="1"/>
          <p:nvPr/>
        </p:nvSpPr>
        <p:spPr>
          <a:xfrm>
            <a:off x="8260594" y="4859144"/>
            <a:ext cx="56105" cy="123111"/>
          </a:xfrm>
          <a:prstGeom prst="rect">
            <a:avLst/>
          </a:prstGeom>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t>
            </a:r>
            <a:endParaRPr kumimoji="0" lang="en-GB"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endParaRPr>
          </a:p>
        </p:txBody>
      </p:sp>
      <p:sp>
        <p:nvSpPr>
          <p:cNvPr id="25" name="TextBox 1">
            <a:extLst>
              <a:ext uri="{FF2B5EF4-FFF2-40B4-BE49-F238E27FC236}">
                <a16:creationId xmlns:a16="http://schemas.microsoft.com/office/drawing/2014/main" id="{92109A56-DF7B-4410-A61A-2FDF82C2E02F}"/>
              </a:ext>
            </a:extLst>
          </p:cNvPr>
          <p:cNvSpPr txBox="1"/>
          <p:nvPr/>
        </p:nvSpPr>
        <p:spPr>
          <a:xfrm>
            <a:off x="6321984" y="5618861"/>
            <a:ext cx="56105" cy="123111"/>
          </a:xfrm>
          <a:prstGeom prst="rect">
            <a:avLst/>
          </a:prstGeom>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t>
            </a:r>
            <a:endParaRPr kumimoji="0" lang="en-GB" sz="1200" b="1"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endParaRPr>
          </a:p>
        </p:txBody>
      </p:sp>
      <p:graphicFrame>
        <p:nvGraphicFramePr>
          <p:cNvPr id="27" name="Object 5">
            <a:extLst>
              <a:ext uri="{FF2B5EF4-FFF2-40B4-BE49-F238E27FC236}">
                <a16:creationId xmlns:a16="http://schemas.microsoft.com/office/drawing/2014/main" id="{2E14CF8D-4D97-4293-8418-CFCD070C247C}"/>
              </a:ext>
            </a:extLst>
          </p:cNvPr>
          <p:cNvGraphicFramePr>
            <a:graphicFrameLocks/>
          </p:cNvGraphicFramePr>
          <p:nvPr/>
        </p:nvGraphicFramePr>
        <p:xfrm>
          <a:off x="22034" y="3187146"/>
          <a:ext cx="11751109" cy="26950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Table 12">
            <a:extLst>
              <a:ext uri="{FF2B5EF4-FFF2-40B4-BE49-F238E27FC236}">
                <a16:creationId xmlns:a16="http://schemas.microsoft.com/office/drawing/2014/main" id="{8AFD497F-E440-4E28-9AFC-2CD2E66B4A8D}"/>
              </a:ext>
            </a:extLst>
          </p:cNvPr>
          <p:cNvGraphicFramePr>
            <a:graphicFrameLocks noGrp="1"/>
          </p:cNvGraphicFramePr>
          <p:nvPr/>
        </p:nvGraphicFramePr>
        <p:xfrm>
          <a:off x="648000" y="1897610"/>
          <a:ext cx="10897200" cy="1101344"/>
        </p:xfrm>
        <a:graphic>
          <a:graphicData uri="http://schemas.openxmlformats.org/drawingml/2006/table">
            <a:tbl>
              <a:tblPr firstRow="1" bandRow="1">
                <a:tableStyleId>{5C22544A-7EE6-4342-B048-85BDC9FD1C3A}</a:tableStyleId>
              </a:tblPr>
              <a:tblGrid>
                <a:gridCol w="1031510">
                  <a:extLst>
                    <a:ext uri="{9D8B030D-6E8A-4147-A177-3AD203B41FA5}">
                      <a16:colId xmlns:a16="http://schemas.microsoft.com/office/drawing/2014/main" val="1536844236"/>
                    </a:ext>
                  </a:extLst>
                </a:gridCol>
                <a:gridCol w="1973138">
                  <a:extLst>
                    <a:ext uri="{9D8B030D-6E8A-4147-A177-3AD203B41FA5}">
                      <a16:colId xmlns:a16="http://schemas.microsoft.com/office/drawing/2014/main" val="3570404481"/>
                    </a:ext>
                  </a:extLst>
                </a:gridCol>
                <a:gridCol w="1973138">
                  <a:extLst>
                    <a:ext uri="{9D8B030D-6E8A-4147-A177-3AD203B41FA5}">
                      <a16:colId xmlns:a16="http://schemas.microsoft.com/office/drawing/2014/main" val="741169096"/>
                    </a:ext>
                  </a:extLst>
                </a:gridCol>
                <a:gridCol w="1973138">
                  <a:extLst>
                    <a:ext uri="{9D8B030D-6E8A-4147-A177-3AD203B41FA5}">
                      <a16:colId xmlns:a16="http://schemas.microsoft.com/office/drawing/2014/main" val="2288600324"/>
                    </a:ext>
                  </a:extLst>
                </a:gridCol>
                <a:gridCol w="1973138">
                  <a:extLst>
                    <a:ext uri="{9D8B030D-6E8A-4147-A177-3AD203B41FA5}">
                      <a16:colId xmlns:a16="http://schemas.microsoft.com/office/drawing/2014/main" val="1535703194"/>
                    </a:ext>
                  </a:extLst>
                </a:gridCol>
                <a:gridCol w="1973138">
                  <a:extLst>
                    <a:ext uri="{9D8B030D-6E8A-4147-A177-3AD203B41FA5}">
                      <a16:colId xmlns:a16="http://schemas.microsoft.com/office/drawing/2014/main" val="1921328839"/>
                    </a:ext>
                  </a:extLst>
                </a:gridCol>
              </a:tblGrid>
              <a:tr h="345440">
                <a:tc>
                  <a:txBody>
                    <a:bodyPr/>
                    <a:lstStyle/>
                    <a:p>
                      <a:pPr algn="ctr"/>
                      <a:endParaRPr lang="en-US" sz="1600" dirty="0">
                        <a:latin typeface="+mj-lt"/>
                      </a:endParaRPr>
                    </a:p>
                  </a:txBody>
                  <a:tcPr marL="121920" marR="121920" marT="60960" marB="6096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600" dirty="0">
                          <a:latin typeface="+mj-lt"/>
                        </a:rPr>
                        <a:t>STEP 1</a:t>
                      </a:r>
                      <a:endParaRPr lang="en-US" sz="1600" dirty="0">
                        <a:latin typeface="+mj-lt"/>
                      </a:endParaRPr>
                    </a:p>
                  </a:txBody>
                  <a:tcPr marL="121920" marR="121920" marT="60960" marB="6096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CA" sz="1600" dirty="0">
                          <a:latin typeface="+mj-lt"/>
                        </a:rPr>
                        <a:t>STEP 3</a:t>
                      </a:r>
                      <a:endParaRPr lang="en-US" sz="1600" dirty="0">
                        <a:latin typeface="+mj-lt"/>
                      </a:endParaRPr>
                    </a:p>
                  </a:txBody>
                  <a:tcPr marL="121920" marR="121920" marT="60960" marB="6096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gn="ctr"/>
                      <a:r>
                        <a:rPr lang="en-CA" sz="1600" dirty="0">
                          <a:latin typeface="+mj-lt"/>
                        </a:rPr>
                        <a:t>STEP 4</a:t>
                      </a:r>
                      <a:endParaRPr lang="en-US" sz="1600" dirty="0">
                        <a:latin typeface="+mj-lt"/>
                      </a:endParaRPr>
                    </a:p>
                  </a:txBody>
                  <a:tcPr marL="121920" marR="121920" marT="60960" marB="6096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endParaRPr lang="en-US" sz="1600" dirty="0">
                        <a:latin typeface="+mj-lt"/>
                      </a:endParaRPr>
                    </a:p>
                  </a:txBody>
                  <a:tcPr marL="121920" marR="121920" marT="60960" marB="6096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02684853"/>
                  </a:ext>
                </a:extLst>
              </a:tr>
              <a:tr h="406400">
                <a:tc>
                  <a:txBody>
                    <a:bodyPr/>
                    <a:lstStyle/>
                    <a:p>
                      <a:pPr marL="0" marR="0" lvl="0" indent="0" algn="ctr" defTabSz="91368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30000" noProof="0" dirty="0">
                        <a:ln>
                          <a:noFill/>
                        </a:ln>
                        <a:solidFill>
                          <a:schemeClr val="bg1"/>
                        </a:solidFill>
                        <a:effectLst/>
                        <a:uLnTx/>
                        <a:uFillTx/>
                        <a:latin typeface="+mj-lt"/>
                        <a:ea typeface="+mn-ea"/>
                        <a:cs typeface="+mn-cs"/>
                      </a:endParaRPr>
                    </a:p>
                  </a:txBody>
                  <a:tcPr marL="0"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68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mj-lt"/>
                          <a:ea typeface="+mn-ea"/>
                          <a:cs typeface="+mn-cs"/>
                        </a:rPr>
                        <a:t>Weight management</a:t>
                      </a:r>
                      <a:endParaRPr kumimoji="0" lang="en-GB" sz="1200" b="0" i="0" u="none" strike="noStrike" kern="1200" cap="none" spc="0" normalizeH="0" baseline="30000" noProof="0" dirty="0">
                        <a:ln>
                          <a:noFill/>
                        </a:ln>
                        <a:solidFill>
                          <a:schemeClr val="bg1"/>
                        </a:solidFill>
                        <a:effectLst/>
                        <a:uLnTx/>
                        <a:uFillTx/>
                        <a:latin typeface="+mj-lt"/>
                        <a:ea typeface="+mn-ea"/>
                        <a:cs typeface="+mn-cs"/>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CA" sz="1200" b="0" dirty="0">
                          <a:solidFill>
                            <a:schemeClr val="bg1"/>
                          </a:solidFill>
                          <a:latin typeface="+mj-lt"/>
                        </a:rPr>
                        <a:t>Weight management </a:t>
                      </a:r>
                      <a:br>
                        <a:rPr lang="en-CA" sz="1200" b="0" dirty="0">
                          <a:solidFill>
                            <a:schemeClr val="bg1"/>
                          </a:solidFill>
                          <a:latin typeface="+mj-lt"/>
                        </a:rPr>
                      </a:br>
                      <a:r>
                        <a:rPr lang="en-CA" sz="1200" b="0" dirty="0">
                          <a:solidFill>
                            <a:schemeClr val="bg1"/>
                          </a:solidFill>
                          <a:latin typeface="+mj-lt"/>
                        </a:rPr>
                        <a:t>with IBT</a:t>
                      </a:r>
                      <a:endParaRPr lang="en-US" sz="1200" b="0" dirty="0">
                        <a:solidFill>
                          <a:schemeClr val="bg1"/>
                        </a:solidFill>
                        <a:latin typeface="+mj-lt"/>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2">
                  <a:txBody>
                    <a:bodyPr/>
                    <a:lstStyle/>
                    <a:p>
                      <a:pPr algn="ctr"/>
                      <a:r>
                        <a:rPr lang="en-CA" sz="1200" b="0" dirty="0">
                          <a:solidFill>
                            <a:schemeClr val="bg1"/>
                          </a:solidFill>
                          <a:latin typeface="+mj-lt"/>
                        </a:rPr>
                        <a:t>Sustained weight management</a:t>
                      </a:r>
                      <a:endParaRPr lang="en-US" sz="1200" b="0" dirty="0">
                        <a:solidFill>
                          <a:schemeClr val="bg1"/>
                        </a:solidFill>
                        <a:latin typeface="+mj-lt"/>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1965"/>
                        </a:solidFill>
                        <a:effectLst/>
                        <a:uLnTx/>
                        <a:uFillTx/>
                        <a:latin typeface="+mn-lt"/>
                        <a:ea typeface="+mn-ea"/>
                        <a:cs typeface="Arial" pitchFamily="34" charset="0"/>
                      </a:endParaRP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355"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mj-lt"/>
                        <a:ea typeface="+mn-ea"/>
                        <a:cs typeface="+mn-cs"/>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27695919"/>
                  </a:ext>
                </a:extLst>
              </a:tr>
              <a:tr h="329184">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lang="en-CA" sz="1200" dirty="0">
                          <a:solidFill>
                            <a:schemeClr val="tx2"/>
                          </a:solidFill>
                          <a:latin typeface="+mj-lt"/>
                          <a:ea typeface="Apis For Office" panose="020B0504010101010104" pitchFamily="34" charset="0"/>
                          <a:cs typeface="Apis For Office" panose="020B0504010101010104" pitchFamily="34" charset="0"/>
                        </a:rPr>
                        <a:t>Baseline BW</a:t>
                      </a:r>
                      <a:endParaRPr lang="en-US" sz="1200" dirty="0">
                        <a:solidFill>
                          <a:schemeClr val="tx2"/>
                        </a:solidFill>
                        <a:latin typeface="+mj-lt"/>
                        <a:ea typeface="Apis For Office" panose="020B0504010101010104" pitchFamily="34" charset="0"/>
                        <a:cs typeface="Apis For Office" panose="020B0504010101010104" pitchFamily="34" charset="0"/>
                      </a:endParaRPr>
                    </a:p>
                  </a:txBody>
                  <a:tcPr marL="0"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ea typeface="+mn-ea"/>
                          <a:cs typeface="+mn-cs"/>
                        </a:rPr>
                        <a:t>105.3 kg</a:t>
                      </a:r>
                      <a:endParaRPr lang="en-US" sz="1200" dirty="0">
                        <a:solidFill>
                          <a:schemeClr val="accent2"/>
                        </a:solidFill>
                        <a:latin typeface="+mj-lt"/>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ea typeface="+mn-ea"/>
                          <a:cs typeface="+mn-cs"/>
                        </a:rPr>
                        <a:t>105.8 k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ea typeface="+mn-ea"/>
                          <a:cs typeface="Apis For Office" panose="020B0504010101010104" pitchFamily="34" charset="0"/>
                        </a:rPr>
                        <a:t>107.2 k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ea typeface="+mn-ea"/>
                          <a:cs typeface="Apis For Office" panose="020B0504010101010104" pitchFamily="34" charset="0"/>
                        </a:rPr>
                        <a:t>96.1 k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1965"/>
                        </a:solidFill>
                        <a:effectLst/>
                        <a:uLnTx/>
                        <a:uFillTx/>
                        <a:latin typeface="+mj-lt"/>
                        <a:ea typeface="+mn-ea"/>
                        <a:cs typeface="+mn-cs"/>
                      </a:endParaRPr>
                    </a:p>
                  </a:txBody>
                  <a:tcPr marL="0" marR="0" marT="0" marB="0"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30290517"/>
                  </a:ext>
                </a:extLst>
              </a:tr>
            </a:tbl>
          </a:graphicData>
        </a:graphic>
      </p:graphicFrame>
      <p:sp>
        <p:nvSpPr>
          <p:cNvPr id="31" name="Rectangle 30">
            <a:extLst>
              <a:ext uri="{FF2B5EF4-FFF2-40B4-BE49-F238E27FC236}">
                <a16:creationId xmlns:a16="http://schemas.microsoft.com/office/drawing/2014/main" id="{36D02F6A-53F6-4D10-A424-9AEAB4210AD8}"/>
              </a:ext>
            </a:extLst>
          </p:cNvPr>
          <p:cNvSpPr/>
          <p:nvPr/>
        </p:nvSpPr>
        <p:spPr>
          <a:xfrm>
            <a:off x="6145063" y="3029116"/>
            <a:ext cx="936538"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rPr>
              <a:t>After 68 weeks</a:t>
            </a:r>
            <a:endParaRPr kumimoji="0" lang="en-GB"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endParaRPr>
          </a:p>
        </p:txBody>
      </p:sp>
      <p:sp>
        <p:nvSpPr>
          <p:cNvPr id="32" name="Rectangle 31">
            <a:extLst>
              <a:ext uri="{FF2B5EF4-FFF2-40B4-BE49-F238E27FC236}">
                <a16:creationId xmlns:a16="http://schemas.microsoft.com/office/drawing/2014/main" id="{30E9D645-D2A1-483C-9C1E-6BAB0FE72D6B}"/>
              </a:ext>
            </a:extLst>
          </p:cNvPr>
          <p:cNvSpPr/>
          <p:nvPr/>
        </p:nvSpPr>
        <p:spPr>
          <a:xfrm>
            <a:off x="8167558" y="3029116"/>
            <a:ext cx="819583"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rPr>
              <a:t>20–68 weeks</a:t>
            </a:r>
            <a:endParaRPr kumimoji="0" lang="en-GB"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endParaRPr>
          </a:p>
        </p:txBody>
      </p:sp>
      <p:sp>
        <p:nvSpPr>
          <p:cNvPr id="33" name="Rectangle 32">
            <a:extLst>
              <a:ext uri="{FF2B5EF4-FFF2-40B4-BE49-F238E27FC236}">
                <a16:creationId xmlns:a16="http://schemas.microsoft.com/office/drawing/2014/main" id="{9E3D50CB-D12B-46B2-B43D-1C16B436B97A}"/>
              </a:ext>
            </a:extLst>
          </p:cNvPr>
          <p:cNvSpPr/>
          <p:nvPr/>
        </p:nvSpPr>
        <p:spPr>
          <a:xfrm>
            <a:off x="4181705" y="3029116"/>
            <a:ext cx="936538"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rPr>
              <a:t>After 68 weeks</a:t>
            </a:r>
            <a:endParaRPr kumimoji="0" lang="en-GB"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endParaRPr>
          </a:p>
        </p:txBody>
      </p:sp>
      <p:sp>
        <p:nvSpPr>
          <p:cNvPr id="34" name="Rectangle 33">
            <a:extLst>
              <a:ext uri="{FF2B5EF4-FFF2-40B4-BE49-F238E27FC236}">
                <a16:creationId xmlns:a16="http://schemas.microsoft.com/office/drawing/2014/main" id="{B9DEE34B-1B35-435A-8EDE-2E3256D0BF03}"/>
              </a:ext>
            </a:extLst>
          </p:cNvPr>
          <p:cNvSpPr/>
          <p:nvPr/>
        </p:nvSpPr>
        <p:spPr>
          <a:xfrm>
            <a:off x="2213681" y="3029116"/>
            <a:ext cx="936538"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rPr>
              <a:t>After 68 weeks</a:t>
            </a:r>
            <a:endParaRPr kumimoji="0" lang="en-GB" sz="1200" b="0" i="0" u="none" strike="noStrike" kern="1200" cap="none" spc="0" normalizeH="0" baseline="0" noProof="0" dirty="0">
              <a:ln>
                <a:noFill/>
              </a:ln>
              <a:solidFill>
                <a:srgbClr val="3B97DE"/>
              </a:solidFill>
              <a:effectLst/>
              <a:uLnTx/>
              <a:uFillTx/>
              <a:latin typeface="Apis For Office"/>
              <a:ea typeface="Apis For Office" panose="020B0504010101010104" pitchFamily="34" charset="0"/>
              <a:cs typeface="Apis For Office" panose="020B0504010101010104" pitchFamily="34" charset="0"/>
            </a:endParaRPr>
          </a:p>
        </p:txBody>
      </p:sp>
      <p:grpSp>
        <p:nvGrpSpPr>
          <p:cNvPr id="42" name="Group 41">
            <a:extLst>
              <a:ext uri="{FF2B5EF4-FFF2-40B4-BE49-F238E27FC236}">
                <a16:creationId xmlns:a16="http://schemas.microsoft.com/office/drawing/2014/main" id="{F246EF1C-4FEA-4126-A046-5222F4EA71E2}"/>
              </a:ext>
            </a:extLst>
          </p:cNvPr>
          <p:cNvGrpSpPr/>
          <p:nvPr/>
        </p:nvGrpSpPr>
        <p:grpSpPr>
          <a:xfrm>
            <a:off x="9722711" y="5572248"/>
            <a:ext cx="735076" cy="184666"/>
            <a:chOff x="9722711" y="5693616"/>
            <a:chExt cx="735076" cy="184666"/>
          </a:xfrm>
        </p:grpSpPr>
        <p:sp>
          <p:nvSpPr>
            <p:cNvPr id="20" name="TextBox 19">
              <a:extLst>
                <a:ext uri="{FF2B5EF4-FFF2-40B4-BE49-F238E27FC236}">
                  <a16:creationId xmlns:a16="http://schemas.microsoft.com/office/drawing/2014/main" id="{2B5A8F48-0492-40FA-9C82-E3A40F1D4000}"/>
                </a:ext>
              </a:extLst>
            </p:cNvPr>
            <p:cNvSpPr txBox="1"/>
            <p:nvPr/>
          </p:nvSpPr>
          <p:spPr>
            <a:xfrm>
              <a:off x="9890324" y="5693616"/>
              <a:ext cx="567463" cy="184666"/>
            </a:xfrm>
            <a:prstGeom prst="rect">
              <a:avLst/>
            </a:prstGeom>
            <a:noFill/>
          </p:spPr>
          <p:txBody>
            <a:bodyPr wrap="none" lIns="0" tIns="0" rIns="0" bIns="0" rtlCol="0" anchor="ctr" anchorCtr="0">
              <a:spAutoFit/>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Placebo</a:t>
              </a:r>
            </a:p>
          </p:txBody>
        </p:sp>
        <p:sp>
          <p:nvSpPr>
            <p:cNvPr id="21" name="Rectangle 20">
              <a:extLst>
                <a:ext uri="{FF2B5EF4-FFF2-40B4-BE49-F238E27FC236}">
                  <a16:creationId xmlns:a16="http://schemas.microsoft.com/office/drawing/2014/main" id="{59FE8B23-9260-4325-AB39-FAE54E4694A0}"/>
                </a:ext>
              </a:extLst>
            </p:cNvPr>
            <p:cNvSpPr/>
            <p:nvPr/>
          </p:nvSpPr>
          <p:spPr>
            <a:xfrm>
              <a:off x="9722711" y="5731949"/>
              <a:ext cx="108000" cy="10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2" name="Rectangle 1">
            <a:extLst>
              <a:ext uri="{FF2B5EF4-FFF2-40B4-BE49-F238E27FC236}">
                <a16:creationId xmlns:a16="http://schemas.microsoft.com/office/drawing/2014/main" id="{1259D97E-1CA6-EC80-D903-B2D821B5F4CD}"/>
              </a:ext>
            </a:extLst>
          </p:cNvPr>
          <p:cNvSpPr/>
          <p:nvPr/>
        </p:nvSpPr>
        <p:spPr>
          <a:xfrm>
            <a:off x="9577447" y="1756372"/>
            <a:ext cx="3402221" cy="41227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err="1">
              <a:ln>
                <a:noFill/>
              </a:ln>
              <a:solidFill>
                <a:srgbClr val="FFFFFF"/>
              </a:solidFill>
              <a:effectLst/>
              <a:uLnTx/>
              <a:uFillTx/>
              <a:latin typeface="Apis For Office"/>
              <a:ea typeface="+mn-ea"/>
              <a:cs typeface="+mn-cs"/>
            </a:endParaRPr>
          </a:p>
        </p:txBody>
      </p:sp>
    </p:spTree>
    <p:extLst>
      <p:ext uri="{BB962C8B-B14F-4D97-AF65-F5344CB8AC3E}">
        <p14:creationId xmlns:p14="http://schemas.microsoft.com/office/powerpoint/2010/main" val="16666360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0F58692B-45B5-EE4A-A156-BBC63601EDD0}"/>
              </a:ext>
            </a:extLst>
          </p:cNvPr>
          <p:cNvSpPr txBox="1"/>
          <p:nvPr/>
        </p:nvSpPr>
        <p:spPr>
          <a:xfrm>
            <a:off x="647702" y="1572356"/>
            <a:ext cx="5262828" cy="274562"/>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rial</a:t>
            </a:r>
          </a:p>
        </p:txBody>
      </p:sp>
      <p:sp>
        <p:nvSpPr>
          <p:cNvPr id="28" name="TextBox 27">
            <a:extLst>
              <a:ext uri="{FF2B5EF4-FFF2-40B4-BE49-F238E27FC236}">
                <a16:creationId xmlns:a16="http://schemas.microsoft.com/office/drawing/2014/main" id="{2690670B-964C-1C4E-BF3A-437985C8E34C}"/>
              </a:ext>
            </a:extLst>
          </p:cNvPr>
          <p:cNvSpPr txBox="1"/>
          <p:nvPr/>
        </p:nvSpPr>
        <p:spPr>
          <a:xfrm>
            <a:off x="6666016" y="1572356"/>
            <a:ext cx="4488727" cy="274562"/>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n-treatment</a:t>
            </a:r>
          </a:p>
        </p:txBody>
      </p:sp>
      <p:sp>
        <p:nvSpPr>
          <p:cNvPr id="2" name="Title 1">
            <a:extLst>
              <a:ext uri="{FF2B5EF4-FFF2-40B4-BE49-F238E27FC236}">
                <a16:creationId xmlns:a16="http://schemas.microsoft.com/office/drawing/2014/main" id="{694E5D29-EA24-484C-876D-85EC552222A8}"/>
              </a:ext>
            </a:extLst>
          </p:cNvPr>
          <p:cNvSpPr>
            <a:spLocks noGrp="1"/>
          </p:cNvSpPr>
          <p:nvPr>
            <p:ph type="title"/>
          </p:nvPr>
        </p:nvSpPr>
        <p:spPr>
          <a:xfrm>
            <a:off x="648000" y="648000"/>
            <a:ext cx="10896000" cy="878690"/>
          </a:xfrm>
        </p:spPr>
        <p:txBody>
          <a:bodyPr anchor="t">
            <a:normAutofit/>
          </a:bodyPr>
          <a:lstStyle/>
          <a:p>
            <a:r>
              <a:rPr lang="en-CA" dirty="0"/>
              <a:t>Categorical body weight loss</a:t>
            </a:r>
            <a:br>
              <a:rPr lang="en-CA" dirty="0"/>
            </a:br>
            <a:r>
              <a:rPr lang="en-CA" sz="2000" dirty="0">
                <a:solidFill>
                  <a:schemeClr val="accent5"/>
                </a:solidFill>
              </a:rPr>
              <a:t>STEP 1</a:t>
            </a:r>
            <a:endParaRPr lang="en-GB" dirty="0">
              <a:solidFill>
                <a:schemeClr val="accent5"/>
              </a:solidFill>
            </a:endParaRPr>
          </a:p>
        </p:txBody>
      </p:sp>
      <p:sp>
        <p:nvSpPr>
          <p:cNvPr id="11" name="Text Placeholder 10">
            <a:extLst>
              <a:ext uri="{FF2B5EF4-FFF2-40B4-BE49-F238E27FC236}">
                <a16:creationId xmlns:a16="http://schemas.microsoft.com/office/drawing/2014/main" id="{020FDFF7-4587-46F9-A19A-439BD9E8738F}"/>
              </a:ext>
            </a:extLst>
          </p:cNvPr>
          <p:cNvSpPr>
            <a:spLocks noGrp="1"/>
          </p:cNvSpPr>
          <p:nvPr>
            <p:ph type="body" sz="quarter" idx="13"/>
          </p:nvPr>
        </p:nvSpPr>
        <p:spPr/>
        <p:txBody>
          <a:bodyPr/>
          <a:lstStyle/>
          <a:p>
            <a:r>
              <a:rPr lang="en-US" dirty="0"/>
              <a:t>§ Proportions are based on observed data.</a:t>
            </a:r>
            <a:br>
              <a:rPr lang="en-US" dirty="0"/>
            </a:br>
            <a:r>
              <a:rPr lang="en-US" i="1" dirty="0">
                <a:ea typeface="Apis For Office" panose="020B0504010101010104" pitchFamily="34" charset="0"/>
                <a:cs typeface="Apis For Office" panose="020B0504010101010104" pitchFamily="34" charset="0"/>
              </a:rPr>
              <a:t>Wilding et al. N Engl J Med 2021;384:989-1002.</a:t>
            </a:r>
            <a:endParaRPr lang="en-US" dirty="0"/>
          </a:p>
        </p:txBody>
      </p:sp>
      <p:graphicFrame>
        <p:nvGraphicFramePr>
          <p:cNvPr id="10" name="Content Placeholder 9">
            <a:extLst>
              <a:ext uri="{FF2B5EF4-FFF2-40B4-BE49-F238E27FC236}">
                <a16:creationId xmlns:a16="http://schemas.microsoft.com/office/drawing/2014/main" id="{A25811EF-55CF-4D69-A42D-3A14AD05E55F}"/>
              </a:ext>
            </a:extLst>
          </p:cNvPr>
          <p:cNvGraphicFramePr>
            <a:graphicFrameLocks noGrp="1"/>
          </p:cNvGraphicFramePr>
          <p:nvPr>
            <p:ph idx="4294967295"/>
          </p:nvPr>
        </p:nvGraphicFramePr>
        <p:xfrm>
          <a:off x="570017" y="1919288"/>
          <a:ext cx="5102225" cy="37719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ontent Placeholder 9">
            <a:extLst>
              <a:ext uri="{FF2B5EF4-FFF2-40B4-BE49-F238E27FC236}">
                <a16:creationId xmlns:a16="http://schemas.microsoft.com/office/drawing/2014/main" id="{D280EDE2-BD8D-402C-8461-8181504E3D63}"/>
              </a:ext>
            </a:extLst>
          </p:cNvPr>
          <p:cNvGraphicFramePr>
            <a:graphicFrameLocks/>
          </p:cNvGraphicFramePr>
          <p:nvPr/>
        </p:nvGraphicFramePr>
        <p:xfrm>
          <a:off x="6095780" y="1720977"/>
          <a:ext cx="5102508" cy="3970545"/>
        </p:xfrm>
        <a:graphic>
          <a:graphicData uri="http://schemas.openxmlformats.org/drawingml/2006/chart">
            <c:chart xmlns:c="http://schemas.openxmlformats.org/drawingml/2006/chart" xmlns:r="http://schemas.openxmlformats.org/officeDocument/2006/relationships" r:id="rId4"/>
          </a:graphicData>
        </a:graphic>
      </p:graphicFrame>
      <p:grpSp>
        <p:nvGrpSpPr>
          <p:cNvPr id="20" name="Group 19">
            <a:extLst>
              <a:ext uri="{FF2B5EF4-FFF2-40B4-BE49-F238E27FC236}">
                <a16:creationId xmlns:a16="http://schemas.microsoft.com/office/drawing/2014/main" id="{D1EB8B95-67A7-464B-9EE3-1A2D84EFA0EB}"/>
              </a:ext>
            </a:extLst>
          </p:cNvPr>
          <p:cNvGrpSpPr/>
          <p:nvPr/>
        </p:nvGrpSpPr>
        <p:grpSpPr>
          <a:xfrm>
            <a:off x="1237101" y="5799386"/>
            <a:ext cx="1536241" cy="364948"/>
            <a:chOff x="636597" y="5684779"/>
            <a:chExt cx="1536240" cy="364947"/>
          </a:xfrm>
        </p:grpSpPr>
        <p:grpSp>
          <p:nvGrpSpPr>
            <p:cNvPr id="21" name="Group 20">
              <a:extLst>
                <a:ext uri="{FF2B5EF4-FFF2-40B4-BE49-F238E27FC236}">
                  <a16:creationId xmlns:a16="http://schemas.microsoft.com/office/drawing/2014/main" id="{2A6B869E-1A2A-E349-942B-369357020179}"/>
                </a:ext>
              </a:extLst>
            </p:cNvPr>
            <p:cNvGrpSpPr/>
            <p:nvPr/>
          </p:nvGrpSpPr>
          <p:grpSpPr>
            <a:xfrm>
              <a:off x="636597" y="5684779"/>
              <a:ext cx="1322476" cy="364947"/>
              <a:chOff x="1033624" y="5926299"/>
              <a:chExt cx="1322476" cy="364947"/>
            </a:xfrm>
          </p:grpSpPr>
          <p:sp>
            <p:nvSpPr>
              <p:cNvPr id="39" name="TextBox 38">
                <a:extLst>
                  <a:ext uri="{FF2B5EF4-FFF2-40B4-BE49-F238E27FC236}">
                    <a16:creationId xmlns:a16="http://schemas.microsoft.com/office/drawing/2014/main" id="{D96386DE-72A7-034F-BEF1-39B810FDD25D}"/>
                  </a:ext>
                </a:extLst>
              </p:cNvPr>
              <p:cNvSpPr txBox="1"/>
              <p:nvPr/>
            </p:nvSpPr>
            <p:spPr>
              <a:xfrm>
                <a:off x="1033624" y="5926299"/>
                <a:ext cx="1322476"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endParaRPr kumimoji="0" lang="en-GB" sz="11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0" name="TextBox 39">
                <a:extLst>
                  <a:ext uri="{FF2B5EF4-FFF2-40B4-BE49-F238E27FC236}">
                    <a16:creationId xmlns:a16="http://schemas.microsoft.com/office/drawing/2014/main" id="{887CDFAF-2672-F046-88C5-DB7C45927248}"/>
                  </a:ext>
                </a:extLst>
              </p:cNvPr>
              <p:cNvSpPr txBox="1"/>
              <p:nvPr/>
            </p:nvSpPr>
            <p:spPr>
              <a:xfrm>
                <a:off x="1836727" y="6102476"/>
                <a:ext cx="519373"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endParaRPr kumimoji="0" lang="en-GB" sz="11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23" name="Group 22">
              <a:extLst>
                <a:ext uri="{FF2B5EF4-FFF2-40B4-BE49-F238E27FC236}">
                  <a16:creationId xmlns:a16="http://schemas.microsoft.com/office/drawing/2014/main" id="{AC636169-5D4B-F949-9659-A9A06F47B0A2}"/>
                </a:ext>
              </a:extLst>
            </p:cNvPr>
            <p:cNvGrpSpPr/>
            <p:nvPr/>
          </p:nvGrpSpPr>
          <p:grpSpPr>
            <a:xfrm>
              <a:off x="2064837" y="5739341"/>
              <a:ext cx="108000" cy="279695"/>
              <a:chOff x="2219415" y="5970120"/>
              <a:chExt cx="108000" cy="279695"/>
            </a:xfrm>
          </p:grpSpPr>
          <p:sp>
            <p:nvSpPr>
              <p:cNvPr id="31" name="Rectangle 30">
                <a:extLst>
                  <a:ext uri="{FF2B5EF4-FFF2-40B4-BE49-F238E27FC236}">
                    <a16:creationId xmlns:a16="http://schemas.microsoft.com/office/drawing/2014/main" id="{E98BEE32-B463-3C4A-9890-C75C5D3779AC}"/>
                  </a:ext>
                </a:extLst>
              </p:cNvPr>
              <p:cNvSpPr/>
              <p:nvPr/>
            </p:nvSpPr>
            <p:spPr>
              <a:xfrm>
                <a:off x="2219415" y="5970120"/>
                <a:ext cx="108000" cy="10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8" name="Rectangle 37">
                <a:extLst>
                  <a:ext uri="{FF2B5EF4-FFF2-40B4-BE49-F238E27FC236}">
                    <a16:creationId xmlns:a16="http://schemas.microsoft.com/office/drawing/2014/main" id="{B865C49E-F442-4849-A099-6EE47E5BE826}"/>
                  </a:ext>
                </a:extLst>
              </p:cNvPr>
              <p:cNvSpPr/>
              <p:nvPr/>
            </p:nvSpPr>
            <p:spPr>
              <a:xfrm>
                <a:off x="2219415" y="6141815"/>
                <a:ext cx="108000" cy="108000"/>
              </a:xfrm>
              <a:prstGeom prst="rect">
                <a:avLst/>
              </a:prstGeom>
              <a:solidFill>
                <a:srgbClr val="939AA7"/>
              </a:solidFill>
              <a:ln>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41" name="Group 40">
            <a:extLst>
              <a:ext uri="{FF2B5EF4-FFF2-40B4-BE49-F238E27FC236}">
                <a16:creationId xmlns:a16="http://schemas.microsoft.com/office/drawing/2014/main" id="{99EBC552-E870-924C-BE7F-72C70A82BA72}"/>
              </a:ext>
            </a:extLst>
          </p:cNvPr>
          <p:cNvGrpSpPr/>
          <p:nvPr/>
        </p:nvGrpSpPr>
        <p:grpSpPr>
          <a:xfrm>
            <a:off x="6696059" y="5799386"/>
            <a:ext cx="1536241" cy="364948"/>
            <a:chOff x="636597" y="5684779"/>
            <a:chExt cx="1536240" cy="364947"/>
          </a:xfrm>
        </p:grpSpPr>
        <p:grpSp>
          <p:nvGrpSpPr>
            <p:cNvPr id="42" name="Group 41">
              <a:extLst>
                <a:ext uri="{FF2B5EF4-FFF2-40B4-BE49-F238E27FC236}">
                  <a16:creationId xmlns:a16="http://schemas.microsoft.com/office/drawing/2014/main" id="{1DDBCE00-2D57-394F-B39C-3369548B59A3}"/>
                </a:ext>
              </a:extLst>
            </p:cNvPr>
            <p:cNvGrpSpPr/>
            <p:nvPr/>
          </p:nvGrpSpPr>
          <p:grpSpPr>
            <a:xfrm>
              <a:off x="636597" y="5684779"/>
              <a:ext cx="1322476" cy="364947"/>
              <a:chOff x="1033624" y="5926299"/>
              <a:chExt cx="1322476" cy="364947"/>
            </a:xfrm>
          </p:grpSpPr>
          <p:sp>
            <p:nvSpPr>
              <p:cNvPr id="46" name="TextBox 45">
                <a:extLst>
                  <a:ext uri="{FF2B5EF4-FFF2-40B4-BE49-F238E27FC236}">
                    <a16:creationId xmlns:a16="http://schemas.microsoft.com/office/drawing/2014/main" id="{E1D481B4-6122-FB41-8BF3-D161D2AB17F4}"/>
                  </a:ext>
                </a:extLst>
              </p:cNvPr>
              <p:cNvSpPr txBox="1"/>
              <p:nvPr/>
            </p:nvSpPr>
            <p:spPr>
              <a:xfrm>
                <a:off x="1033624" y="5926299"/>
                <a:ext cx="1322476"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endPar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7" name="TextBox 46">
                <a:extLst>
                  <a:ext uri="{FF2B5EF4-FFF2-40B4-BE49-F238E27FC236}">
                    <a16:creationId xmlns:a16="http://schemas.microsoft.com/office/drawing/2014/main" id="{99D14F69-720F-D74D-83BE-95133D2DFA37}"/>
                  </a:ext>
                </a:extLst>
              </p:cNvPr>
              <p:cNvSpPr txBox="1"/>
              <p:nvPr/>
            </p:nvSpPr>
            <p:spPr>
              <a:xfrm>
                <a:off x="1836727" y="6102476"/>
                <a:ext cx="519373"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endPar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43" name="Group 42">
              <a:extLst>
                <a:ext uri="{FF2B5EF4-FFF2-40B4-BE49-F238E27FC236}">
                  <a16:creationId xmlns:a16="http://schemas.microsoft.com/office/drawing/2014/main" id="{F4460E03-4FA0-7440-85C6-D6FC1F6E173C}"/>
                </a:ext>
              </a:extLst>
            </p:cNvPr>
            <p:cNvGrpSpPr/>
            <p:nvPr/>
          </p:nvGrpSpPr>
          <p:grpSpPr>
            <a:xfrm>
              <a:off x="2064837" y="5739341"/>
              <a:ext cx="108000" cy="279695"/>
              <a:chOff x="2219415" y="5970120"/>
              <a:chExt cx="108000" cy="279695"/>
            </a:xfrm>
          </p:grpSpPr>
          <p:sp>
            <p:nvSpPr>
              <p:cNvPr id="44" name="Rectangle 43">
                <a:extLst>
                  <a:ext uri="{FF2B5EF4-FFF2-40B4-BE49-F238E27FC236}">
                    <a16:creationId xmlns:a16="http://schemas.microsoft.com/office/drawing/2014/main" id="{82193A66-0CBC-7345-A36D-03F28AFB8072}"/>
                  </a:ext>
                </a:extLst>
              </p:cNvPr>
              <p:cNvSpPr/>
              <p:nvPr/>
            </p:nvSpPr>
            <p:spPr>
              <a:xfrm>
                <a:off x="2219415" y="5970120"/>
                <a:ext cx="108000" cy="108000"/>
              </a:xfrm>
              <a:prstGeom prst="rect">
                <a:avLst/>
              </a:prstGeom>
              <a:solidFill>
                <a:srgbClr val="6774A4"/>
              </a:solidFill>
              <a:ln>
                <a:solidFill>
                  <a:srgbClr val="6774A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5" name="Rectangle 44">
                <a:extLst>
                  <a:ext uri="{FF2B5EF4-FFF2-40B4-BE49-F238E27FC236}">
                    <a16:creationId xmlns:a16="http://schemas.microsoft.com/office/drawing/2014/main" id="{102F71EB-C0C5-9944-A4DB-A9CF408C380A}"/>
                  </a:ext>
                </a:extLst>
              </p:cNvPr>
              <p:cNvSpPr/>
              <p:nvPr/>
            </p:nvSpPr>
            <p:spPr>
              <a:xfrm>
                <a:off x="2219415" y="6141815"/>
                <a:ext cx="108000" cy="108000"/>
              </a:xfrm>
              <a:prstGeom prst="rect">
                <a:avLst/>
              </a:prstGeom>
              <a:solidFill>
                <a:srgbClr val="BFC2CA"/>
              </a:solidFill>
              <a:ln>
                <a:solidFill>
                  <a:srgbClr val="BFC2C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sp>
        <p:nvSpPr>
          <p:cNvPr id="3" name="TextBox 2">
            <a:extLst>
              <a:ext uri="{FF2B5EF4-FFF2-40B4-BE49-F238E27FC236}">
                <a16:creationId xmlns:a16="http://schemas.microsoft.com/office/drawing/2014/main" id="{94A586D4-5F54-400B-A9B9-34D5A4CC9A1F}"/>
              </a:ext>
            </a:extLst>
          </p:cNvPr>
          <p:cNvSpPr txBox="1"/>
          <p:nvPr/>
        </p:nvSpPr>
        <p:spPr>
          <a:xfrm>
            <a:off x="1559557"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a:t>
            </a:r>
          </a:p>
        </p:txBody>
      </p:sp>
      <p:sp>
        <p:nvSpPr>
          <p:cNvPr id="24" name="TextBox 23">
            <a:extLst>
              <a:ext uri="{FF2B5EF4-FFF2-40B4-BE49-F238E27FC236}">
                <a16:creationId xmlns:a16="http://schemas.microsoft.com/office/drawing/2014/main" id="{20D29CE4-926E-416A-9A75-23A51B02098B}"/>
              </a:ext>
            </a:extLst>
          </p:cNvPr>
          <p:cNvSpPr txBox="1"/>
          <p:nvPr/>
        </p:nvSpPr>
        <p:spPr>
          <a:xfrm>
            <a:off x="2653658"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a:t>
            </a:r>
          </a:p>
        </p:txBody>
      </p:sp>
      <p:sp>
        <p:nvSpPr>
          <p:cNvPr id="25" name="TextBox 24">
            <a:extLst>
              <a:ext uri="{FF2B5EF4-FFF2-40B4-BE49-F238E27FC236}">
                <a16:creationId xmlns:a16="http://schemas.microsoft.com/office/drawing/2014/main" id="{6B243A96-67E6-4688-8404-18CF8873EC1C}"/>
              </a:ext>
            </a:extLst>
          </p:cNvPr>
          <p:cNvSpPr txBox="1"/>
          <p:nvPr/>
        </p:nvSpPr>
        <p:spPr>
          <a:xfrm>
            <a:off x="3743972"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a:t>
            </a:r>
          </a:p>
        </p:txBody>
      </p:sp>
      <p:sp>
        <p:nvSpPr>
          <p:cNvPr id="27" name="TextBox 26">
            <a:extLst>
              <a:ext uri="{FF2B5EF4-FFF2-40B4-BE49-F238E27FC236}">
                <a16:creationId xmlns:a16="http://schemas.microsoft.com/office/drawing/2014/main" id="{9C2B0B89-2B58-4972-A880-9135EF49A15C}"/>
              </a:ext>
            </a:extLst>
          </p:cNvPr>
          <p:cNvSpPr txBox="1"/>
          <p:nvPr/>
        </p:nvSpPr>
        <p:spPr>
          <a:xfrm>
            <a:off x="4839307"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
        <p:nvSpPr>
          <p:cNvPr id="29" name="TextBox 28">
            <a:extLst>
              <a:ext uri="{FF2B5EF4-FFF2-40B4-BE49-F238E27FC236}">
                <a16:creationId xmlns:a16="http://schemas.microsoft.com/office/drawing/2014/main" id="{4C8958E8-7A6D-49D3-9EEF-35A68BECB7CC}"/>
              </a:ext>
            </a:extLst>
          </p:cNvPr>
          <p:cNvSpPr txBox="1"/>
          <p:nvPr/>
        </p:nvSpPr>
        <p:spPr>
          <a:xfrm>
            <a:off x="7000397"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a:t>
            </a:r>
          </a:p>
        </p:txBody>
      </p:sp>
      <p:sp>
        <p:nvSpPr>
          <p:cNvPr id="32" name="TextBox 31">
            <a:extLst>
              <a:ext uri="{FF2B5EF4-FFF2-40B4-BE49-F238E27FC236}">
                <a16:creationId xmlns:a16="http://schemas.microsoft.com/office/drawing/2014/main" id="{67507BD9-DB73-4C6C-89AD-8BC943633007}"/>
              </a:ext>
            </a:extLst>
          </p:cNvPr>
          <p:cNvSpPr txBox="1"/>
          <p:nvPr/>
        </p:nvSpPr>
        <p:spPr>
          <a:xfrm>
            <a:off x="8132598"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a:t>
            </a:r>
          </a:p>
        </p:txBody>
      </p:sp>
      <p:sp>
        <p:nvSpPr>
          <p:cNvPr id="33" name="TextBox 32">
            <a:extLst>
              <a:ext uri="{FF2B5EF4-FFF2-40B4-BE49-F238E27FC236}">
                <a16:creationId xmlns:a16="http://schemas.microsoft.com/office/drawing/2014/main" id="{1FE1514D-2261-4F31-8C26-029E6904214A}"/>
              </a:ext>
            </a:extLst>
          </p:cNvPr>
          <p:cNvSpPr txBox="1"/>
          <p:nvPr/>
        </p:nvSpPr>
        <p:spPr>
          <a:xfrm>
            <a:off x="9270537"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a:t>
            </a:r>
          </a:p>
        </p:txBody>
      </p:sp>
      <p:sp>
        <p:nvSpPr>
          <p:cNvPr id="34" name="TextBox 33">
            <a:extLst>
              <a:ext uri="{FF2B5EF4-FFF2-40B4-BE49-F238E27FC236}">
                <a16:creationId xmlns:a16="http://schemas.microsoft.com/office/drawing/2014/main" id="{B7FA5D87-40E6-44B3-AAD6-0D7656A8394E}"/>
              </a:ext>
            </a:extLst>
          </p:cNvPr>
          <p:cNvSpPr txBox="1"/>
          <p:nvPr/>
        </p:nvSpPr>
        <p:spPr>
          <a:xfrm>
            <a:off x="10384922"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
        <p:nvSpPr>
          <p:cNvPr id="4" name="Rectangle 3">
            <a:extLst>
              <a:ext uri="{FF2B5EF4-FFF2-40B4-BE49-F238E27FC236}">
                <a16:creationId xmlns:a16="http://schemas.microsoft.com/office/drawing/2014/main" id="{21701BB9-C715-C51A-2708-5CB80CA204AC}"/>
              </a:ext>
            </a:extLst>
          </p:cNvPr>
          <p:cNvSpPr/>
          <p:nvPr/>
        </p:nvSpPr>
        <p:spPr>
          <a:xfrm>
            <a:off x="2471946" y="1695213"/>
            <a:ext cx="7043596" cy="3661723"/>
          </a:xfrm>
          <a:prstGeom prst="rect">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srgbClr val="FFFFFF"/>
                </a:solidFill>
                <a:effectLst/>
                <a:uLnTx/>
                <a:uFillTx/>
                <a:latin typeface="Apis For Office"/>
                <a:ea typeface="+mn-ea"/>
                <a:cs typeface="+mn-cs"/>
              </a:rPr>
              <a:t>1 in 3 patients will achieve &gt; 20% Weight Loss</a:t>
            </a:r>
            <a:endParaRPr kumimoji="0" lang="en-ZA" sz="4400" b="0" i="0" u="none" strike="noStrike" kern="1200" cap="none" spc="0" normalizeH="0" baseline="0" noProof="0" dirty="0" err="1">
              <a:ln>
                <a:noFill/>
              </a:ln>
              <a:solidFill>
                <a:srgbClr val="FFFFFF"/>
              </a:solidFill>
              <a:effectLst/>
              <a:uLnTx/>
              <a:uFillTx/>
              <a:latin typeface="Apis For Office"/>
              <a:ea typeface="+mn-ea"/>
              <a:cs typeface="+mn-cs"/>
            </a:endParaRPr>
          </a:p>
        </p:txBody>
      </p:sp>
    </p:spTree>
    <p:extLst>
      <p:ext uri="{BB962C8B-B14F-4D97-AF65-F5344CB8AC3E}">
        <p14:creationId xmlns:p14="http://schemas.microsoft.com/office/powerpoint/2010/main" val="361247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BE9A50-66A9-8982-16E4-8CAB4B257A4D}"/>
              </a:ext>
            </a:extLst>
          </p:cNvPr>
          <p:cNvSpPr>
            <a:spLocks noGrp="1"/>
          </p:cNvSpPr>
          <p:nvPr>
            <p:ph type="title"/>
          </p:nvPr>
        </p:nvSpPr>
        <p:spPr/>
        <p:txBody>
          <a:bodyPr/>
          <a:lstStyle/>
          <a:p>
            <a:r>
              <a:rPr lang="en-US"/>
              <a:t>STEP 1 extension: Treatment approach of obesity as chronic disease</a:t>
            </a:r>
            <a:br>
              <a:rPr lang="en-US"/>
            </a:br>
            <a:r>
              <a:rPr lang="da-DK" sz="2400">
                <a:solidFill>
                  <a:schemeClr val="accent5"/>
                </a:solidFill>
              </a:rPr>
              <a:t>PwO require ongoing treatment in order to sustain weight loss and other health benefits</a:t>
            </a:r>
            <a:endParaRPr lang="en-US">
              <a:solidFill>
                <a:schemeClr val="accent5"/>
              </a:solidFill>
            </a:endParaRPr>
          </a:p>
        </p:txBody>
      </p:sp>
      <p:sp>
        <p:nvSpPr>
          <p:cNvPr id="304" name="Text Placeholder 101">
            <a:extLst>
              <a:ext uri="{FF2B5EF4-FFF2-40B4-BE49-F238E27FC236}">
                <a16:creationId xmlns:a16="http://schemas.microsoft.com/office/drawing/2014/main" id="{2A1F3F2F-B551-EADD-FE5B-626538F11ED0}"/>
              </a:ext>
            </a:extLst>
          </p:cNvPr>
          <p:cNvSpPr>
            <a:spLocks noGrp="1"/>
          </p:cNvSpPr>
          <p:nvPr>
            <p:ph type="body" sz="quarter" idx="13"/>
          </p:nvPr>
        </p:nvSpPr>
        <p:spPr/>
        <p:txBody>
          <a:bodyPr/>
          <a:lstStyle/>
          <a:p>
            <a:r>
              <a:rPr lang="en-CA">
                <a:solidFill>
                  <a:srgbClr val="939AA7"/>
                </a:solidFill>
                <a:ea typeface="Apis For Office" panose="020B0504010101010104" pitchFamily="34" charset="0"/>
                <a:cs typeface="Apis For Office" panose="020B0504010101010104" pitchFamily="34" charset="0"/>
              </a:rPr>
              <a:t>OW, once weekly; </a:t>
            </a:r>
            <a:r>
              <a:rPr lang="en-CA" err="1">
                <a:solidFill>
                  <a:srgbClr val="939AA7"/>
                </a:solidFill>
                <a:ea typeface="Apis For Office" panose="020B0504010101010104" pitchFamily="34" charset="0"/>
                <a:cs typeface="Apis For Office" panose="020B0504010101010104" pitchFamily="34" charset="0"/>
              </a:rPr>
              <a:t>PwO</a:t>
            </a:r>
            <a:r>
              <a:rPr lang="en-CA">
                <a:solidFill>
                  <a:srgbClr val="939AA7"/>
                </a:solidFill>
                <a:ea typeface="Apis For Office" panose="020B0504010101010104" pitchFamily="34" charset="0"/>
                <a:cs typeface="Apis For Office" panose="020B0504010101010104" pitchFamily="34" charset="0"/>
              </a:rPr>
              <a:t>, people with obesity</a:t>
            </a:r>
            <a:br>
              <a:rPr lang="en-US">
                <a:solidFill>
                  <a:srgbClr val="939AA7"/>
                </a:solidFill>
                <a:ea typeface="Apis For Office" panose="020B0504010101010104" pitchFamily="34" charset="0"/>
                <a:cs typeface="Apis For Office" panose="020B0504010101010104" pitchFamily="34" charset="0"/>
              </a:rPr>
            </a:br>
            <a:r>
              <a:rPr lang="en-US">
                <a:solidFill>
                  <a:srgbClr val="939AA7"/>
                </a:solidFill>
                <a:ea typeface="Apis For Office" panose="020B0504010101010104" pitchFamily="34" charset="0"/>
                <a:cs typeface="Apis For Office" panose="020B0504010101010104" pitchFamily="34" charset="0"/>
              </a:rPr>
              <a:t>1. </a:t>
            </a:r>
            <a:r>
              <a:rPr lang="en-GB">
                <a:solidFill>
                  <a:srgbClr val="939AA7"/>
                </a:solidFill>
                <a:ea typeface="Apis For Office" panose="020B0504010101010104" pitchFamily="34" charset="0"/>
                <a:cs typeface="Apis For Office" panose="020B0504010101010104" pitchFamily="34" charset="0"/>
              </a:rPr>
              <a:t>Wilding JPH et al. Diabetes </a:t>
            </a:r>
            <a:r>
              <a:rPr lang="en-GB" err="1">
                <a:solidFill>
                  <a:srgbClr val="939AA7"/>
                </a:solidFill>
                <a:ea typeface="Apis For Office" panose="020B0504010101010104" pitchFamily="34" charset="0"/>
                <a:cs typeface="Apis For Office" panose="020B0504010101010104" pitchFamily="34" charset="0"/>
              </a:rPr>
              <a:t>Obes</a:t>
            </a:r>
            <a:r>
              <a:rPr lang="en-GB">
                <a:solidFill>
                  <a:srgbClr val="939AA7"/>
                </a:solidFill>
                <a:ea typeface="Apis For Office" panose="020B0504010101010104" pitchFamily="34" charset="0"/>
                <a:cs typeface="Apis For Office" panose="020B0504010101010104" pitchFamily="34" charset="0"/>
              </a:rPr>
              <a:t> </a:t>
            </a:r>
            <a:r>
              <a:rPr lang="en-GB" err="1">
                <a:solidFill>
                  <a:srgbClr val="939AA7"/>
                </a:solidFill>
                <a:ea typeface="Apis For Office" panose="020B0504010101010104" pitchFamily="34" charset="0"/>
                <a:cs typeface="Apis For Office" panose="020B0504010101010104" pitchFamily="34" charset="0"/>
              </a:rPr>
              <a:t>Metab</a:t>
            </a:r>
            <a:r>
              <a:rPr lang="en-GB">
                <a:solidFill>
                  <a:srgbClr val="939AA7"/>
                </a:solidFill>
                <a:ea typeface="Apis For Office" panose="020B0504010101010104" pitchFamily="34" charset="0"/>
                <a:cs typeface="Apis For Office" panose="020B0504010101010104" pitchFamily="34" charset="0"/>
              </a:rPr>
              <a:t>. 2022. </a:t>
            </a:r>
            <a:r>
              <a:rPr lang="en-GB" err="1">
                <a:solidFill>
                  <a:srgbClr val="939AA7"/>
                </a:solidFill>
                <a:ea typeface="Apis For Office" panose="020B0504010101010104" pitchFamily="34" charset="0"/>
                <a:cs typeface="Apis For Office" panose="020B0504010101010104" pitchFamily="34" charset="0"/>
              </a:rPr>
              <a:t>doi</a:t>
            </a:r>
            <a:r>
              <a:rPr lang="en-GB">
                <a:solidFill>
                  <a:srgbClr val="939AA7"/>
                </a:solidFill>
                <a:ea typeface="Apis For Office" panose="020B0504010101010104" pitchFamily="34" charset="0"/>
                <a:cs typeface="Apis For Office" panose="020B0504010101010104" pitchFamily="34" charset="0"/>
              </a:rPr>
              <a:t>: 10.1111/dom.14725; 2. </a:t>
            </a:r>
            <a:r>
              <a:rPr lang="en-US">
                <a:solidFill>
                  <a:srgbClr val="939AA7"/>
                </a:solidFill>
                <a:ea typeface="Apis For Office" panose="020B0504010101010104" pitchFamily="34" charset="0"/>
                <a:cs typeface="Apis For Office" panose="020B0504010101010104" pitchFamily="34" charset="0"/>
              </a:rPr>
              <a:t>Rubino D et al. JAMA. 2021; 325:1414–25.</a:t>
            </a:r>
            <a:endParaRPr lang="en-GB">
              <a:solidFill>
                <a:srgbClr val="939AA7"/>
              </a:solidFill>
              <a:ea typeface="Apis For Office" panose="020B0504010101010104" pitchFamily="34" charset="0"/>
              <a:cs typeface="Apis For Office" panose="020B0504010101010104" pitchFamily="34" charset="0"/>
            </a:endParaRPr>
          </a:p>
        </p:txBody>
      </p:sp>
      <p:sp>
        <p:nvSpPr>
          <p:cNvPr id="2" name="Slide Number Placeholder 4">
            <a:extLst>
              <a:ext uri="{FF2B5EF4-FFF2-40B4-BE49-F238E27FC236}">
                <a16:creationId xmlns:a16="http://schemas.microsoft.com/office/drawing/2014/main" id="{7B55820B-8053-D774-F859-91CEEA19EA4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US" sz="700" b="0" i="0" u="none" strike="noStrike" kern="1200" cap="none" spc="0" normalizeH="0" baseline="0" noProof="0" smtClean="0">
                <a:ln>
                  <a:noFill/>
                </a:ln>
                <a:solidFill>
                  <a:srgbClr val="001965"/>
                </a:solid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700" b="0" i="0" u="none" strike="noStrike" kern="1200" cap="none" spc="0" normalizeH="0" baseline="0" noProof="0">
              <a:ln>
                <a:noFill/>
              </a:ln>
              <a:solidFill>
                <a:srgbClr val="001965"/>
              </a:solidFill>
              <a:effectLst/>
              <a:uLnTx/>
              <a:uFillTx/>
              <a:latin typeface="Apis For Office"/>
              <a:ea typeface="+mn-ea"/>
              <a:cs typeface="+mn-cs"/>
            </a:endParaRPr>
          </a:p>
        </p:txBody>
      </p:sp>
      <p:grpSp>
        <p:nvGrpSpPr>
          <p:cNvPr id="782" name="Group 781">
            <a:extLst>
              <a:ext uri="{FF2B5EF4-FFF2-40B4-BE49-F238E27FC236}">
                <a16:creationId xmlns:a16="http://schemas.microsoft.com/office/drawing/2014/main" id="{54666A14-8DCA-F61B-2DF6-EAA1CCB6769C}"/>
              </a:ext>
            </a:extLst>
          </p:cNvPr>
          <p:cNvGrpSpPr/>
          <p:nvPr/>
        </p:nvGrpSpPr>
        <p:grpSpPr>
          <a:xfrm rot="5400000">
            <a:off x="11861549" y="892899"/>
            <a:ext cx="239199" cy="174525"/>
            <a:chOff x="7391463" y="779390"/>
            <a:chExt cx="239199" cy="174525"/>
          </a:xfrm>
        </p:grpSpPr>
        <p:sp>
          <p:nvSpPr>
            <p:cNvPr id="783" name="Freeform: Shape 782">
              <a:extLst>
                <a:ext uri="{FF2B5EF4-FFF2-40B4-BE49-F238E27FC236}">
                  <a16:creationId xmlns:a16="http://schemas.microsoft.com/office/drawing/2014/main" id="{9067FC59-63B0-CC2D-6354-AD26CE6AF3E4}"/>
                </a:ext>
              </a:extLst>
            </p:cNvPr>
            <p:cNvSpPr/>
            <p:nvPr/>
          </p:nvSpPr>
          <p:spPr>
            <a:xfrm>
              <a:off x="7391463" y="779390"/>
              <a:ext cx="239193" cy="70775"/>
            </a:xfrm>
            <a:custGeom>
              <a:avLst/>
              <a:gdLst>
                <a:gd name="connsiteX0" fmla="*/ 0 w 411955"/>
                <a:gd name="connsiteY0" fmla="*/ 0 h 207168"/>
                <a:gd name="connsiteX1" fmla="*/ 207168 w 411955"/>
                <a:gd name="connsiteY1" fmla="*/ 207168 h 207168"/>
                <a:gd name="connsiteX2" fmla="*/ 411955 w 411955"/>
                <a:gd name="connsiteY2" fmla="*/ 2381 h 207168"/>
              </a:gdLst>
              <a:ahLst/>
              <a:cxnLst>
                <a:cxn ang="0">
                  <a:pos x="connsiteX0" y="connsiteY0"/>
                </a:cxn>
                <a:cxn ang="0">
                  <a:pos x="connsiteX1" y="connsiteY1"/>
                </a:cxn>
                <a:cxn ang="0">
                  <a:pos x="connsiteX2" y="connsiteY2"/>
                </a:cxn>
              </a:cxnLst>
              <a:rect l="l" t="t" r="r" b="b"/>
              <a:pathLst>
                <a:path w="411955" h="207168">
                  <a:moveTo>
                    <a:pt x="0" y="0"/>
                  </a:moveTo>
                  <a:lnTo>
                    <a:pt x="207168" y="207168"/>
                  </a:lnTo>
                  <a:lnTo>
                    <a:pt x="411955" y="2381"/>
                  </a:lnTo>
                </a:path>
              </a:pathLst>
            </a:custGeom>
            <a:noFill/>
            <a:ln w="571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784" name="Freeform: Shape 783">
              <a:extLst>
                <a:ext uri="{FF2B5EF4-FFF2-40B4-BE49-F238E27FC236}">
                  <a16:creationId xmlns:a16="http://schemas.microsoft.com/office/drawing/2014/main" id="{0A8DAB35-CA56-3D21-2D53-103F58C4A834}"/>
                </a:ext>
              </a:extLst>
            </p:cNvPr>
            <p:cNvSpPr/>
            <p:nvPr/>
          </p:nvSpPr>
          <p:spPr>
            <a:xfrm>
              <a:off x="7391469" y="883135"/>
              <a:ext cx="239193" cy="70780"/>
            </a:xfrm>
            <a:custGeom>
              <a:avLst/>
              <a:gdLst>
                <a:gd name="connsiteX0" fmla="*/ 0 w 411955"/>
                <a:gd name="connsiteY0" fmla="*/ 0 h 207168"/>
                <a:gd name="connsiteX1" fmla="*/ 207168 w 411955"/>
                <a:gd name="connsiteY1" fmla="*/ 207168 h 207168"/>
                <a:gd name="connsiteX2" fmla="*/ 411955 w 411955"/>
                <a:gd name="connsiteY2" fmla="*/ 2381 h 207168"/>
              </a:gdLst>
              <a:ahLst/>
              <a:cxnLst>
                <a:cxn ang="0">
                  <a:pos x="connsiteX0" y="connsiteY0"/>
                </a:cxn>
                <a:cxn ang="0">
                  <a:pos x="connsiteX1" y="connsiteY1"/>
                </a:cxn>
                <a:cxn ang="0">
                  <a:pos x="connsiteX2" y="connsiteY2"/>
                </a:cxn>
              </a:cxnLst>
              <a:rect l="l" t="t" r="r" b="b"/>
              <a:pathLst>
                <a:path w="411955" h="207168">
                  <a:moveTo>
                    <a:pt x="0" y="0"/>
                  </a:moveTo>
                  <a:lnTo>
                    <a:pt x="207168" y="207168"/>
                  </a:lnTo>
                  <a:lnTo>
                    <a:pt x="411955" y="2381"/>
                  </a:lnTo>
                </a:path>
              </a:pathLst>
            </a:custGeom>
            <a:noFill/>
            <a:ln w="57150" cap="rnd">
              <a:solidFill>
                <a:schemeClr val="bg1">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pis For Office"/>
                <a:ea typeface="+mn-ea"/>
                <a:cs typeface="+mn-cs"/>
              </a:endParaRPr>
            </a:p>
          </p:txBody>
        </p:sp>
      </p:grpSp>
      <p:sp>
        <p:nvSpPr>
          <p:cNvPr id="29" name="Rectangle 28">
            <a:extLst>
              <a:ext uri="{FF2B5EF4-FFF2-40B4-BE49-F238E27FC236}">
                <a16:creationId xmlns:a16="http://schemas.microsoft.com/office/drawing/2014/main" id="{70679AC8-A47A-86A9-430E-D333FA55E709}"/>
              </a:ext>
            </a:extLst>
          </p:cNvPr>
          <p:cNvSpPr/>
          <p:nvPr/>
        </p:nvSpPr>
        <p:spPr>
          <a:xfrm>
            <a:off x="4084650" y="3104094"/>
            <a:ext cx="1907967" cy="2371764"/>
          </a:xfrm>
          <a:prstGeom prst="rect">
            <a:avLst/>
          </a:prstGeom>
          <a:solidFill>
            <a:schemeClr val="accent4">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err="1">
              <a:ln>
                <a:noFill/>
              </a:ln>
              <a:solidFill>
                <a:srgbClr val="FFFFFF"/>
              </a:solidFill>
              <a:effectLst/>
              <a:uLnTx/>
              <a:uFillTx/>
              <a:latin typeface="Apis For Office"/>
              <a:ea typeface="+mn-ea"/>
              <a:cs typeface="+mn-cs"/>
            </a:endParaRPr>
          </a:p>
        </p:txBody>
      </p:sp>
      <p:cxnSp>
        <p:nvCxnSpPr>
          <p:cNvPr id="30" name="Straight Connector 29">
            <a:extLst>
              <a:ext uri="{FF2B5EF4-FFF2-40B4-BE49-F238E27FC236}">
                <a16:creationId xmlns:a16="http://schemas.microsoft.com/office/drawing/2014/main" id="{9EC71105-1912-4283-987F-E061B539C8B6}"/>
              </a:ext>
            </a:extLst>
          </p:cNvPr>
          <p:cNvCxnSpPr>
            <a:cxnSpLocks/>
          </p:cNvCxnSpPr>
          <p:nvPr/>
        </p:nvCxnSpPr>
        <p:spPr>
          <a:xfrm>
            <a:off x="1629505" y="3122110"/>
            <a:ext cx="0" cy="235751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877AC79-AD34-7BD4-55B1-C1CA24888131}"/>
              </a:ext>
            </a:extLst>
          </p:cNvPr>
          <p:cNvCxnSpPr>
            <a:cxnSpLocks/>
          </p:cNvCxnSpPr>
          <p:nvPr/>
        </p:nvCxnSpPr>
        <p:spPr>
          <a:xfrm>
            <a:off x="1634563" y="5479620"/>
            <a:ext cx="435552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2" name="Straight Connector 671">
            <a:extLst>
              <a:ext uri="{FF2B5EF4-FFF2-40B4-BE49-F238E27FC236}">
                <a16:creationId xmlns:a16="http://schemas.microsoft.com/office/drawing/2014/main" id="{70A9BDB3-0058-0168-19A6-5CF5274BC08A}"/>
              </a:ext>
            </a:extLst>
          </p:cNvPr>
          <p:cNvCxnSpPr>
            <a:cxnSpLocks/>
          </p:cNvCxnSpPr>
          <p:nvPr/>
        </p:nvCxnSpPr>
        <p:spPr>
          <a:xfrm>
            <a:off x="5995912" y="3122110"/>
            <a:ext cx="0" cy="235751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09B1F01A-54E9-0F1F-6C66-FB253B1D46DD}"/>
              </a:ext>
            </a:extLst>
          </p:cNvPr>
          <p:cNvCxnSpPr>
            <a:cxnSpLocks/>
          </p:cNvCxnSpPr>
          <p:nvPr/>
        </p:nvCxnSpPr>
        <p:spPr>
          <a:xfrm>
            <a:off x="1558682" y="3129070"/>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4A4C0EDE-9856-7F46-EBF3-C9F93E40DBB0}"/>
              </a:ext>
            </a:extLst>
          </p:cNvPr>
          <p:cNvCxnSpPr>
            <a:cxnSpLocks/>
          </p:cNvCxnSpPr>
          <p:nvPr/>
        </p:nvCxnSpPr>
        <p:spPr>
          <a:xfrm>
            <a:off x="1558682" y="3590362"/>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7" name="Straight Connector 676">
            <a:extLst>
              <a:ext uri="{FF2B5EF4-FFF2-40B4-BE49-F238E27FC236}">
                <a16:creationId xmlns:a16="http://schemas.microsoft.com/office/drawing/2014/main" id="{A5BBD4B6-1758-4B73-8601-4B8B43CA8317}"/>
              </a:ext>
            </a:extLst>
          </p:cNvPr>
          <p:cNvCxnSpPr>
            <a:cxnSpLocks/>
          </p:cNvCxnSpPr>
          <p:nvPr/>
        </p:nvCxnSpPr>
        <p:spPr>
          <a:xfrm>
            <a:off x="1558682" y="4051654"/>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8" name="Straight Connector 677">
            <a:extLst>
              <a:ext uri="{FF2B5EF4-FFF2-40B4-BE49-F238E27FC236}">
                <a16:creationId xmlns:a16="http://schemas.microsoft.com/office/drawing/2014/main" id="{33A8095B-B453-2C7F-5557-01079F510E0A}"/>
              </a:ext>
            </a:extLst>
          </p:cNvPr>
          <p:cNvCxnSpPr>
            <a:cxnSpLocks/>
          </p:cNvCxnSpPr>
          <p:nvPr/>
        </p:nvCxnSpPr>
        <p:spPr>
          <a:xfrm>
            <a:off x="1558682" y="4512946"/>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0" name="Straight Connector 679">
            <a:extLst>
              <a:ext uri="{FF2B5EF4-FFF2-40B4-BE49-F238E27FC236}">
                <a16:creationId xmlns:a16="http://schemas.microsoft.com/office/drawing/2014/main" id="{DF30F9B6-B923-3B56-F943-03ADCF816B82}"/>
              </a:ext>
            </a:extLst>
          </p:cNvPr>
          <p:cNvCxnSpPr>
            <a:cxnSpLocks/>
          </p:cNvCxnSpPr>
          <p:nvPr/>
        </p:nvCxnSpPr>
        <p:spPr>
          <a:xfrm>
            <a:off x="1558682" y="4974237"/>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1" name="Straight Connector 680">
            <a:extLst>
              <a:ext uri="{FF2B5EF4-FFF2-40B4-BE49-F238E27FC236}">
                <a16:creationId xmlns:a16="http://schemas.microsoft.com/office/drawing/2014/main" id="{C7C6444E-08ED-88BB-7ADD-79B253BBF26E}"/>
              </a:ext>
            </a:extLst>
          </p:cNvPr>
          <p:cNvCxnSpPr>
            <a:cxnSpLocks/>
          </p:cNvCxnSpPr>
          <p:nvPr/>
        </p:nvCxnSpPr>
        <p:spPr>
          <a:xfrm>
            <a:off x="1558682" y="5435533"/>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83" name="TextBox 682">
            <a:extLst>
              <a:ext uri="{FF2B5EF4-FFF2-40B4-BE49-F238E27FC236}">
                <a16:creationId xmlns:a16="http://schemas.microsoft.com/office/drawing/2014/main" id="{102FB460-27AD-52F4-D40B-CD2D92F5A1AF}"/>
              </a:ext>
            </a:extLst>
          </p:cNvPr>
          <p:cNvSpPr txBox="1"/>
          <p:nvPr/>
        </p:nvSpPr>
        <p:spPr>
          <a:xfrm>
            <a:off x="1176751" y="3455904"/>
            <a:ext cx="422594" cy="276999"/>
          </a:xfrm>
          <a:prstGeom prst="rect">
            <a:avLst/>
          </a:prstGeom>
          <a:noFill/>
        </p:spPr>
        <p:txBody>
          <a:bodyPr wrap="square" lIns="91440" tIns="45720" rIns="91440" bIns="4572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2</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84" name="TextBox 683">
            <a:extLst>
              <a:ext uri="{FF2B5EF4-FFF2-40B4-BE49-F238E27FC236}">
                <a16:creationId xmlns:a16="http://schemas.microsoft.com/office/drawing/2014/main" id="{0040A63B-170A-8FE5-62B7-64D99FF8992F}"/>
              </a:ext>
            </a:extLst>
          </p:cNvPr>
          <p:cNvSpPr txBox="1"/>
          <p:nvPr/>
        </p:nvSpPr>
        <p:spPr>
          <a:xfrm>
            <a:off x="1176751" y="3913893"/>
            <a:ext cx="422594" cy="276999"/>
          </a:xfrm>
          <a:prstGeom prst="rect">
            <a:avLst/>
          </a:prstGeom>
          <a:noFill/>
        </p:spPr>
        <p:txBody>
          <a:bodyPr wrap="square" lIns="91440" tIns="45720" rIns="91440" bIns="4572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6</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86" name="TextBox 685">
            <a:extLst>
              <a:ext uri="{FF2B5EF4-FFF2-40B4-BE49-F238E27FC236}">
                <a16:creationId xmlns:a16="http://schemas.microsoft.com/office/drawing/2014/main" id="{C0998559-C5C7-AF92-5A35-1FF93EDF5253}"/>
              </a:ext>
            </a:extLst>
          </p:cNvPr>
          <p:cNvSpPr txBox="1"/>
          <p:nvPr/>
        </p:nvSpPr>
        <p:spPr>
          <a:xfrm>
            <a:off x="1133846" y="4371883"/>
            <a:ext cx="465499" cy="276999"/>
          </a:xfrm>
          <a:prstGeom prst="rect">
            <a:avLst/>
          </a:prstGeom>
          <a:noFill/>
        </p:spPr>
        <p:txBody>
          <a:bodyPr wrap="square" lIns="91440" tIns="45720" rIns="91440" bIns="4572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10</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87" name="TextBox 686">
            <a:extLst>
              <a:ext uri="{FF2B5EF4-FFF2-40B4-BE49-F238E27FC236}">
                <a16:creationId xmlns:a16="http://schemas.microsoft.com/office/drawing/2014/main" id="{4688D1BB-3208-6213-19BC-60337658F579}"/>
              </a:ext>
            </a:extLst>
          </p:cNvPr>
          <p:cNvSpPr txBox="1"/>
          <p:nvPr/>
        </p:nvSpPr>
        <p:spPr>
          <a:xfrm>
            <a:off x="1123053" y="4829871"/>
            <a:ext cx="476292" cy="276999"/>
          </a:xfrm>
          <a:prstGeom prst="rect">
            <a:avLst/>
          </a:prstGeom>
          <a:noFill/>
        </p:spPr>
        <p:txBody>
          <a:bodyPr wrap="square" lIns="91440" tIns="45720" rIns="91440" bIns="4572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14</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89" name="TextBox 688">
            <a:extLst>
              <a:ext uri="{FF2B5EF4-FFF2-40B4-BE49-F238E27FC236}">
                <a16:creationId xmlns:a16="http://schemas.microsoft.com/office/drawing/2014/main" id="{71D53154-9797-9E7F-825D-9512D10079D1}"/>
              </a:ext>
            </a:extLst>
          </p:cNvPr>
          <p:cNvSpPr txBox="1"/>
          <p:nvPr/>
        </p:nvSpPr>
        <p:spPr>
          <a:xfrm>
            <a:off x="1117982" y="5287862"/>
            <a:ext cx="481363" cy="276999"/>
          </a:xfrm>
          <a:prstGeom prst="rect">
            <a:avLst/>
          </a:prstGeom>
          <a:noFill/>
        </p:spPr>
        <p:txBody>
          <a:bodyPr wrap="square" lIns="91440" tIns="45720" rIns="91440" bIns="4572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18</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90" name="TextBox 689">
            <a:extLst>
              <a:ext uri="{FF2B5EF4-FFF2-40B4-BE49-F238E27FC236}">
                <a16:creationId xmlns:a16="http://schemas.microsoft.com/office/drawing/2014/main" id="{99E1BF75-F29C-C546-7543-618AE7097807}"/>
              </a:ext>
            </a:extLst>
          </p:cNvPr>
          <p:cNvSpPr txBox="1"/>
          <p:nvPr/>
        </p:nvSpPr>
        <p:spPr>
          <a:xfrm rot="16200000">
            <a:off x="-242392" y="4011898"/>
            <a:ext cx="2421135" cy="583747"/>
          </a:xfrm>
          <a:prstGeom prst="rect">
            <a:avLst/>
          </a:prstGeom>
          <a:noFill/>
        </p:spPr>
        <p:txBody>
          <a:bodyPr wrap="square" lIns="91440" tIns="45720" rIns="9144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rgbClr val="001965"/>
                </a:solidFill>
                <a:effectLst/>
                <a:uLnTx/>
                <a:uFillTx/>
                <a:latin typeface="Apis For Office"/>
                <a:ea typeface="+mn-ea"/>
                <a:cs typeface="+mn-cs"/>
              </a:rPr>
              <a:t>Body weight change from baseline* (%)</a:t>
            </a:r>
            <a:endParaRPr kumimoji="0" lang="en-US" sz="1200" b="1" i="0" u="none" strike="noStrike" kern="1200" cap="none" spc="0" normalizeH="0" baseline="0" noProof="0">
              <a:ln>
                <a:noFill/>
              </a:ln>
              <a:solidFill>
                <a:srgbClr val="001965"/>
              </a:solidFill>
              <a:effectLst/>
              <a:uLnTx/>
              <a:uFillTx/>
              <a:latin typeface="Apis For Office"/>
              <a:ea typeface="+mn-ea"/>
              <a:cs typeface="+mn-cs"/>
            </a:endParaRPr>
          </a:p>
        </p:txBody>
      </p:sp>
      <p:cxnSp>
        <p:nvCxnSpPr>
          <p:cNvPr id="692" name="Straight Connector 691">
            <a:extLst>
              <a:ext uri="{FF2B5EF4-FFF2-40B4-BE49-F238E27FC236}">
                <a16:creationId xmlns:a16="http://schemas.microsoft.com/office/drawing/2014/main" id="{4AE75E48-D4BA-9104-27B9-3AB464F50C1C}"/>
              </a:ext>
            </a:extLst>
          </p:cNvPr>
          <p:cNvCxnSpPr>
            <a:cxnSpLocks/>
          </p:cNvCxnSpPr>
          <p:nvPr/>
        </p:nvCxnSpPr>
        <p:spPr>
          <a:xfrm>
            <a:off x="5992617" y="3355076"/>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3" name="Straight Connector 692">
            <a:extLst>
              <a:ext uri="{FF2B5EF4-FFF2-40B4-BE49-F238E27FC236}">
                <a16:creationId xmlns:a16="http://schemas.microsoft.com/office/drawing/2014/main" id="{976FD891-7294-8BC6-E00B-17773FA125EE}"/>
              </a:ext>
            </a:extLst>
          </p:cNvPr>
          <p:cNvCxnSpPr>
            <a:cxnSpLocks/>
          </p:cNvCxnSpPr>
          <p:nvPr/>
        </p:nvCxnSpPr>
        <p:spPr>
          <a:xfrm>
            <a:off x="5992617" y="3902686"/>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5" name="Straight Connector 694">
            <a:extLst>
              <a:ext uri="{FF2B5EF4-FFF2-40B4-BE49-F238E27FC236}">
                <a16:creationId xmlns:a16="http://schemas.microsoft.com/office/drawing/2014/main" id="{9D5B9272-E6EA-E6F0-01E3-A0358B809BDC}"/>
              </a:ext>
            </a:extLst>
          </p:cNvPr>
          <p:cNvCxnSpPr>
            <a:cxnSpLocks/>
          </p:cNvCxnSpPr>
          <p:nvPr/>
        </p:nvCxnSpPr>
        <p:spPr>
          <a:xfrm>
            <a:off x="5992617" y="4450297"/>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6" name="Straight Connector 695">
            <a:extLst>
              <a:ext uri="{FF2B5EF4-FFF2-40B4-BE49-F238E27FC236}">
                <a16:creationId xmlns:a16="http://schemas.microsoft.com/office/drawing/2014/main" id="{6F70657E-5B1C-2717-7984-8AFF91287DA1}"/>
              </a:ext>
            </a:extLst>
          </p:cNvPr>
          <p:cNvCxnSpPr>
            <a:cxnSpLocks/>
          </p:cNvCxnSpPr>
          <p:nvPr/>
        </p:nvCxnSpPr>
        <p:spPr>
          <a:xfrm>
            <a:off x="5992617" y="4997908"/>
            <a:ext cx="733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98" name="TextBox 697">
            <a:extLst>
              <a:ext uri="{FF2B5EF4-FFF2-40B4-BE49-F238E27FC236}">
                <a16:creationId xmlns:a16="http://schemas.microsoft.com/office/drawing/2014/main" id="{83368B6F-355E-2AA9-3C32-A2A964E8EB08}"/>
              </a:ext>
            </a:extLst>
          </p:cNvPr>
          <p:cNvSpPr txBox="1"/>
          <p:nvPr/>
        </p:nvSpPr>
        <p:spPr>
          <a:xfrm>
            <a:off x="6020710" y="3219575"/>
            <a:ext cx="422594" cy="276999"/>
          </a:xfrm>
          <a:prstGeom prst="rect">
            <a:avLst/>
          </a:prstGeom>
          <a:noFill/>
        </p:spPr>
        <p:txBody>
          <a:bodyPr wrap="square" lIns="91440" tIns="45720" rIns="91440" bIns="4572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0</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99" name="TextBox 698">
            <a:extLst>
              <a:ext uri="{FF2B5EF4-FFF2-40B4-BE49-F238E27FC236}">
                <a16:creationId xmlns:a16="http://schemas.microsoft.com/office/drawing/2014/main" id="{DEE660E3-8CBE-79CD-9050-8C209DD445C3}"/>
              </a:ext>
            </a:extLst>
          </p:cNvPr>
          <p:cNvSpPr txBox="1"/>
          <p:nvPr/>
        </p:nvSpPr>
        <p:spPr>
          <a:xfrm>
            <a:off x="6020710" y="3765090"/>
            <a:ext cx="422594" cy="276999"/>
          </a:xfrm>
          <a:prstGeom prst="rect">
            <a:avLst/>
          </a:prstGeom>
          <a:noFill/>
        </p:spPr>
        <p:txBody>
          <a:bodyPr wrap="square" lIns="91440" tIns="45720" rIns="91440" bIns="4572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5</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01" name="TextBox 700">
            <a:extLst>
              <a:ext uri="{FF2B5EF4-FFF2-40B4-BE49-F238E27FC236}">
                <a16:creationId xmlns:a16="http://schemas.microsoft.com/office/drawing/2014/main" id="{456F3D8E-BA37-793C-7FC9-B8B3110E6EF6}"/>
              </a:ext>
            </a:extLst>
          </p:cNvPr>
          <p:cNvSpPr txBox="1"/>
          <p:nvPr/>
        </p:nvSpPr>
        <p:spPr>
          <a:xfrm>
            <a:off x="6020709" y="4310604"/>
            <a:ext cx="479212" cy="276999"/>
          </a:xfrm>
          <a:prstGeom prst="rect">
            <a:avLst/>
          </a:prstGeom>
          <a:noFill/>
        </p:spPr>
        <p:txBody>
          <a:bodyPr wrap="square" lIns="91440" tIns="45720" rIns="91440" bIns="4572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10</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02" name="TextBox 701">
            <a:extLst>
              <a:ext uri="{FF2B5EF4-FFF2-40B4-BE49-F238E27FC236}">
                <a16:creationId xmlns:a16="http://schemas.microsoft.com/office/drawing/2014/main" id="{3F2F3B3B-BBDD-E36F-D129-019FDF81063D}"/>
              </a:ext>
            </a:extLst>
          </p:cNvPr>
          <p:cNvSpPr txBox="1"/>
          <p:nvPr/>
        </p:nvSpPr>
        <p:spPr>
          <a:xfrm>
            <a:off x="6020709" y="4856119"/>
            <a:ext cx="463405" cy="276999"/>
          </a:xfrm>
          <a:prstGeom prst="rect">
            <a:avLst/>
          </a:prstGeom>
          <a:noFill/>
        </p:spPr>
        <p:txBody>
          <a:bodyPr wrap="square" lIns="91440" tIns="45720" rIns="91440" bIns="4572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15</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56" name="TextBox 255">
            <a:extLst>
              <a:ext uri="{FF2B5EF4-FFF2-40B4-BE49-F238E27FC236}">
                <a16:creationId xmlns:a16="http://schemas.microsoft.com/office/drawing/2014/main" id="{B893ECFA-012D-02E1-21B5-B3E62974A66E}"/>
              </a:ext>
            </a:extLst>
          </p:cNvPr>
          <p:cNvSpPr txBox="1"/>
          <p:nvPr/>
        </p:nvSpPr>
        <p:spPr>
          <a:xfrm rot="5400000">
            <a:off x="5483584" y="4050998"/>
            <a:ext cx="2297256" cy="430887"/>
          </a:xfrm>
          <a:prstGeom prst="rect">
            <a:avLst/>
          </a:prstGeom>
          <a:noFill/>
        </p:spPr>
        <p:txBody>
          <a:bodyPr wrap="square" lIns="91440" tIns="45720" rIns="9144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a:ln>
                  <a:noFill/>
                </a:ln>
                <a:solidFill>
                  <a:srgbClr val="001965"/>
                </a:solidFill>
                <a:effectLst/>
                <a:uLnTx/>
                <a:uFillTx/>
                <a:latin typeface="Apis For Office"/>
                <a:ea typeface="+mn-ea"/>
                <a:cs typeface="+mn-cs"/>
              </a:rPr>
              <a:t>Body weight change from baseline (kg)</a:t>
            </a:r>
            <a:endParaRPr kumimoji="0" lang="en-US" sz="1100" b="1" i="0" u="none" strike="noStrike" kern="1200" cap="none" spc="0" normalizeH="0" baseline="0" noProof="0">
              <a:ln>
                <a:noFill/>
              </a:ln>
              <a:solidFill>
                <a:srgbClr val="001965"/>
              </a:solidFill>
              <a:effectLst/>
              <a:uLnTx/>
              <a:uFillTx/>
              <a:latin typeface="Apis For Office"/>
              <a:ea typeface="+mn-ea"/>
              <a:cs typeface="+mn-cs"/>
            </a:endParaRPr>
          </a:p>
        </p:txBody>
      </p:sp>
      <p:cxnSp>
        <p:nvCxnSpPr>
          <p:cNvPr id="257" name="Straight Connector 256">
            <a:extLst>
              <a:ext uri="{FF2B5EF4-FFF2-40B4-BE49-F238E27FC236}">
                <a16:creationId xmlns:a16="http://schemas.microsoft.com/office/drawing/2014/main" id="{6BE176B7-3A07-BE6B-2E7C-1D7683F79405}"/>
              </a:ext>
            </a:extLst>
          </p:cNvPr>
          <p:cNvCxnSpPr>
            <a:cxnSpLocks/>
          </p:cNvCxnSpPr>
          <p:nvPr/>
        </p:nvCxnSpPr>
        <p:spPr>
          <a:xfrm>
            <a:off x="1757657"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8DB24388-9E5B-9D2F-1AD9-C00900CAD387}"/>
              </a:ext>
            </a:extLst>
          </p:cNvPr>
          <p:cNvCxnSpPr>
            <a:cxnSpLocks/>
          </p:cNvCxnSpPr>
          <p:nvPr/>
        </p:nvCxnSpPr>
        <p:spPr>
          <a:xfrm>
            <a:off x="1892555"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3EAADAA4-DD42-911D-DBCD-DC40741D6AF1}"/>
              </a:ext>
            </a:extLst>
          </p:cNvPr>
          <p:cNvCxnSpPr>
            <a:cxnSpLocks/>
          </p:cNvCxnSpPr>
          <p:nvPr/>
        </p:nvCxnSpPr>
        <p:spPr>
          <a:xfrm>
            <a:off x="2037571"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9C244A29-098F-B737-0E95-6D5D4939D355}"/>
              </a:ext>
            </a:extLst>
          </p:cNvPr>
          <p:cNvCxnSpPr>
            <a:cxnSpLocks/>
          </p:cNvCxnSpPr>
          <p:nvPr/>
        </p:nvCxnSpPr>
        <p:spPr>
          <a:xfrm>
            <a:off x="2175841"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61448C69-6D8B-25F9-1370-5AEEDA9E9E1A}"/>
              </a:ext>
            </a:extLst>
          </p:cNvPr>
          <p:cNvCxnSpPr>
            <a:cxnSpLocks/>
          </p:cNvCxnSpPr>
          <p:nvPr/>
        </p:nvCxnSpPr>
        <p:spPr>
          <a:xfrm>
            <a:off x="2310739"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9590D1DA-F437-E202-3491-468E9D635D0C}"/>
              </a:ext>
            </a:extLst>
          </p:cNvPr>
          <p:cNvCxnSpPr>
            <a:cxnSpLocks/>
          </p:cNvCxnSpPr>
          <p:nvPr/>
        </p:nvCxnSpPr>
        <p:spPr>
          <a:xfrm>
            <a:off x="2442265"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0F6D2A4F-63C2-52C9-26E4-E4785AFE7ADA}"/>
              </a:ext>
            </a:extLst>
          </p:cNvPr>
          <p:cNvCxnSpPr>
            <a:cxnSpLocks/>
          </p:cNvCxnSpPr>
          <p:nvPr/>
        </p:nvCxnSpPr>
        <p:spPr>
          <a:xfrm>
            <a:off x="2715434"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E1B4D33-A39A-F35A-3AA5-5CB6C6C9774E}"/>
              </a:ext>
            </a:extLst>
          </p:cNvPr>
          <p:cNvCxnSpPr>
            <a:cxnSpLocks/>
          </p:cNvCxnSpPr>
          <p:nvPr/>
        </p:nvCxnSpPr>
        <p:spPr>
          <a:xfrm>
            <a:off x="2991975"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B6C0A199-35DD-3B2E-4C73-84438794AC71}"/>
              </a:ext>
            </a:extLst>
          </p:cNvPr>
          <p:cNvCxnSpPr>
            <a:cxnSpLocks/>
          </p:cNvCxnSpPr>
          <p:nvPr/>
        </p:nvCxnSpPr>
        <p:spPr>
          <a:xfrm>
            <a:off x="3265144"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E36268D7-AFC9-11F7-FCB5-1505CD15038E}"/>
              </a:ext>
            </a:extLst>
          </p:cNvPr>
          <p:cNvCxnSpPr>
            <a:cxnSpLocks/>
          </p:cNvCxnSpPr>
          <p:nvPr/>
        </p:nvCxnSpPr>
        <p:spPr>
          <a:xfrm>
            <a:off x="3538313"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A3A05988-E047-32D1-9B87-C1E9C4ECC169}"/>
              </a:ext>
            </a:extLst>
          </p:cNvPr>
          <p:cNvCxnSpPr>
            <a:cxnSpLocks/>
          </p:cNvCxnSpPr>
          <p:nvPr/>
        </p:nvCxnSpPr>
        <p:spPr>
          <a:xfrm>
            <a:off x="3811482"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0C210FD8-25FB-3452-1009-F324268573ED}"/>
              </a:ext>
            </a:extLst>
          </p:cNvPr>
          <p:cNvCxnSpPr>
            <a:cxnSpLocks/>
          </p:cNvCxnSpPr>
          <p:nvPr/>
        </p:nvCxnSpPr>
        <p:spPr>
          <a:xfrm>
            <a:off x="4084651"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658E7A1C-4907-B8C0-7843-AD43361059A7}"/>
              </a:ext>
            </a:extLst>
          </p:cNvPr>
          <p:cNvCxnSpPr>
            <a:cxnSpLocks/>
          </p:cNvCxnSpPr>
          <p:nvPr/>
        </p:nvCxnSpPr>
        <p:spPr>
          <a:xfrm>
            <a:off x="4324095"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5EBB8CD1-E3E9-5A94-5BEA-EF92A796C4DE}"/>
              </a:ext>
            </a:extLst>
          </p:cNvPr>
          <p:cNvCxnSpPr>
            <a:cxnSpLocks/>
          </p:cNvCxnSpPr>
          <p:nvPr/>
        </p:nvCxnSpPr>
        <p:spPr>
          <a:xfrm>
            <a:off x="4492718"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021D5378-74A2-2011-99AD-0A848509334E}"/>
              </a:ext>
            </a:extLst>
          </p:cNvPr>
          <p:cNvCxnSpPr>
            <a:cxnSpLocks/>
          </p:cNvCxnSpPr>
          <p:nvPr/>
        </p:nvCxnSpPr>
        <p:spPr>
          <a:xfrm>
            <a:off x="5315597"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730683D0-0F04-7F1A-F628-E3A66B82F7CB}"/>
              </a:ext>
            </a:extLst>
          </p:cNvPr>
          <p:cNvCxnSpPr>
            <a:cxnSpLocks/>
          </p:cNvCxnSpPr>
          <p:nvPr/>
        </p:nvCxnSpPr>
        <p:spPr>
          <a:xfrm>
            <a:off x="5864375" y="5487042"/>
            <a:ext cx="0" cy="742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3" name="TextBox 272">
            <a:extLst>
              <a:ext uri="{FF2B5EF4-FFF2-40B4-BE49-F238E27FC236}">
                <a16:creationId xmlns:a16="http://schemas.microsoft.com/office/drawing/2014/main" id="{00CE9E98-24C7-729E-6403-A28B6570B78C}"/>
              </a:ext>
            </a:extLst>
          </p:cNvPr>
          <p:cNvSpPr txBox="1"/>
          <p:nvPr/>
        </p:nvSpPr>
        <p:spPr>
          <a:xfrm>
            <a:off x="1549225"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0</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74" name="TextBox 273">
            <a:extLst>
              <a:ext uri="{FF2B5EF4-FFF2-40B4-BE49-F238E27FC236}">
                <a16:creationId xmlns:a16="http://schemas.microsoft.com/office/drawing/2014/main" id="{1A834C41-3B38-D034-C5A0-8B74E6EEA67F}"/>
              </a:ext>
            </a:extLst>
          </p:cNvPr>
          <p:cNvSpPr txBox="1"/>
          <p:nvPr/>
        </p:nvSpPr>
        <p:spPr>
          <a:xfrm>
            <a:off x="1683050"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4</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75" name="TextBox 274">
            <a:extLst>
              <a:ext uri="{FF2B5EF4-FFF2-40B4-BE49-F238E27FC236}">
                <a16:creationId xmlns:a16="http://schemas.microsoft.com/office/drawing/2014/main" id="{2C7F9826-2CCC-4344-0606-15240D01F586}"/>
              </a:ext>
            </a:extLst>
          </p:cNvPr>
          <p:cNvSpPr txBox="1"/>
          <p:nvPr/>
        </p:nvSpPr>
        <p:spPr>
          <a:xfrm>
            <a:off x="1827434"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8</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76" name="TextBox 275">
            <a:extLst>
              <a:ext uri="{FF2B5EF4-FFF2-40B4-BE49-F238E27FC236}">
                <a16:creationId xmlns:a16="http://schemas.microsoft.com/office/drawing/2014/main" id="{43EC4F2E-4F39-0C6E-DE1C-18DC6B0B7845}"/>
              </a:ext>
            </a:extLst>
          </p:cNvPr>
          <p:cNvSpPr txBox="1"/>
          <p:nvPr/>
        </p:nvSpPr>
        <p:spPr>
          <a:xfrm>
            <a:off x="1964544"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12</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77" name="TextBox 276">
            <a:extLst>
              <a:ext uri="{FF2B5EF4-FFF2-40B4-BE49-F238E27FC236}">
                <a16:creationId xmlns:a16="http://schemas.microsoft.com/office/drawing/2014/main" id="{D133889F-8F4E-A790-E272-22225239C31E}"/>
              </a:ext>
            </a:extLst>
          </p:cNvPr>
          <p:cNvSpPr txBox="1"/>
          <p:nvPr/>
        </p:nvSpPr>
        <p:spPr>
          <a:xfrm>
            <a:off x="2112662"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16</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78" name="TextBox 277">
            <a:extLst>
              <a:ext uri="{FF2B5EF4-FFF2-40B4-BE49-F238E27FC236}">
                <a16:creationId xmlns:a16="http://schemas.microsoft.com/office/drawing/2014/main" id="{F8B16FF6-2DFF-B8A6-3051-16FAE45B11E8}"/>
              </a:ext>
            </a:extLst>
          </p:cNvPr>
          <p:cNvSpPr txBox="1"/>
          <p:nvPr/>
        </p:nvSpPr>
        <p:spPr>
          <a:xfrm>
            <a:off x="2245044"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20</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79" name="TextBox 278">
            <a:extLst>
              <a:ext uri="{FF2B5EF4-FFF2-40B4-BE49-F238E27FC236}">
                <a16:creationId xmlns:a16="http://schemas.microsoft.com/office/drawing/2014/main" id="{F3236F4B-640A-5C61-B832-691B6ED1D2D6}"/>
              </a:ext>
            </a:extLst>
          </p:cNvPr>
          <p:cNvSpPr txBox="1"/>
          <p:nvPr/>
        </p:nvSpPr>
        <p:spPr>
          <a:xfrm>
            <a:off x="2504137"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28</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80" name="TextBox 279">
            <a:extLst>
              <a:ext uri="{FF2B5EF4-FFF2-40B4-BE49-F238E27FC236}">
                <a16:creationId xmlns:a16="http://schemas.microsoft.com/office/drawing/2014/main" id="{319D89A5-E401-F47B-04BF-F840DECF2430}"/>
              </a:ext>
            </a:extLst>
          </p:cNvPr>
          <p:cNvSpPr txBox="1"/>
          <p:nvPr/>
        </p:nvSpPr>
        <p:spPr>
          <a:xfrm>
            <a:off x="2780678"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36</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84" name="TextBox 283">
            <a:extLst>
              <a:ext uri="{FF2B5EF4-FFF2-40B4-BE49-F238E27FC236}">
                <a16:creationId xmlns:a16="http://schemas.microsoft.com/office/drawing/2014/main" id="{F2B0DFD5-7F27-0923-2773-D5D7D9B612F0}"/>
              </a:ext>
            </a:extLst>
          </p:cNvPr>
          <p:cNvSpPr txBox="1"/>
          <p:nvPr/>
        </p:nvSpPr>
        <p:spPr>
          <a:xfrm>
            <a:off x="3047534"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44</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85" name="TextBox 284">
            <a:extLst>
              <a:ext uri="{FF2B5EF4-FFF2-40B4-BE49-F238E27FC236}">
                <a16:creationId xmlns:a16="http://schemas.microsoft.com/office/drawing/2014/main" id="{731B5983-FD46-C2AE-DF4C-046FCC2076F3}"/>
              </a:ext>
            </a:extLst>
          </p:cNvPr>
          <p:cNvSpPr txBox="1"/>
          <p:nvPr/>
        </p:nvSpPr>
        <p:spPr>
          <a:xfrm>
            <a:off x="3324354"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52</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86" name="TextBox 285">
            <a:extLst>
              <a:ext uri="{FF2B5EF4-FFF2-40B4-BE49-F238E27FC236}">
                <a16:creationId xmlns:a16="http://schemas.microsoft.com/office/drawing/2014/main" id="{BE3E38DE-7E3E-3252-6C23-DD8D9382A575}"/>
              </a:ext>
            </a:extLst>
          </p:cNvPr>
          <p:cNvSpPr txBox="1"/>
          <p:nvPr/>
        </p:nvSpPr>
        <p:spPr>
          <a:xfrm>
            <a:off x="3605848"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60</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87" name="TextBox 286">
            <a:extLst>
              <a:ext uri="{FF2B5EF4-FFF2-40B4-BE49-F238E27FC236}">
                <a16:creationId xmlns:a16="http://schemas.microsoft.com/office/drawing/2014/main" id="{8260CF3B-768F-DE7D-172B-8F3A3EC31A2A}"/>
              </a:ext>
            </a:extLst>
          </p:cNvPr>
          <p:cNvSpPr txBox="1"/>
          <p:nvPr/>
        </p:nvSpPr>
        <p:spPr>
          <a:xfrm>
            <a:off x="3879533"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68</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04" name="TextBox 703">
            <a:extLst>
              <a:ext uri="{FF2B5EF4-FFF2-40B4-BE49-F238E27FC236}">
                <a16:creationId xmlns:a16="http://schemas.microsoft.com/office/drawing/2014/main" id="{C708269E-3420-4730-55C6-244503ABD422}"/>
              </a:ext>
            </a:extLst>
          </p:cNvPr>
          <p:cNvSpPr txBox="1"/>
          <p:nvPr/>
        </p:nvSpPr>
        <p:spPr>
          <a:xfrm>
            <a:off x="4116011"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75</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05" name="TextBox 704">
            <a:extLst>
              <a:ext uri="{FF2B5EF4-FFF2-40B4-BE49-F238E27FC236}">
                <a16:creationId xmlns:a16="http://schemas.microsoft.com/office/drawing/2014/main" id="{E2BC2F8A-0B3C-B529-19F0-04626CB0DE69}"/>
              </a:ext>
            </a:extLst>
          </p:cNvPr>
          <p:cNvSpPr txBox="1"/>
          <p:nvPr/>
        </p:nvSpPr>
        <p:spPr>
          <a:xfrm>
            <a:off x="4277671"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80</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07" name="TextBox 706">
            <a:extLst>
              <a:ext uri="{FF2B5EF4-FFF2-40B4-BE49-F238E27FC236}">
                <a16:creationId xmlns:a16="http://schemas.microsoft.com/office/drawing/2014/main" id="{788F6A0B-090F-4BD3-EA24-06B10FD1D25B}"/>
              </a:ext>
            </a:extLst>
          </p:cNvPr>
          <p:cNvSpPr txBox="1"/>
          <p:nvPr/>
        </p:nvSpPr>
        <p:spPr>
          <a:xfrm>
            <a:off x="5104300"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104</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08" name="TextBox 707">
            <a:extLst>
              <a:ext uri="{FF2B5EF4-FFF2-40B4-BE49-F238E27FC236}">
                <a16:creationId xmlns:a16="http://schemas.microsoft.com/office/drawing/2014/main" id="{7B8D1BFE-999D-E511-FE07-537393A3FA9D}"/>
              </a:ext>
            </a:extLst>
          </p:cNvPr>
          <p:cNvSpPr txBox="1"/>
          <p:nvPr/>
        </p:nvSpPr>
        <p:spPr>
          <a:xfrm>
            <a:off x="5653078" y="5528229"/>
            <a:ext cx="422594" cy="230832"/>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001965"/>
                </a:solidFill>
                <a:effectLst/>
                <a:uLnTx/>
                <a:uFillTx/>
                <a:latin typeface="Apis For Office"/>
                <a:ea typeface="+mn-ea"/>
                <a:cs typeface="+mn-cs"/>
              </a:rPr>
              <a:t>120</a:t>
            </a:r>
            <a:endParaRPr kumimoji="0" lang="en-US" sz="9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710" name="TextBox 709">
            <a:extLst>
              <a:ext uri="{FF2B5EF4-FFF2-40B4-BE49-F238E27FC236}">
                <a16:creationId xmlns:a16="http://schemas.microsoft.com/office/drawing/2014/main" id="{893415B1-6652-656E-60F6-E6F0BD8B3843}"/>
              </a:ext>
            </a:extLst>
          </p:cNvPr>
          <p:cNvSpPr txBox="1"/>
          <p:nvPr/>
        </p:nvSpPr>
        <p:spPr>
          <a:xfrm>
            <a:off x="2387139" y="5690565"/>
            <a:ext cx="2817988" cy="316833"/>
          </a:xfrm>
          <a:prstGeom prst="rect">
            <a:avLst/>
          </a:prstGeom>
          <a:noFill/>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001965"/>
                </a:solidFill>
                <a:effectLst/>
                <a:uLnTx/>
                <a:uFillTx/>
                <a:latin typeface="Apis For Office"/>
                <a:ea typeface="+mn-ea"/>
                <a:cs typeface="+mn-cs"/>
              </a:rPr>
              <a:t>Weeks since randomisation</a:t>
            </a:r>
            <a:endParaRPr kumimoji="0" lang="en-US" sz="1200" b="1" i="0" u="none" strike="noStrike" kern="1200" cap="none" spc="0" normalizeH="0" baseline="0" noProof="0" dirty="0">
              <a:ln>
                <a:noFill/>
              </a:ln>
              <a:solidFill>
                <a:srgbClr val="001965"/>
              </a:solidFill>
              <a:effectLst/>
              <a:uLnTx/>
              <a:uFillTx/>
              <a:latin typeface="Apis For Office"/>
              <a:ea typeface="+mn-ea"/>
              <a:cs typeface="+mn-cs"/>
            </a:endParaRPr>
          </a:p>
        </p:txBody>
      </p:sp>
      <p:cxnSp>
        <p:nvCxnSpPr>
          <p:cNvPr id="711" name="Straight Connector 710">
            <a:extLst>
              <a:ext uri="{FF2B5EF4-FFF2-40B4-BE49-F238E27FC236}">
                <a16:creationId xmlns:a16="http://schemas.microsoft.com/office/drawing/2014/main" id="{EED9A7D7-820D-E4DD-11A3-B0071CB58C55}"/>
              </a:ext>
            </a:extLst>
          </p:cNvPr>
          <p:cNvCxnSpPr>
            <a:cxnSpLocks/>
          </p:cNvCxnSpPr>
          <p:nvPr/>
        </p:nvCxnSpPr>
        <p:spPr>
          <a:xfrm>
            <a:off x="4085657" y="3122110"/>
            <a:ext cx="0" cy="2357510"/>
          </a:xfrm>
          <a:prstGeom prst="line">
            <a:avLst/>
          </a:prstGeom>
          <a:ln w="28575"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713" name="Freeform: Shape 712">
            <a:extLst>
              <a:ext uri="{FF2B5EF4-FFF2-40B4-BE49-F238E27FC236}">
                <a16:creationId xmlns:a16="http://schemas.microsoft.com/office/drawing/2014/main" id="{63B455BE-B7F6-D64C-0986-991597C2F552}"/>
              </a:ext>
            </a:extLst>
          </p:cNvPr>
          <p:cNvSpPr/>
          <p:nvPr/>
        </p:nvSpPr>
        <p:spPr>
          <a:xfrm>
            <a:off x="1761029" y="3354148"/>
            <a:ext cx="4092475" cy="2004811"/>
          </a:xfrm>
          <a:custGeom>
            <a:avLst/>
            <a:gdLst>
              <a:gd name="connsiteX0" fmla="*/ 0 w 3852863"/>
              <a:gd name="connsiteY0" fmla="*/ 0 h 2057400"/>
              <a:gd name="connsiteX1" fmla="*/ 123825 w 3852863"/>
              <a:gd name="connsiteY1" fmla="*/ 285750 h 2057400"/>
              <a:gd name="connsiteX2" fmla="*/ 252413 w 3852863"/>
              <a:gd name="connsiteY2" fmla="*/ 514350 h 2057400"/>
              <a:gd name="connsiteX3" fmla="*/ 390525 w 3852863"/>
              <a:gd name="connsiteY3" fmla="*/ 752475 h 2057400"/>
              <a:gd name="connsiteX4" fmla="*/ 514350 w 3852863"/>
              <a:gd name="connsiteY4" fmla="*/ 976312 h 2057400"/>
              <a:gd name="connsiteX5" fmla="*/ 647700 w 3852863"/>
              <a:gd name="connsiteY5" fmla="*/ 1204912 h 2057400"/>
              <a:gd name="connsiteX6" fmla="*/ 909638 w 3852863"/>
              <a:gd name="connsiteY6" fmla="*/ 1481137 h 2057400"/>
              <a:gd name="connsiteX7" fmla="*/ 1157288 w 3852863"/>
              <a:gd name="connsiteY7" fmla="*/ 1681162 h 2057400"/>
              <a:gd name="connsiteX8" fmla="*/ 1419225 w 3852863"/>
              <a:gd name="connsiteY8" fmla="*/ 1852612 h 2057400"/>
              <a:gd name="connsiteX9" fmla="*/ 1676400 w 3852863"/>
              <a:gd name="connsiteY9" fmla="*/ 1971675 h 2057400"/>
              <a:gd name="connsiteX10" fmla="*/ 1924050 w 3852863"/>
              <a:gd name="connsiteY10" fmla="*/ 2024062 h 2057400"/>
              <a:gd name="connsiteX11" fmla="*/ 2185988 w 3852863"/>
              <a:gd name="connsiteY11" fmla="*/ 2057400 h 2057400"/>
              <a:gd name="connsiteX12" fmla="*/ 2405063 w 3852863"/>
              <a:gd name="connsiteY12" fmla="*/ 1662112 h 2057400"/>
              <a:gd name="connsiteX13" fmla="*/ 2566988 w 3852863"/>
              <a:gd name="connsiteY13" fmla="*/ 1352550 h 2057400"/>
              <a:gd name="connsiteX14" fmla="*/ 3343275 w 3852863"/>
              <a:gd name="connsiteY14" fmla="*/ 795337 h 2057400"/>
              <a:gd name="connsiteX15" fmla="*/ 3852863 w 3852863"/>
              <a:gd name="connsiteY15" fmla="*/ 66675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52863" h="2057400">
                <a:moveTo>
                  <a:pt x="0" y="0"/>
                </a:moveTo>
                <a:lnTo>
                  <a:pt x="123825" y="285750"/>
                </a:lnTo>
                <a:lnTo>
                  <a:pt x="252413" y="514350"/>
                </a:lnTo>
                <a:lnTo>
                  <a:pt x="390525" y="752475"/>
                </a:lnTo>
                <a:lnTo>
                  <a:pt x="514350" y="976312"/>
                </a:lnTo>
                <a:lnTo>
                  <a:pt x="647700" y="1204912"/>
                </a:lnTo>
                <a:lnTo>
                  <a:pt x="909638" y="1481137"/>
                </a:lnTo>
                <a:lnTo>
                  <a:pt x="1157288" y="1681162"/>
                </a:lnTo>
                <a:lnTo>
                  <a:pt x="1419225" y="1852612"/>
                </a:lnTo>
                <a:lnTo>
                  <a:pt x="1676400" y="1971675"/>
                </a:lnTo>
                <a:lnTo>
                  <a:pt x="1924050" y="2024062"/>
                </a:lnTo>
                <a:lnTo>
                  <a:pt x="2185988" y="2057400"/>
                </a:lnTo>
                <a:lnTo>
                  <a:pt x="2405063" y="1662112"/>
                </a:lnTo>
                <a:lnTo>
                  <a:pt x="2566988" y="1352550"/>
                </a:lnTo>
                <a:lnTo>
                  <a:pt x="3343275" y="795337"/>
                </a:lnTo>
                <a:lnTo>
                  <a:pt x="3852863" y="666750"/>
                </a:lnTo>
              </a:path>
            </a:pathLst>
          </a:custGeom>
          <a:noFill/>
          <a:ln w="2857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is For Office"/>
              <a:ea typeface="+mn-ea"/>
              <a:cs typeface="+mn-cs"/>
            </a:endParaRPr>
          </a:p>
        </p:txBody>
      </p:sp>
      <p:grpSp>
        <p:nvGrpSpPr>
          <p:cNvPr id="714" name="Group 713">
            <a:extLst>
              <a:ext uri="{FF2B5EF4-FFF2-40B4-BE49-F238E27FC236}">
                <a16:creationId xmlns:a16="http://schemas.microsoft.com/office/drawing/2014/main" id="{C5B01724-088D-6456-10EA-49C55E794F49}"/>
              </a:ext>
            </a:extLst>
          </p:cNvPr>
          <p:cNvGrpSpPr/>
          <p:nvPr/>
        </p:nvGrpSpPr>
        <p:grpSpPr>
          <a:xfrm>
            <a:off x="1766871" y="3333261"/>
            <a:ext cx="4092443" cy="2097630"/>
            <a:chOff x="1372254" y="2459108"/>
            <a:chExt cx="3852833" cy="2152653"/>
          </a:xfrm>
        </p:grpSpPr>
        <p:cxnSp>
          <p:nvCxnSpPr>
            <p:cNvPr id="288" name="Straight Connector 287">
              <a:extLst>
                <a:ext uri="{FF2B5EF4-FFF2-40B4-BE49-F238E27FC236}">
                  <a16:creationId xmlns:a16="http://schemas.microsoft.com/office/drawing/2014/main" id="{C964D45D-741F-BD88-1035-45A8BBAF4715}"/>
                </a:ext>
              </a:extLst>
            </p:cNvPr>
            <p:cNvCxnSpPr>
              <a:cxnSpLocks/>
            </p:cNvCxnSpPr>
            <p:nvPr/>
          </p:nvCxnSpPr>
          <p:spPr>
            <a:xfrm>
              <a:off x="1372254" y="2459108"/>
              <a:ext cx="0" cy="45719"/>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18C0D663-BDA0-6838-1930-2E02A2CD97D1}"/>
                </a:ext>
              </a:extLst>
            </p:cNvPr>
            <p:cNvCxnSpPr>
              <a:cxnSpLocks/>
            </p:cNvCxnSpPr>
            <p:nvPr/>
          </p:nvCxnSpPr>
          <p:spPr>
            <a:xfrm>
              <a:off x="1495092" y="2750728"/>
              <a:ext cx="0" cy="45719"/>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5EA6D49D-B686-861D-981B-75E43011F3DD}"/>
                </a:ext>
              </a:extLst>
            </p:cNvPr>
            <p:cNvCxnSpPr>
              <a:cxnSpLocks/>
            </p:cNvCxnSpPr>
            <p:nvPr/>
          </p:nvCxnSpPr>
          <p:spPr>
            <a:xfrm>
              <a:off x="1626431" y="2982965"/>
              <a:ext cx="0" cy="45719"/>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59B2D10D-7B0D-8476-7B57-E32DA9271A1D}"/>
                </a:ext>
              </a:extLst>
            </p:cNvPr>
            <p:cNvCxnSpPr>
              <a:cxnSpLocks/>
            </p:cNvCxnSpPr>
            <p:nvPr/>
          </p:nvCxnSpPr>
          <p:spPr>
            <a:xfrm>
              <a:off x="1752596" y="3198415"/>
              <a:ext cx="0" cy="45719"/>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E72DF58C-8CEB-DE31-076A-D02A3AF14C3A}"/>
                </a:ext>
              </a:extLst>
            </p:cNvPr>
            <p:cNvCxnSpPr>
              <a:cxnSpLocks/>
            </p:cNvCxnSpPr>
            <p:nvPr/>
          </p:nvCxnSpPr>
          <p:spPr>
            <a:xfrm>
              <a:off x="1874795" y="3412695"/>
              <a:ext cx="0" cy="63761"/>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DBC271B6-9AD9-9ABA-0BC4-33CCE98456B1}"/>
                </a:ext>
              </a:extLst>
            </p:cNvPr>
            <p:cNvCxnSpPr>
              <a:cxnSpLocks/>
            </p:cNvCxnSpPr>
            <p:nvPr/>
          </p:nvCxnSpPr>
          <p:spPr>
            <a:xfrm>
              <a:off x="2008570" y="3648718"/>
              <a:ext cx="0" cy="63761"/>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1D76BCC5-2020-DBC8-7E59-84442FE9DC83}"/>
                </a:ext>
              </a:extLst>
            </p:cNvPr>
            <p:cNvCxnSpPr>
              <a:cxnSpLocks/>
            </p:cNvCxnSpPr>
            <p:nvPr/>
          </p:nvCxnSpPr>
          <p:spPr>
            <a:xfrm>
              <a:off x="2263017" y="3900384"/>
              <a:ext cx="0" cy="92139"/>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5759F580-323C-B2D4-F1C3-E4882AD3444B}"/>
                </a:ext>
              </a:extLst>
            </p:cNvPr>
            <p:cNvCxnSpPr>
              <a:cxnSpLocks/>
            </p:cNvCxnSpPr>
            <p:nvPr/>
          </p:nvCxnSpPr>
          <p:spPr>
            <a:xfrm>
              <a:off x="2525593" y="4100163"/>
              <a:ext cx="0" cy="110078"/>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1F60AF28-0CF4-0853-AD24-7B6ECC0FDA8D}"/>
                </a:ext>
              </a:extLst>
            </p:cNvPr>
            <p:cNvCxnSpPr>
              <a:cxnSpLocks/>
            </p:cNvCxnSpPr>
            <p:nvPr/>
          </p:nvCxnSpPr>
          <p:spPr>
            <a:xfrm>
              <a:off x="2776858" y="4261953"/>
              <a:ext cx="0" cy="117871"/>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A98B51C5-395C-F592-521F-B80032A9B4E2}"/>
                </a:ext>
              </a:extLst>
            </p:cNvPr>
            <p:cNvCxnSpPr>
              <a:cxnSpLocks/>
            </p:cNvCxnSpPr>
            <p:nvPr/>
          </p:nvCxnSpPr>
          <p:spPr>
            <a:xfrm>
              <a:off x="3045109" y="4392377"/>
              <a:ext cx="0" cy="129803"/>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9A26D2BF-6F05-9B7D-0C17-A0D117CFD916}"/>
                </a:ext>
              </a:extLst>
            </p:cNvPr>
            <p:cNvCxnSpPr>
              <a:cxnSpLocks/>
            </p:cNvCxnSpPr>
            <p:nvPr/>
          </p:nvCxnSpPr>
          <p:spPr>
            <a:xfrm>
              <a:off x="3298010" y="4439345"/>
              <a:ext cx="0" cy="129803"/>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2E08E0E9-362E-6A2D-03FA-904AD3875390}"/>
                </a:ext>
              </a:extLst>
            </p:cNvPr>
            <p:cNvCxnSpPr>
              <a:cxnSpLocks/>
            </p:cNvCxnSpPr>
            <p:nvPr/>
          </p:nvCxnSpPr>
          <p:spPr>
            <a:xfrm>
              <a:off x="3557024" y="4461024"/>
              <a:ext cx="0" cy="150737"/>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BE8785B5-FFD9-7036-F26B-89B73E2FDE25}"/>
                </a:ext>
              </a:extLst>
            </p:cNvPr>
            <p:cNvCxnSpPr>
              <a:cxnSpLocks/>
            </p:cNvCxnSpPr>
            <p:nvPr/>
          </p:nvCxnSpPr>
          <p:spPr>
            <a:xfrm>
              <a:off x="3770300" y="4064785"/>
              <a:ext cx="0" cy="150737"/>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09F34C89-9428-5702-5D0E-8448FAA0C059}"/>
                </a:ext>
              </a:extLst>
            </p:cNvPr>
            <p:cNvCxnSpPr>
              <a:cxnSpLocks/>
            </p:cNvCxnSpPr>
            <p:nvPr/>
          </p:nvCxnSpPr>
          <p:spPr>
            <a:xfrm>
              <a:off x="3932560" y="3762597"/>
              <a:ext cx="0" cy="150737"/>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739" name="Straight Connector 738">
              <a:extLst>
                <a:ext uri="{FF2B5EF4-FFF2-40B4-BE49-F238E27FC236}">
                  <a16:creationId xmlns:a16="http://schemas.microsoft.com/office/drawing/2014/main" id="{BA483550-3AF1-0062-41CE-D5F45DD39E26}"/>
                </a:ext>
              </a:extLst>
            </p:cNvPr>
            <p:cNvCxnSpPr>
              <a:cxnSpLocks/>
            </p:cNvCxnSpPr>
            <p:nvPr/>
          </p:nvCxnSpPr>
          <p:spPr>
            <a:xfrm>
              <a:off x="4709986" y="3201971"/>
              <a:ext cx="0" cy="150737"/>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D0185605-F553-0574-CB38-BF3163F19A6A}"/>
                </a:ext>
              </a:extLst>
            </p:cNvPr>
            <p:cNvCxnSpPr>
              <a:cxnSpLocks/>
            </p:cNvCxnSpPr>
            <p:nvPr/>
          </p:nvCxnSpPr>
          <p:spPr>
            <a:xfrm>
              <a:off x="5225087" y="3068467"/>
              <a:ext cx="0" cy="150737"/>
            </a:xfrm>
            <a:prstGeom prst="line">
              <a:avLst/>
            </a:prstGeom>
            <a:ln w="15875">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715" name="Freeform: Shape 714">
            <a:extLst>
              <a:ext uri="{FF2B5EF4-FFF2-40B4-BE49-F238E27FC236}">
                <a16:creationId xmlns:a16="http://schemas.microsoft.com/office/drawing/2014/main" id="{A4413E08-7194-273E-FDCE-5F1EB693E633}"/>
              </a:ext>
            </a:extLst>
          </p:cNvPr>
          <p:cNvSpPr/>
          <p:nvPr/>
        </p:nvSpPr>
        <p:spPr>
          <a:xfrm>
            <a:off x="1761029" y="3354148"/>
            <a:ext cx="4127885" cy="320212"/>
          </a:xfrm>
          <a:custGeom>
            <a:avLst/>
            <a:gdLst>
              <a:gd name="connsiteX0" fmla="*/ 0 w 3886200"/>
              <a:gd name="connsiteY0" fmla="*/ 0 h 328612"/>
              <a:gd name="connsiteX1" fmla="*/ 138113 w 3886200"/>
              <a:gd name="connsiteY1" fmla="*/ 128587 h 328612"/>
              <a:gd name="connsiteX2" fmla="*/ 266700 w 3886200"/>
              <a:gd name="connsiteY2" fmla="*/ 209550 h 328612"/>
              <a:gd name="connsiteX3" fmla="*/ 409575 w 3886200"/>
              <a:gd name="connsiteY3" fmla="*/ 266700 h 328612"/>
              <a:gd name="connsiteX4" fmla="*/ 523875 w 3886200"/>
              <a:gd name="connsiteY4" fmla="*/ 276225 h 328612"/>
              <a:gd name="connsiteX5" fmla="*/ 661988 w 3886200"/>
              <a:gd name="connsiteY5" fmla="*/ 295275 h 328612"/>
              <a:gd name="connsiteX6" fmla="*/ 914400 w 3886200"/>
              <a:gd name="connsiteY6" fmla="*/ 314325 h 328612"/>
              <a:gd name="connsiteX7" fmla="*/ 1176338 w 3886200"/>
              <a:gd name="connsiteY7" fmla="*/ 328612 h 328612"/>
              <a:gd name="connsiteX8" fmla="*/ 1428750 w 3886200"/>
              <a:gd name="connsiteY8" fmla="*/ 314325 h 328612"/>
              <a:gd name="connsiteX9" fmla="*/ 1685925 w 3886200"/>
              <a:gd name="connsiteY9" fmla="*/ 319087 h 328612"/>
              <a:gd name="connsiteX10" fmla="*/ 1962150 w 3886200"/>
              <a:gd name="connsiteY10" fmla="*/ 276225 h 328612"/>
              <a:gd name="connsiteX11" fmla="*/ 2195513 w 3886200"/>
              <a:gd name="connsiteY11" fmla="*/ 238125 h 328612"/>
              <a:gd name="connsiteX12" fmla="*/ 2433638 w 3886200"/>
              <a:gd name="connsiteY12" fmla="*/ 219075 h 328612"/>
              <a:gd name="connsiteX13" fmla="*/ 2590800 w 3886200"/>
              <a:gd name="connsiteY13" fmla="*/ 123825 h 328612"/>
              <a:gd name="connsiteX14" fmla="*/ 3371850 w 3886200"/>
              <a:gd name="connsiteY14" fmla="*/ 57150 h 328612"/>
              <a:gd name="connsiteX15" fmla="*/ 3886200 w 3886200"/>
              <a:gd name="connsiteY15" fmla="*/ 9525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86200" h="328612">
                <a:moveTo>
                  <a:pt x="0" y="0"/>
                </a:moveTo>
                <a:lnTo>
                  <a:pt x="138113" y="128587"/>
                </a:lnTo>
                <a:lnTo>
                  <a:pt x="266700" y="209550"/>
                </a:lnTo>
                <a:lnTo>
                  <a:pt x="409575" y="266700"/>
                </a:lnTo>
                <a:lnTo>
                  <a:pt x="523875" y="276225"/>
                </a:lnTo>
                <a:lnTo>
                  <a:pt x="661988" y="295275"/>
                </a:lnTo>
                <a:lnTo>
                  <a:pt x="914400" y="314325"/>
                </a:lnTo>
                <a:lnTo>
                  <a:pt x="1176338" y="328612"/>
                </a:lnTo>
                <a:lnTo>
                  <a:pt x="1428750" y="314325"/>
                </a:lnTo>
                <a:lnTo>
                  <a:pt x="1685925" y="319087"/>
                </a:lnTo>
                <a:lnTo>
                  <a:pt x="1962150" y="276225"/>
                </a:lnTo>
                <a:lnTo>
                  <a:pt x="2195513" y="238125"/>
                </a:lnTo>
                <a:lnTo>
                  <a:pt x="2433638" y="219075"/>
                </a:lnTo>
                <a:lnTo>
                  <a:pt x="2590800" y="123825"/>
                </a:lnTo>
                <a:lnTo>
                  <a:pt x="3371850" y="57150"/>
                </a:lnTo>
                <a:lnTo>
                  <a:pt x="3886200" y="9525"/>
                </a:lnTo>
              </a:path>
            </a:pathLst>
          </a:custGeom>
          <a:ln w="28575">
            <a:solidFill>
              <a:schemeClr val="accent6"/>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grpSp>
        <p:nvGrpSpPr>
          <p:cNvPr id="716" name="Group 715">
            <a:extLst>
              <a:ext uri="{FF2B5EF4-FFF2-40B4-BE49-F238E27FC236}">
                <a16:creationId xmlns:a16="http://schemas.microsoft.com/office/drawing/2014/main" id="{1194259C-A546-55B1-9FDB-C4DED593A21D}"/>
              </a:ext>
            </a:extLst>
          </p:cNvPr>
          <p:cNvGrpSpPr/>
          <p:nvPr/>
        </p:nvGrpSpPr>
        <p:grpSpPr>
          <a:xfrm>
            <a:off x="1764205" y="3295093"/>
            <a:ext cx="4114416" cy="447152"/>
            <a:chOff x="1369744" y="2419939"/>
            <a:chExt cx="3873519" cy="458881"/>
          </a:xfrm>
        </p:grpSpPr>
        <p:cxnSp>
          <p:nvCxnSpPr>
            <p:cNvPr id="718" name="Straight Connector 717">
              <a:extLst>
                <a:ext uri="{FF2B5EF4-FFF2-40B4-BE49-F238E27FC236}">
                  <a16:creationId xmlns:a16="http://schemas.microsoft.com/office/drawing/2014/main" id="{B916E60D-C8F8-D69E-270B-EED74856D4AF}"/>
                </a:ext>
              </a:extLst>
            </p:cNvPr>
            <p:cNvCxnSpPr>
              <a:cxnSpLocks/>
            </p:cNvCxnSpPr>
            <p:nvPr/>
          </p:nvCxnSpPr>
          <p:spPr>
            <a:xfrm>
              <a:off x="5243263" y="2419939"/>
              <a:ext cx="0" cy="150737"/>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6E872B15-6B02-A1B9-8610-7CB57D8E04C2}"/>
                </a:ext>
              </a:extLst>
            </p:cNvPr>
            <p:cNvCxnSpPr>
              <a:cxnSpLocks/>
            </p:cNvCxnSpPr>
            <p:nvPr/>
          </p:nvCxnSpPr>
          <p:spPr>
            <a:xfrm>
              <a:off x="4724128" y="2469260"/>
              <a:ext cx="0" cy="150737"/>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0" name="Straight Connector 719">
              <a:extLst>
                <a:ext uri="{FF2B5EF4-FFF2-40B4-BE49-F238E27FC236}">
                  <a16:creationId xmlns:a16="http://schemas.microsoft.com/office/drawing/2014/main" id="{B7ED78EE-3849-669D-A177-2D0C984D71D8}"/>
                </a:ext>
              </a:extLst>
            </p:cNvPr>
            <p:cNvCxnSpPr>
              <a:cxnSpLocks/>
            </p:cNvCxnSpPr>
            <p:nvPr/>
          </p:nvCxnSpPr>
          <p:spPr>
            <a:xfrm>
              <a:off x="3948590" y="2535418"/>
              <a:ext cx="0" cy="15869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1" name="Straight Connector 720">
              <a:extLst>
                <a:ext uri="{FF2B5EF4-FFF2-40B4-BE49-F238E27FC236}">
                  <a16:creationId xmlns:a16="http://schemas.microsoft.com/office/drawing/2014/main" id="{64EFF6A0-19E4-1269-B8B7-A001DA2EB2F1}"/>
                </a:ext>
              </a:extLst>
            </p:cNvPr>
            <p:cNvCxnSpPr>
              <a:cxnSpLocks/>
            </p:cNvCxnSpPr>
            <p:nvPr/>
          </p:nvCxnSpPr>
          <p:spPr>
            <a:xfrm>
              <a:off x="3790371" y="2622266"/>
              <a:ext cx="0" cy="15869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6460722E-1F01-BF16-B3EF-A9A5051809DA}"/>
                </a:ext>
              </a:extLst>
            </p:cNvPr>
            <p:cNvCxnSpPr>
              <a:cxnSpLocks/>
            </p:cNvCxnSpPr>
            <p:nvPr/>
          </p:nvCxnSpPr>
          <p:spPr>
            <a:xfrm>
              <a:off x="3554327" y="2648082"/>
              <a:ext cx="0" cy="147348"/>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ACF2FC15-3843-CAAA-E09E-FBBB8B557F77}"/>
                </a:ext>
              </a:extLst>
            </p:cNvPr>
            <p:cNvCxnSpPr>
              <a:cxnSpLocks/>
            </p:cNvCxnSpPr>
            <p:nvPr/>
          </p:nvCxnSpPr>
          <p:spPr>
            <a:xfrm>
              <a:off x="3314078" y="2695810"/>
              <a:ext cx="0" cy="147348"/>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4" name="Straight Connector 723">
              <a:extLst>
                <a:ext uri="{FF2B5EF4-FFF2-40B4-BE49-F238E27FC236}">
                  <a16:creationId xmlns:a16="http://schemas.microsoft.com/office/drawing/2014/main" id="{E24FDA18-A700-A3E7-0F18-E60A5F7D1722}"/>
                </a:ext>
              </a:extLst>
            </p:cNvPr>
            <p:cNvCxnSpPr>
              <a:cxnSpLocks/>
            </p:cNvCxnSpPr>
            <p:nvPr/>
          </p:nvCxnSpPr>
          <p:spPr>
            <a:xfrm>
              <a:off x="3051846" y="2732916"/>
              <a:ext cx="0" cy="145904"/>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5" name="Straight Connector 724">
              <a:extLst>
                <a:ext uri="{FF2B5EF4-FFF2-40B4-BE49-F238E27FC236}">
                  <a16:creationId xmlns:a16="http://schemas.microsoft.com/office/drawing/2014/main" id="{E9DF1E0C-5DC9-2181-74EC-3EED98E71669}"/>
                </a:ext>
              </a:extLst>
            </p:cNvPr>
            <p:cNvCxnSpPr>
              <a:cxnSpLocks/>
            </p:cNvCxnSpPr>
            <p:nvPr/>
          </p:nvCxnSpPr>
          <p:spPr>
            <a:xfrm>
              <a:off x="2793828" y="2726803"/>
              <a:ext cx="0" cy="145904"/>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6" name="Straight Connector 725">
              <a:extLst>
                <a:ext uri="{FF2B5EF4-FFF2-40B4-BE49-F238E27FC236}">
                  <a16:creationId xmlns:a16="http://schemas.microsoft.com/office/drawing/2014/main" id="{B287FD6A-0B0E-ABA9-DCC8-01E4DFA22978}"/>
                </a:ext>
              </a:extLst>
            </p:cNvPr>
            <p:cNvCxnSpPr>
              <a:cxnSpLocks/>
            </p:cNvCxnSpPr>
            <p:nvPr/>
          </p:nvCxnSpPr>
          <p:spPr>
            <a:xfrm>
              <a:off x="2532654" y="2751140"/>
              <a:ext cx="0" cy="12768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a:extLst>
                <a:ext uri="{FF2B5EF4-FFF2-40B4-BE49-F238E27FC236}">
                  <a16:creationId xmlns:a16="http://schemas.microsoft.com/office/drawing/2014/main" id="{BE125B51-CD81-D89C-7F06-BE05D3B3933D}"/>
                </a:ext>
              </a:extLst>
            </p:cNvPr>
            <p:cNvCxnSpPr>
              <a:cxnSpLocks/>
            </p:cNvCxnSpPr>
            <p:nvPr/>
          </p:nvCxnSpPr>
          <p:spPr>
            <a:xfrm>
              <a:off x="2276103" y="2735655"/>
              <a:ext cx="0" cy="12195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4DD6BBDF-C75F-A714-0788-75568BB63E4C}"/>
                </a:ext>
              </a:extLst>
            </p:cNvPr>
            <p:cNvCxnSpPr>
              <a:cxnSpLocks/>
            </p:cNvCxnSpPr>
            <p:nvPr/>
          </p:nvCxnSpPr>
          <p:spPr>
            <a:xfrm>
              <a:off x="2020389" y="2728161"/>
              <a:ext cx="0" cy="9543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3FADB54D-69C5-6C76-55C3-C01B78A235F6}"/>
                </a:ext>
              </a:extLst>
            </p:cNvPr>
            <p:cNvCxnSpPr>
              <a:cxnSpLocks/>
            </p:cNvCxnSpPr>
            <p:nvPr/>
          </p:nvCxnSpPr>
          <p:spPr>
            <a:xfrm>
              <a:off x="1890922" y="2713924"/>
              <a:ext cx="0" cy="8616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AE9B9C9E-E710-AFDC-4174-D5D2A5442BEB}"/>
                </a:ext>
              </a:extLst>
            </p:cNvPr>
            <p:cNvCxnSpPr>
              <a:cxnSpLocks/>
            </p:cNvCxnSpPr>
            <p:nvPr/>
          </p:nvCxnSpPr>
          <p:spPr>
            <a:xfrm>
              <a:off x="1764639" y="2705009"/>
              <a:ext cx="0" cy="7482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65E6CDCE-DAA9-1CC9-1669-99A6459BA97F}"/>
                </a:ext>
              </a:extLst>
            </p:cNvPr>
            <p:cNvCxnSpPr>
              <a:cxnSpLocks/>
            </p:cNvCxnSpPr>
            <p:nvPr/>
          </p:nvCxnSpPr>
          <p:spPr>
            <a:xfrm>
              <a:off x="1641900" y="2661914"/>
              <a:ext cx="0" cy="56869"/>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3" name="Straight Connector 732">
              <a:extLst>
                <a:ext uri="{FF2B5EF4-FFF2-40B4-BE49-F238E27FC236}">
                  <a16:creationId xmlns:a16="http://schemas.microsoft.com/office/drawing/2014/main" id="{B8559ACF-2F30-5941-F68C-E57D07CA5FCB}"/>
                </a:ext>
              </a:extLst>
            </p:cNvPr>
            <p:cNvCxnSpPr>
              <a:cxnSpLocks/>
            </p:cNvCxnSpPr>
            <p:nvPr/>
          </p:nvCxnSpPr>
          <p:spPr>
            <a:xfrm>
              <a:off x="1505040" y="2582532"/>
              <a:ext cx="0" cy="5112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34D2B530-5160-8D03-9612-44C2A43B2BFE}"/>
                </a:ext>
              </a:extLst>
            </p:cNvPr>
            <p:cNvCxnSpPr>
              <a:cxnSpLocks/>
            </p:cNvCxnSpPr>
            <p:nvPr/>
          </p:nvCxnSpPr>
          <p:spPr>
            <a:xfrm>
              <a:off x="1369744" y="2460052"/>
              <a:ext cx="0" cy="5112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17" name="TextBox 716">
            <a:extLst>
              <a:ext uri="{FF2B5EF4-FFF2-40B4-BE49-F238E27FC236}">
                <a16:creationId xmlns:a16="http://schemas.microsoft.com/office/drawing/2014/main" id="{C31D5B5D-85FD-560E-F710-5829D314CB3F}"/>
              </a:ext>
            </a:extLst>
          </p:cNvPr>
          <p:cNvSpPr txBox="1"/>
          <p:nvPr/>
        </p:nvSpPr>
        <p:spPr>
          <a:xfrm>
            <a:off x="1176750" y="2997915"/>
            <a:ext cx="422594" cy="276999"/>
          </a:xfrm>
          <a:prstGeom prst="rect">
            <a:avLst/>
          </a:prstGeom>
          <a:noFill/>
        </p:spPr>
        <p:txBody>
          <a:bodyPr wrap="square" lIns="91440" tIns="45720" rIns="91440" bIns="4572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1965"/>
                </a:solidFill>
                <a:effectLst/>
                <a:uLnTx/>
                <a:uFillTx/>
                <a:latin typeface="Apis For Office"/>
                <a:ea typeface="+mn-ea"/>
                <a:cs typeface="+mn-cs"/>
              </a:rPr>
              <a:t>2</a:t>
            </a:r>
            <a:endParaRPr kumimoji="0" lang="en-US" sz="1200" b="0" i="0" u="none" strike="noStrike" kern="1200" cap="none" spc="0" normalizeH="0" baseline="0" noProof="0">
              <a:ln>
                <a:noFill/>
              </a:ln>
              <a:solidFill>
                <a:srgbClr val="001965"/>
              </a:solidFill>
              <a:effectLst/>
              <a:uLnTx/>
              <a:uFillTx/>
              <a:latin typeface="Apis For Office"/>
              <a:ea typeface="+mn-ea"/>
              <a:cs typeface="+mn-cs"/>
            </a:endParaRPr>
          </a:p>
        </p:txBody>
      </p:sp>
      <p:grpSp>
        <p:nvGrpSpPr>
          <p:cNvPr id="17" name="Group 16">
            <a:extLst>
              <a:ext uri="{FF2B5EF4-FFF2-40B4-BE49-F238E27FC236}">
                <a16:creationId xmlns:a16="http://schemas.microsoft.com/office/drawing/2014/main" id="{FA47F3FF-D2AF-1350-3A2D-40023774CE8D}"/>
              </a:ext>
            </a:extLst>
          </p:cNvPr>
          <p:cNvGrpSpPr/>
          <p:nvPr/>
        </p:nvGrpSpPr>
        <p:grpSpPr>
          <a:xfrm>
            <a:off x="7199252" y="2549726"/>
            <a:ext cx="4361912" cy="3383418"/>
            <a:chOff x="5645681" y="2783027"/>
            <a:chExt cx="2134619" cy="2461165"/>
          </a:xfrm>
        </p:grpSpPr>
        <p:sp>
          <p:nvSpPr>
            <p:cNvPr id="22" name="Rectangle 21">
              <a:extLst>
                <a:ext uri="{FF2B5EF4-FFF2-40B4-BE49-F238E27FC236}">
                  <a16:creationId xmlns:a16="http://schemas.microsoft.com/office/drawing/2014/main" id="{F3A0AF03-B60A-5829-4A45-6F375347081A}"/>
                </a:ext>
              </a:extLst>
            </p:cNvPr>
            <p:cNvSpPr/>
            <p:nvPr/>
          </p:nvSpPr>
          <p:spPr>
            <a:xfrm>
              <a:off x="5645681" y="2783027"/>
              <a:ext cx="2134619" cy="2461165"/>
            </a:xfrm>
            <a:prstGeom prst="rect">
              <a:avLst/>
            </a:prstGeom>
            <a:solidFill>
              <a:srgbClr val="3B9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25" name="TextBox 24">
              <a:extLst>
                <a:ext uri="{FF2B5EF4-FFF2-40B4-BE49-F238E27FC236}">
                  <a16:creationId xmlns:a16="http://schemas.microsoft.com/office/drawing/2014/main" id="{1789AB9E-4208-D34C-0071-F2B4F4EB26A7}"/>
                </a:ext>
              </a:extLst>
            </p:cNvPr>
            <p:cNvSpPr txBox="1"/>
            <p:nvPr/>
          </p:nvSpPr>
          <p:spPr>
            <a:xfrm>
              <a:off x="5731045" y="2872651"/>
              <a:ext cx="1996141" cy="78699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CA"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fter one year of withdrawal of OW </a:t>
              </a:r>
              <a:r>
                <a:rPr kumimoji="0" lang="en-CA" sz="20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a:t>
              </a:r>
              <a:r>
                <a:rPr kumimoji="0" lang="en-CA"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2.4 mg and lifestyle intervention,</a:t>
              </a:r>
              <a:endParaRPr kumimoji="0" lang="en-GB"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6" name="TextBox 25">
              <a:extLst>
                <a:ext uri="{FF2B5EF4-FFF2-40B4-BE49-F238E27FC236}">
                  <a16:creationId xmlns:a16="http://schemas.microsoft.com/office/drawing/2014/main" id="{6AD56851-FEAC-365F-5319-62AE0F00E80B}"/>
                </a:ext>
              </a:extLst>
            </p:cNvPr>
            <p:cNvSpPr txBox="1"/>
            <p:nvPr/>
          </p:nvSpPr>
          <p:spPr>
            <a:xfrm>
              <a:off x="5734468" y="3673648"/>
              <a:ext cx="1955024" cy="867826"/>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CA"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articipants regained </a:t>
              </a:r>
              <a:r>
                <a:rPr kumimoji="0" lang="en-CA" sz="20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pprox</a:t>
              </a:r>
              <a:endParaRPr kumimoji="0" lang="en-CA"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CA" sz="4800" b="1"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rPr>
                <a:t> 2/3</a:t>
              </a:r>
              <a:r>
                <a:rPr kumimoji="0" lang="en-CA" sz="4800" b="1" i="0" u="none" strike="noStrike" kern="1200" cap="none" spc="0" normalizeH="0" baseline="3000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rPr>
                <a:t>rd</a:t>
              </a:r>
              <a:endParaRPr kumimoji="0" lang="en-CA"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7" name="TextBox 26">
              <a:extLst>
                <a:ext uri="{FF2B5EF4-FFF2-40B4-BE49-F238E27FC236}">
                  <a16:creationId xmlns:a16="http://schemas.microsoft.com/office/drawing/2014/main" id="{60B21A41-2D86-AF79-3D53-98701FE2E36A}"/>
                </a:ext>
              </a:extLst>
            </p:cNvPr>
            <p:cNvSpPr txBox="1"/>
            <p:nvPr/>
          </p:nvSpPr>
          <p:spPr>
            <a:xfrm>
              <a:off x="6544969" y="4028865"/>
              <a:ext cx="1099473" cy="5149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f their prior weight loss</a:t>
              </a:r>
              <a:endParaRPr kumimoji="0" lang="en-GB" sz="20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28" name="Rectangle 27">
              <a:extLst>
                <a:ext uri="{FF2B5EF4-FFF2-40B4-BE49-F238E27FC236}">
                  <a16:creationId xmlns:a16="http://schemas.microsoft.com/office/drawing/2014/main" id="{AA10AF6C-FC72-A3AD-7BE6-8549A640B078}"/>
                </a:ext>
              </a:extLst>
            </p:cNvPr>
            <p:cNvSpPr/>
            <p:nvPr/>
          </p:nvSpPr>
          <p:spPr>
            <a:xfrm>
              <a:off x="5740020" y="4573057"/>
              <a:ext cx="1949471" cy="544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eight remained </a:t>
              </a:r>
              <a:r>
                <a:rPr kumimoji="0" lang="en-US" sz="18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6% below baseline</a:t>
              </a:r>
              <a:r>
                <a:rPr kumimoji="0" lang="en-US"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in the </a:t>
              </a:r>
              <a:r>
                <a:rPr kumimoji="0" lang="en-US" sz="14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a:t>
              </a:r>
              <a:r>
                <a:rPr kumimoji="0" lang="en-US"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rm</a:t>
              </a:r>
              <a:endParaRPr kumimoji="0" lang="da-DK"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6" name="Group 5">
            <a:extLst>
              <a:ext uri="{FF2B5EF4-FFF2-40B4-BE49-F238E27FC236}">
                <a16:creationId xmlns:a16="http://schemas.microsoft.com/office/drawing/2014/main" id="{64BAE393-A590-C5CF-97AB-584C007601C2}"/>
              </a:ext>
            </a:extLst>
          </p:cNvPr>
          <p:cNvGrpSpPr/>
          <p:nvPr/>
        </p:nvGrpSpPr>
        <p:grpSpPr>
          <a:xfrm>
            <a:off x="2306272" y="6045165"/>
            <a:ext cx="3363311" cy="185920"/>
            <a:chOff x="1629438" y="5893328"/>
            <a:chExt cx="3363311" cy="185920"/>
          </a:xfrm>
        </p:grpSpPr>
        <p:sp>
          <p:nvSpPr>
            <p:cNvPr id="18" name="TextBox 17">
              <a:extLst>
                <a:ext uri="{FF2B5EF4-FFF2-40B4-BE49-F238E27FC236}">
                  <a16:creationId xmlns:a16="http://schemas.microsoft.com/office/drawing/2014/main" id="{86C2EA4F-B73F-8ADA-27D8-C5E53A519C90}"/>
                </a:ext>
              </a:extLst>
            </p:cNvPr>
            <p:cNvSpPr txBox="1"/>
            <p:nvPr/>
          </p:nvSpPr>
          <p:spPr>
            <a:xfrm>
              <a:off x="1820499" y="5894425"/>
              <a:ext cx="1598981" cy="166199"/>
            </a:xfrm>
            <a:prstGeom prst="rect">
              <a:avLst/>
            </a:prstGeom>
            <a:noFill/>
          </p:spPr>
          <p:txBody>
            <a:bodyPr wrap="square" lIns="0" tIns="0" rIns="0" bIns="0" rtlCol="0">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a:t>
              </a:r>
              <a:r>
                <a:rPr kumimoji="0" lang="en-US"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2.4 mg</a:t>
              </a:r>
              <a:endPar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 name="TextBox 18">
              <a:extLst>
                <a:ext uri="{FF2B5EF4-FFF2-40B4-BE49-F238E27FC236}">
                  <a16:creationId xmlns:a16="http://schemas.microsoft.com/office/drawing/2014/main" id="{6A291270-E64B-D0CD-7CE0-1B07AB1B7E9C}"/>
                </a:ext>
              </a:extLst>
            </p:cNvPr>
            <p:cNvSpPr txBox="1"/>
            <p:nvPr/>
          </p:nvSpPr>
          <p:spPr>
            <a:xfrm>
              <a:off x="3919274" y="5913049"/>
              <a:ext cx="1073475" cy="166199"/>
            </a:xfrm>
            <a:prstGeom prst="rect">
              <a:avLst/>
            </a:prstGeom>
            <a:noFill/>
          </p:spPr>
          <p:txBody>
            <a:bodyPr wrap="square" lIns="0" tIns="0" rIns="0" bIns="0" rtlCol="0">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39AA7">
                      <a:lumMod val="75000"/>
                    </a:srgbClr>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endParaRPr kumimoji="0" lang="en-GB" sz="1200" b="0" i="0" u="none" strike="noStrike" kern="1200" cap="none" spc="0" normalizeH="0" baseline="0" noProof="0">
                <a:ln>
                  <a:noFill/>
                </a:ln>
                <a:solidFill>
                  <a:srgbClr val="939AA7">
                    <a:lumMod val="75000"/>
                  </a:srgbClr>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5" name="Group 4">
              <a:extLst>
                <a:ext uri="{FF2B5EF4-FFF2-40B4-BE49-F238E27FC236}">
                  <a16:creationId xmlns:a16="http://schemas.microsoft.com/office/drawing/2014/main" id="{B8882620-B485-5E7B-239C-1769227B6368}"/>
                </a:ext>
              </a:extLst>
            </p:cNvPr>
            <p:cNvGrpSpPr/>
            <p:nvPr/>
          </p:nvGrpSpPr>
          <p:grpSpPr>
            <a:xfrm>
              <a:off x="1629438" y="5893328"/>
              <a:ext cx="2219649" cy="155914"/>
              <a:chOff x="1629438" y="5893328"/>
              <a:chExt cx="2219649" cy="120980"/>
            </a:xfrm>
          </p:grpSpPr>
          <p:sp>
            <p:nvSpPr>
              <p:cNvPr id="20" name="Rectangle 19">
                <a:extLst>
                  <a:ext uri="{FF2B5EF4-FFF2-40B4-BE49-F238E27FC236}">
                    <a16:creationId xmlns:a16="http://schemas.microsoft.com/office/drawing/2014/main" id="{C45F7D39-2321-1C3A-C1D4-EE9923C9C433}"/>
                  </a:ext>
                </a:extLst>
              </p:cNvPr>
              <p:cNvSpPr/>
              <p:nvPr/>
            </p:nvSpPr>
            <p:spPr>
              <a:xfrm>
                <a:off x="3728213" y="5909230"/>
                <a:ext cx="120874" cy="105078"/>
              </a:xfrm>
              <a:prstGeom prst="rect">
                <a:avLst/>
              </a:prstGeom>
              <a:solidFill>
                <a:srgbClr val="939AA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21" name="Rectangle 20">
                <a:extLst>
                  <a:ext uri="{FF2B5EF4-FFF2-40B4-BE49-F238E27FC236}">
                    <a16:creationId xmlns:a16="http://schemas.microsoft.com/office/drawing/2014/main" id="{7B1B85CF-36AB-246B-FCBE-FCF28F7AF535}"/>
                  </a:ext>
                </a:extLst>
              </p:cNvPr>
              <p:cNvSpPr/>
              <p:nvPr/>
            </p:nvSpPr>
            <p:spPr>
              <a:xfrm>
                <a:off x="1629438" y="5893328"/>
                <a:ext cx="120874" cy="10507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grpSp>
      </p:grpSp>
      <p:sp>
        <p:nvSpPr>
          <p:cNvPr id="4" name="Rectangle: Rounded Corners 3">
            <a:extLst>
              <a:ext uri="{FF2B5EF4-FFF2-40B4-BE49-F238E27FC236}">
                <a16:creationId xmlns:a16="http://schemas.microsoft.com/office/drawing/2014/main" id="{A4F195AF-6CA7-4BE8-7AE5-A66F94BD8962}"/>
              </a:ext>
            </a:extLst>
          </p:cNvPr>
          <p:cNvSpPr>
            <a:spLocks/>
          </p:cNvSpPr>
          <p:nvPr/>
        </p:nvSpPr>
        <p:spPr>
          <a:xfrm>
            <a:off x="647998" y="2549725"/>
            <a:ext cx="6214711" cy="486579"/>
          </a:xfrm>
          <a:prstGeom prst="roundRect">
            <a:avLst>
              <a:gd name="adj" fmla="val 0"/>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965"/>
                </a:solidFill>
                <a:effectLst/>
                <a:uLnTx/>
                <a:uFillTx/>
                <a:latin typeface="Apis For Office"/>
                <a:ea typeface="+mn-ea"/>
                <a:cs typeface="+mn-cs"/>
              </a:rPr>
              <a:t>Observed body weight change from week 0 to week 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solidFill>
                <a:effectLst/>
                <a:uLnTx/>
                <a:uFillTx/>
                <a:latin typeface="Apis For Office"/>
                <a:ea typeface="+mn-ea"/>
                <a:cs typeface="+mn-cs"/>
              </a:rPr>
              <a:t>(Mean at week 0: 107.2 kg)</a:t>
            </a:r>
          </a:p>
        </p:txBody>
      </p:sp>
    </p:spTree>
    <p:extLst>
      <p:ext uri="{BB962C8B-B14F-4D97-AF65-F5344CB8AC3E}">
        <p14:creationId xmlns:p14="http://schemas.microsoft.com/office/powerpoint/2010/main" val="3117877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Box 73">
            <a:extLst>
              <a:ext uri="{FF2B5EF4-FFF2-40B4-BE49-F238E27FC236}">
                <a16:creationId xmlns:a16="http://schemas.microsoft.com/office/drawing/2014/main" id="{01B1684C-FA21-493C-8992-63C04D9E7310}"/>
              </a:ext>
            </a:extLst>
          </p:cNvPr>
          <p:cNvSpPr txBox="1"/>
          <p:nvPr/>
        </p:nvSpPr>
        <p:spPr>
          <a:xfrm>
            <a:off x="647702" y="1602792"/>
            <a:ext cx="5262828" cy="535724"/>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bserved body weight change over time</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Mean at week 0: 107.2 kg)</a:t>
            </a:r>
            <a:endParaRPr kumimoji="0" lang="en-GB"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81" name="Group 80">
            <a:extLst>
              <a:ext uri="{FF2B5EF4-FFF2-40B4-BE49-F238E27FC236}">
                <a16:creationId xmlns:a16="http://schemas.microsoft.com/office/drawing/2014/main" id="{0D75498E-E61A-4880-B4A2-F8C4F45D5E8E}"/>
              </a:ext>
            </a:extLst>
          </p:cNvPr>
          <p:cNvGrpSpPr/>
          <p:nvPr/>
        </p:nvGrpSpPr>
        <p:grpSpPr>
          <a:xfrm>
            <a:off x="634013" y="5735479"/>
            <a:ext cx="4543395" cy="426459"/>
            <a:chOff x="627492" y="5620423"/>
            <a:chExt cx="4543396" cy="332645"/>
          </a:xfrm>
        </p:grpSpPr>
        <p:sp>
          <p:nvSpPr>
            <p:cNvPr id="51" name="TextBox 50">
              <a:extLst>
                <a:ext uri="{FF2B5EF4-FFF2-40B4-BE49-F238E27FC236}">
                  <a16:creationId xmlns:a16="http://schemas.microsoft.com/office/drawing/2014/main" id="{04BE3CA5-2F5B-4388-88CE-BF025E44E2E7}"/>
                </a:ext>
              </a:extLst>
            </p:cNvPr>
            <p:cNvSpPr txBox="1"/>
            <p:nvPr/>
          </p:nvSpPr>
          <p:spPr>
            <a:xfrm>
              <a:off x="627492" y="5764298"/>
              <a:ext cx="528991"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rial:</a:t>
              </a:r>
            </a:p>
          </p:txBody>
        </p:sp>
        <p:grpSp>
          <p:nvGrpSpPr>
            <p:cNvPr id="70" name="Group 69">
              <a:extLst>
                <a:ext uri="{FF2B5EF4-FFF2-40B4-BE49-F238E27FC236}">
                  <a16:creationId xmlns:a16="http://schemas.microsoft.com/office/drawing/2014/main" id="{4C63B1C4-F4B6-4990-8E6D-973ECCA777EF}"/>
                </a:ext>
              </a:extLst>
            </p:cNvPr>
            <p:cNvGrpSpPr/>
            <p:nvPr/>
          </p:nvGrpSpPr>
          <p:grpSpPr>
            <a:xfrm>
              <a:off x="3159871" y="5621753"/>
              <a:ext cx="1322478" cy="210586"/>
              <a:chOff x="1649899" y="5621753"/>
              <a:chExt cx="1322478" cy="210586"/>
            </a:xfrm>
          </p:grpSpPr>
          <p:sp>
            <p:nvSpPr>
              <p:cNvPr id="43" name="TextBox 42">
                <a:extLst>
                  <a:ext uri="{FF2B5EF4-FFF2-40B4-BE49-F238E27FC236}">
                    <a16:creationId xmlns:a16="http://schemas.microsoft.com/office/drawing/2014/main" id="{BD2A8839-4F9B-46B1-A35C-2216AE2BCBEA}"/>
                  </a:ext>
                </a:extLst>
              </p:cNvPr>
              <p:cNvSpPr txBox="1"/>
              <p:nvPr/>
            </p:nvSpPr>
            <p:spPr>
              <a:xfrm>
                <a:off x="1649899" y="5621753"/>
                <a:ext cx="1322478"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p>
            </p:txBody>
          </p:sp>
          <p:cxnSp>
            <p:nvCxnSpPr>
              <p:cNvPr id="46" name="Straight Connector 45">
                <a:extLst>
                  <a:ext uri="{FF2B5EF4-FFF2-40B4-BE49-F238E27FC236}">
                    <a16:creationId xmlns:a16="http://schemas.microsoft.com/office/drawing/2014/main" id="{645C705C-A1DD-4ACD-8B35-A4437D7CFFF9}"/>
                  </a:ext>
                </a:extLst>
              </p:cNvPr>
              <p:cNvCxnSpPr/>
              <p:nvPr/>
            </p:nvCxnSpPr>
            <p:spPr>
              <a:xfrm>
                <a:off x="2123738" y="5832339"/>
                <a:ext cx="3240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673D3AD5-976C-41B2-B8D4-7C3D73882A25}"/>
                </a:ext>
              </a:extLst>
            </p:cNvPr>
            <p:cNvGrpSpPr/>
            <p:nvPr/>
          </p:nvGrpSpPr>
          <p:grpSpPr>
            <a:xfrm>
              <a:off x="4651515" y="5620423"/>
              <a:ext cx="519373" cy="217568"/>
              <a:chOff x="3124374" y="5620423"/>
              <a:chExt cx="519373" cy="217568"/>
            </a:xfrm>
          </p:grpSpPr>
          <p:sp>
            <p:nvSpPr>
              <p:cNvPr id="44" name="TextBox 43">
                <a:extLst>
                  <a:ext uri="{FF2B5EF4-FFF2-40B4-BE49-F238E27FC236}">
                    <a16:creationId xmlns:a16="http://schemas.microsoft.com/office/drawing/2014/main" id="{E1BEAB52-4F85-4EBD-AF5C-3E6B79381D10}"/>
                  </a:ext>
                </a:extLst>
              </p:cNvPr>
              <p:cNvSpPr txBox="1"/>
              <p:nvPr/>
            </p:nvSpPr>
            <p:spPr>
              <a:xfrm>
                <a:off x="3124374" y="5620423"/>
                <a:ext cx="519373"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p>
            </p:txBody>
          </p:sp>
          <p:cxnSp>
            <p:nvCxnSpPr>
              <p:cNvPr id="47" name="Straight Connector 46">
                <a:extLst>
                  <a:ext uri="{FF2B5EF4-FFF2-40B4-BE49-F238E27FC236}">
                    <a16:creationId xmlns:a16="http://schemas.microsoft.com/office/drawing/2014/main" id="{FFF28937-AB85-43EB-980C-6D7945DFDE1A}"/>
                  </a:ext>
                </a:extLst>
              </p:cNvPr>
              <p:cNvCxnSpPr/>
              <p:nvPr/>
            </p:nvCxnSpPr>
            <p:spPr>
              <a:xfrm>
                <a:off x="3208190" y="5837991"/>
                <a:ext cx="324000" cy="0"/>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C08B82A6-5FF9-4F23-9AC8-2E8D8A59F9BB}"/>
                </a:ext>
              </a:extLst>
            </p:cNvPr>
            <p:cNvGrpSpPr/>
            <p:nvPr/>
          </p:nvGrpSpPr>
          <p:grpSpPr>
            <a:xfrm>
              <a:off x="1639374" y="5621753"/>
              <a:ext cx="1351331" cy="210586"/>
              <a:chOff x="1640205" y="5621753"/>
              <a:chExt cx="1351331" cy="210586"/>
            </a:xfrm>
          </p:grpSpPr>
          <p:sp>
            <p:nvSpPr>
              <p:cNvPr id="78" name="TextBox 77">
                <a:extLst>
                  <a:ext uri="{FF2B5EF4-FFF2-40B4-BE49-F238E27FC236}">
                    <a16:creationId xmlns:a16="http://schemas.microsoft.com/office/drawing/2014/main" id="{718B124B-208C-40F5-A45A-138C8BCAD5D8}"/>
                  </a:ext>
                </a:extLst>
              </p:cNvPr>
              <p:cNvSpPr txBox="1"/>
              <p:nvPr/>
            </p:nvSpPr>
            <p:spPr>
              <a:xfrm>
                <a:off x="1640205" y="5621753"/>
                <a:ext cx="1351331" cy="188770"/>
              </a:xfrm>
              <a:prstGeom prst="rect">
                <a:avLst/>
              </a:prstGeom>
              <a:noFill/>
            </p:spPr>
            <p:txBody>
              <a:bodyPr wrap="non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run-in)</a:t>
                </a:r>
              </a:p>
            </p:txBody>
          </p:sp>
          <p:cxnSp>
            <p:nvCxnSpPr>
              <p:cNvPr id="79" name="Straight Connector 78">
                <a:extLst>
                  <a:ext uri="{FF2B5EF4-FFF2-40B4-BE49-F238E27FC236}">
                    <a16:creationId xmlns:a16="http://schemas.microsoft.com/office/drawing/2014/main" id="{177B7442-4F5C-459D-94A2-AA28BD8F1C30}"/>
                  </a:ext>
                </a:extLst>
              </p:cNvPr>
              <p:cNvCxnSpPr/>
              <p:nvPr/>
            </p:nvCxnSpPr>
            <p:spPr>
              <a:xfrm>
                <a:off x="2123738" y="5832339"/>
                <a:ext cx="324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graphicFrame>
        <p:nvGraphicFramePr>
          <p:cNvPr id="13" name="Content Placeholder 9">
            <a:extLst>
              <a:ext uri="{FF2B5EF4-FFF2-40B4-BE49-F238E27FC236}">
                <a16:creationId xmlns:a16="http://schemas.microsoft.com/office/drawing/2014/main" id="{E4DEF3AB-0B1D-49D3-8327-5BB842682539}"/>
              </a:ext>
            </a:extLst>
          </p:cNvPr>
          <p:cNvGraphicFramePr>
            <a:graphicFrameLocks/>
          </p:cNvGraphicFramePr>
          <p:nvPr/>
        </p:nvGraphicFramePr>
        <p:xfrm>
          <a:off x="6495675" y="1944000"/>
          <a:ext cx="5065155" cy="371801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684C6405-EC73-418C-8A33-39A89796CEB4}"/>
              </a:ext>
            </a:extLst>
          </p:cNvPr>
          <p:cNvSpPr>
            <a:spLocks noGrp="1"/>
          </p:cNvSpPr>
          <p:nvPr>
            <p:ph type="title"/>
          </p:nvPr>
        </p:nvSpPr>
        <p:spPr>
          <a:xfrm>
            <a:off x="648000" y="648000"/>
            <a:ext cx="10896000" cy="1296000"/>
          </a:xfrm>
        </p:spPr>
        <p:txBody>
          <a:bodyPr/>
          <a:lstStyle/>
          <a:p>
            <a:r>
              <a:rPr lang="en-GB" sz="3600">
                <a:latin typeface="Apis For Office" panose="020B0504010101010104" pitchFamily="34" charset="0"/>
                <a:ea typeface="Apis For Office" panose="020B0504010101010104" pitchFamily="34" charset="0"/>
                <a:cs typeface="Apis For Office" panose="020B0504010101010104" pitchFamily="34" charset="0"/>
              </a:rPr>
              <a:t>Body weight change (week 0–68)</a:t>
            </a:r>
            <a:br>
              <a:rPr lang="en-GB">
                <a:latin typeface="Apis For Office" panose="020B0504010101010104" pitchFamily="34" charset="0"/>
                <a:ea typeface="Apis For Office" panose="020B0504010101010104" pitchFamily="34" charset="0"/>
                <a:cs typeface="Apis For Office" panose="020B0504010101010104" pitchFamily="34" charset="0"/>
              </a:rPr>
            </a:br>
            <a:r>
              <a:rPr lang="en-GB" sz="200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rPr>
              <a:t>STEP 4</a:t>
            </a:r>
            <a:endParaRPr lang="en-GB" sz="187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 name="Text Placeholder 5">
            <a:extLst>
              <a:ext uri="{FF2B5EF4-FFF2-40B4-BE49-F238E27FC236}">
                <a16:creationId xmlns:a16="http://schemas.microsoft.com/office/drawing/2014/main" id="{E13B5BCF-D6BF-4E83-9961-A28D0C371D4C}"/>
              </a:ext>
            </a:extLst>
          </p:cNvPr>
          <p:cNvSpPr>
            <a:spLocks noGrp="1"/>
          </p:cNvSpPr>
          <p:nvPr>
            <p:ph type="body" sz="quarter" idx="13"/>
          </p:nvPr>
        </p:nvSpPr>
        <p:spPr>
          <a:xfrm>
            <a:off x="647999" y="6210000"/>
            <a:ext cx="10896000" cy="324000"/>
          </a:xfrm>
        </p:spPr>
        <p:txBody>
          <a:bodyPr/>
          <a:lstStyle/>
          <a:p>
            <a:r>
              <a:rPr lang="en-US">
                <a:latin typeface="Apis For Office" panose="020B0504010101010104" pitchFamily="34" charset="0"/>
                <a:ea typeface="Apis For Office" panose="020B0504010101010104" pitchFamily="34" charset="0"/>
                <a:cs typeface="Apis For Office" panose="020B0504010101010104" pitchFamily="34" charset="0"/>
              </a:rPr>
              <a:t>#Treatment policy </a:t>
            </a:r>
            <a:r>
              <a:rPr lang="en-US" err="1">
                <a:latin typeface="Apis For Office" panose="020B0504010101010104" pitchFamily="34" charset="0"/>
                <a:ea typeface="Apis For Office" panose="020B0504010101010104" pitchFamily="34" charset="0"/>
                <a:cs typeface="Apis For Office" panose="020B0504010101010104" pitchFamily="34" charset="0"/>
              </a:rPr>
              <a:t>estimand</a:t>
            </a:r>
            <a:r>
              <a:rPr lang="en-US">
                <a:latin typeface="Apis For Office" panose="020B0504010101010104" pitchFamily="34" charset="0"/>
                <a:ea typeface="Apis For Office" panose="020B0504010101010104" pitchFamily="34" charset="0"/>
                <a:cs typeface="Apis For Office" panose="020B0504010101010104" pitchFamily="34" charset="0"/>
              </a:rPr>
              <a:t> (regardless of treatment adherence). §Trial product </a:t>
            </a:r>
            <a:r>
              <a:rPr lang="en-US" err="1">
                <a:latin typeface="Apis For Office" panose="020B0504010101010104" pitchFamily="34" charset="0"/>
                <a:ea typeface="Apis For Office" panose="020B0504010101010104" pitchFamily="34" charset="0"/>
                <a:cs typeface="Apis For Office" panose="020B0504010101010104" pitchFamily="34" charset="0"/>
              </a:rPr>
              <a:t>estimand</a:t>
            </a:r>
            <a:r>
              <a:rPr lang="en-US">
                <a:latin typeface="Apis For Office" panose="020B0504010101010104" pitchFamily="34" charset="0"/>
                <a:ea typeface="Apis For Office" panose="020B0504010101010104" pitchFamily="34" charset="0"/>
                <a:cs typeface="Apis For Office" panose="020B0504010101010104" pitchFamily="34" charset="0"/>
              </a:rPr>
              <a:t>.</a:t>
            </a:r>
            <a:br>
              <a:rPr lang="en-US">
                <a:latin typeface="Apis For Office" panose="020B0504010101010104" pitchFamily="34" charset="0"/>
                <a:ea typeface="Apis For Office" panose="020B0504010101010104" pitchFamily="34" charset="0"/>
                <a:cs typeface="Apis For Office" panose="020B0504010101010104" pitchFamily="34" charset="0"/>
              </a:rPr>
            </a:br>
            <a:r>
              <a:rPr lang="en-US">
                <a:latin typeface="Apis For Office" panose="020B0504010101010104" pitchFamily="34" charset="0"/>
                <a:ea typeface="Apis For Office" panose="020B0504010101010104" pitchFamily="34" charset="0"/>
                <a:cs typeface="Apis For Office" panose="020B0504010101010104" pitchFamily="34" charset="0"/>
              </a:rPr>
              <a:t>Error bars are +/- standard error of the mean. </a:t>
            </a:r>
            <a:br>
              <a:rPr lang="en-US">
                <a:latin typeface="Apis For Office" panose="020B0504010101010104" pitchFamily="34" charset="0"/>
                <a:ea typeface="Apis For Office" panose="020B0504010101010104" pitchFamily="34" charset="0"/>
                <a:cs typeface="Apis For Office" panose="020B0504010101010104" pitchFamily="34" charset="0"/>
              </a:rPr>
            </a:br>
            <a:r>
              <a:rPr lang="en-US">
                <a:latin typeface="Apis For Office" panose="020B0504010101010104" pitchFamily="34" charset="0"/>
                <a:ea typeface="Apis For Office" panose="020B0504010101010104" pitchFamily="34" charset="0"/>
                <a:cs typeface="Apis For Office" panose="020B0504010101010104" pitchFamily="34" charset="0"/>
              </a:rPr>
              <a:t>CI, confidence interval; ETD, estimated treatment difference; IT, in-trial; OT, on-treatment.</a:t>
            </a:r>
            <a:br>
              <a:rPr lang="en-US">
                <a:latin typeface="Apis For Office" panose="020B0504010101010104" pitchFamily="34" charset="0"/>
                <a:ea typeface="Apis For Office" panose="020B0504010101010104" pitchFamily="34" charset="0"/>
                <a:cs typeface="Apis For Office" panose="020B0504010101010104" pitchFamily="34" charset="0"/>
              </a:rPr>
            </a:br>
            <a:r>
              <a:rPr lang="fr-FR" err="1">
                <a:latin typeface="Apis For Office" panose="020B0504010101010104" pitchFamily="34" charset="0"/>
                <a:ea typeface="Apis For Office" panose="020B0504010101010104" pitchFamily="34" charset="0"/>
                <a:cs typeface="Apis For Office" panose="020B0504010101010104" pitchFamily="34" charset="0"/>
              </a:rPr>
              <a:t>Rubino</a:t>
            </a:r>
            <a:r>
              <a:rPr lang="fr-FR">
                <a:latin typeface="Apis For Office" panose="020B0504010101010104" pitchFamily="34" charset="0"/>
                <a:ea typeface="Apis For Office" panose="020B0504010101010104" pitchFamily="34" charset="0"/>
                <a:cs typeface="Apis For Office" panose="020B0504010101010104" pitchFamily="34" charset="0"/>
              </a:rPr>
              <a:t> et al. JAMA. 2021;325:1414-25.</a:t>
            </a:r>
            <a:endParaRPr lang="en-US">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7" name="Group 6">
            <a:extLst>
              <a:ext uri="{FF2B5EF4-FFF2-40B4-BE49-F238E27FC236}">
                <a16:creationId xmlns:a16="http://schemas.microsoft.com/office/drawing/2014/main" id="{91356979-0A37-4EEB-872A-62AF1DD564C2}"/>
              </a:ext>
            </a:extLst>
          </p:cNvPr>
          <p:cNvGrpSpPr/>
          <p:nvPr/>
        </p:nvGrpSpPr>
        <p:grpSpPr>
          <a:xfrm>
            <a:off x="7600951" y="2025131"/>
            <a:ext cx="3895648" cy="240259"/>
            <a:chOff x="7600950" y="1883440"/>
            <a:chExt cx="3895648" cy="240259"/>
          </a:xfrm>
        </p:grpSpPr>
        <p:sp>
          <p:nvSpPr>
            <p:cNvPr id="10" name="TextBox 9">
              <a:extLst>
                <a:ext uri="{FF2B5EF4-FFF2-40B4-BE49-F238E27FC236}">
                  <a16:creationId xmlns:a16="http://schemas.microsoft.com/office/drawing/2014/main" id="{3D7550FC-4BD8-4774-B20A-3E3479314C6D}"/>
                </a:ext>
              </a:extLst>
            </p:cNvPr>
            <p:cNvSpPr txBox="1"/>
            <p:nvPr/>
          </p:nvSpPr>
          <p:spPr>
            <a:xfrm>
              <a:off x="7600950" y="1883440"/>
              <a:ext cx="1352543" cy="240259"/>
            </a:xfrm>
            <a:prstGeom prst="rect">
              <a:avLst/>
            </a:prstGeom>
            <a:solidFill>
              <a:srgbClr val="FFFFFF"/>
            </a:solidFill>
          </p:spPr>
          <p:txBody>
            <a:bodyPr wrap="squar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GB" sz="1400" b="0" i="0" u="none" strike="noStrike" kern="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ll participants</a:t>
              </a:r>
              <a:r>
                <a:rPr kumimoji="0" lang="en-GB" sz="1400" b="0" i="0" u="none" strike="noStrike" kern="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p>
          </p:txBody>
        </p:sp>
        <p:sp>
          <p:nvSpPr>
            <p:cNvPr id="11" name="TextBox 10">
              <a:extLst>
                <a:ext uri="{FF2B5EF4-FFF2-40B4-BE49-F238E27FC236}">
                  <a16:creationId xmlns:a16="http://schemas.microsoft.com/office/drawing/2014/main" id="{46EF5141-A4AB-4A02-A211-5FEF251331DD}"/>
                </a:ext>
              </a:extLst>
            </p:cNvPr>
            <p:cNvSpPr txBox="1"/>
            <p:nvPr/>
          </p:nvSpPr>
          <p:spPr>
            <a:xfrm>
              <a:off x="9397067" y="1883440"/>
              <a:ext cx="2099531" cy="240259"/>
            </a:xfrm>
            <a:prstGeom prst="rect">
              <a:avLst/>
            </a:prstGeom>
            <a:solidFill>
              <a:srgbClr val="FFFFFF"/>
            </a:solidFill>
          </p:spPr>
          <p:txBody>
            <a:bodyPr wrap="squar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GB" sz="1400" b="0" i="0" u="none" strike="noStrike" kern="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f treatment adherent</a:t>
              </a:r>
              <a:r>
                <a:rPr kumimoji="0" lang="en-GB" sz="1400" b="0" i="0" u="none" strike="noStrike" kern="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p>
          </p:txBody>
        </p:sp>
      </p:grpSp>
      <p:grpSp>
        <p:nvGrpSpPr>
          <p:cNvPr id="14" name="Group 13">
            <a:extLst>
              <a:ext uri="{FF2B5EF4-FFF2-40B4-BE49-F238E27FC236}">
                <a16:creationId xmlns:a16="http://schemas.microsoft.com/office/drawing/2014/main" id="{E62DDDFA-A68D-4AD2-B2FA-AD51180912B3}"/>
              </a:ext>
            </a:extLst>
          </p:cNvPr>
          <p:cNvGrpSpPr/>
          <p:nvPr/>
        </p:nvGrpSpPr>
        <p:grpSpPr>
          <a:xfrm>
            <a:off x="9379611" y="3342808"/>
            <a:ext cx="2181216" cy="2145859"/>
            <a:chOff x="7542476" y="3112007"/>
            <a:chExt cx="4633370" cy="2145858"/>
          </a:xfrm>
        </p:grpSpPr>
        <p:sp>
          <p:nvSpPr>
            <p:cNvPr id="15" name="TextBox 14">
              <a:extLst>
                <a:ext uri="{FF2B5EF4-FFF2-40B4-BE49-F238E27FC236}">
                  <a16:creationId xmlns:a16="http://schemas.microsoft.com/office/drawing/2014/main" id="{3C72B6A9-00F4-44C2-B7A9-9577E07741B6}"/>
                </a:ext>
              </a:extLst>
            </p:cNvPr>
            <p:cNvSpPr txBox="1"/>
            <p:nvPr/>
          </p:nvSpPr>
          <p:spPr>
            <a:xfrm>
              <a:off x="7542476" y="4811589"/>
              <a:ext cx="4633370" cy="44627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TD:</a:t>
              </a:r>
              <a:r>
                <a:rPr kumimoji="0" lang="en-US"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3.0 %-points</a:t>
              </a:r>
              <a:b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5% CI: [–14.3; –11.7]</a:t>
              </a:r>
              <a:endPar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16" name="Straight Connector 15">
              <a:extLst>
                <a:ext uri="{FF2B5EF4-FFF2-40B4-BE49-F238E27FC236}">
                  <a16:creationId xmlns:a16="http://schemas.microsoft.com/office/drawing/2014/main" id="{6B75D90E-BABA-41B2-94AB-7B9A91B71B07}"/>
                </a:ext>
              </a:extLst>
            </p:cNvPr>
            <p:cNvCxnSpPr>
              <a:cxnSpLocks/>
            </p:cNvCxnSpPr>
            <p:nvPr/>
          </p:nvCxnSpPr>
          <p:spPr>
            <a:xfrm>
              <a:off x="8780748" y="4806388"/>
              <a:ext cx="2133561" cy="0"/>
            </a:xfrm>
            <a:prstGeom prst="line">
              <a:avLst/>
            </a:prstGeom>
            <a:ln w="12700" cap="sq">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0E879E-7FBC-4E0E-89C1-63B8EF06E61A}"/>
                </a:ext>
              </a:extLst>
            </p:cNvPr>
            <p:cNvCxnSpPr>
              <a:cxnSpLocks/>
            </p:cNvCxnSpPr>
            <p:nvPr/>
          </p:nvCxnSpPr>
          <p:spPr>
            <a:xfrm flipH="1">
              <a:off x="10919148" y="3112007"/>
              <a:ext cx="2738" cy="1692000"/>
            </a:xfrm>
            <a:prstGeom prst="line">
              <a:avLst/>
            </a:prstGeom>
            <a:ln w="12700" cap="sq">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E9AA28-406C-4416-97C0-5B42B82656C7}"/>
                </a:ext>
              </a:extLst>
            </p:cNvPr>
            <p:cNvCxnSpPr>
              <a:cxnSpLocks/>
            </p:cNvCxnSpPr>
            <p:nvPr/>
          </p:nvCxnSpPr>
          <p:spPr>
            <a:xfrm>
              <a:off x="8783040" y="4591458"/>
              <a:ext cx="0" cy="212549"/>
            </a:xfrm>
            <a:prstGeom prst="line">
              <a:avLst/>
            </a:prstGeom>
            <a:ln w="12700" cap="sq">
              <a:solidFill>
                <a:srgbClr val="001965"/>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65165645-8519-47D3-BA58-9BD0A7C1056A}"/>
              </a:ext>
            </a:extLst>
          </p:cNvPr>
          <p:cNvGrpSpPr/>
          <p:nvPr/>
        </p:nvGrpSpPr>
        <p:grpSpPr>
          <a:xfrm>
            <a:off x="7274593" y="3293571"/>
            <a:ext cx="2097627" cy="2132553"/>
            <a:chOff x="6650476" y="3088477"/>
            <a:chExt cx="4512358" cy="2132551"/>
          </a:xfrm>
        </p:grpSpPr>
        <p:sp>
          <p:nvSpPr>
            <p:cNvPr id="20" name="TextBox 19">
              <a:extLst>
                <a:ext uri="{FF2B5EF4-FFF2-40B4-BE49-F238E27FC236}">
                  <a16:creationId xmlns:a16="http://schemas.microsoft.com/office/drawing/2014/main" id="{6D31D28A-9641-4FEB-8F4F-E5ADAA17F850}"/>
                </a:ext>
              </a:extLst>
            </p:cNvPr>
            <p:cNvSpPr txBox="1"/>
            <p:nvPr/>
          </p:nvSpPr>
          <p:spPr>
            <a:xfrm>
              <a:off x="6650476" y="4774752"/>
              <a:ext cx="4512358" cy="44627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TD:</a:t>
              </a:r>
              <a:r>
                <a:rPr kumimoji="0" lang="en-US"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2.4 %-points </a:t>
              </a:r>
              <a:b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5% CI: [–13.7; –11.0]</a:t>
              </a:r>
              <a:endPar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21" name="Straight Connector 20">
              <a:extLst>
                <a:ext uri="{FF2B5EF4-FFF2-40B4-BE49-F238E27FC236}">
                  <a16:creationId xmlns:a16="http://schemas.microsoft.com/office/drawing/2014/main" id="{83A97FC2-F3AF-4195-9360-E12B48CF5C70}"/>
                </a:ext>
              </a:extLst>
            </p:cNvPr>
            <p:cNvCxnSpPr>
              <a:cxnSpLocks/>
            </p:cNvCxnSpPr>
            <p:nvPr/>
          </p:nvCxnSpPr>
          <p:spPr>
            <a:xfrm>
              <a:off x="7816750" y="4772824"/>
              <a:ext cx="2052220" cy="0"/>
            </a:xfrm>
            <a:prstGeom prst="line">
              <a:avLst/>
            </a:prstGeom>
            <a:ln w="12700" cap="sq">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B0A1CA-E419-45AE-A092-02E40B0CFC85}"/>
                </a:ext>
              </a:extLst>
            </p:cNvPr>
            <p:cNvCxnSpPr>
              <a:cxnSpLocks/>
            </p:cNvCxnSpPr>
            <p:nvPr/>
          </p:nvCxnSpPr>
          <p:spPr>
            <a:xfrm>
              <a:off x="9889640" y="3088477"/>
              <a:ext cx="0" cy="1683236"/>
            </a:xfrm>
            <a:prstGeom prst="line">
              <a:avLst/>
            </a:prstGeom>
            <a:ln w="12700" cap="sq">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D9B9D31-3234-4FAB-AE6F-84DF1E0D974A}"/>
                </a:ext>
              </a:extLst>
            </p:cNvPr>
            <p:cNvCxnSpPr>
              <a:cxnSpLocks/>
            </p:cNvCxnSpPr>
            <p:nvPr/>
          </p:nvCxnSpPr>
          <p:spPr>
            <a:xfrm>
              <a:off x="7817945" y="4515066"/>
              <a:ext cx="0" cy="256195"/>
            </a:xfrm>
            <a:prstGeom prst="line">
              <a:avLst/>
            </a:prstGeom>
            <a:ln w="12700" cap="sq">
              <a:solidFill>
                <a:srgbClr val="001965"/>
              </a:solidFill>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7399B40A-910B-4EBD-84A7-588FABF68224}"/>
              </a:ext>
            </a:extLst>
          </p:cNvPr>
          <p:cNvGrpSpPr/>
          <p:nvPr/>
        </p:nvGrpSpPr>
        <p:grpSpPr>
          <a:xfrm>
            <a:off x="7600951" y="5620490"/>
            <a:ext cx="3009636" cy="532597"/>
            <a:chOff x="7072103" y="5593840"/>
            <a:chExt cx="3009635" cy="532597"/>
          </a:xfrm>
        </p:grpSpPr>
        <p:grpSp>
          <p:nvGrpSpPr>
            <p:cNvPr id="31" name="Group 30">
              <a:extLst>
                <a:ext uri="{FF2B5EF4-FFF2-40B4-BE49-F238E27FC236}">
                  <a16:creationId xmlns:a16="http://schemas.microsoft.com/office/drawing/2014/main" id="{A98B83C6-6AF4-4314-976C-1A0734B7C7C5}"/>
                </a:ext>
              </a:extLst>
            </p:cNvPr>
            <p:cNvGrpSpPr/>
            <p:nvPr/>
          </p:nvGrpSpPr>
          <p:grpSpPr>
            <a:xfrm>
              <a:off x="8087889" y="5593840"/>
              <a:ext cx="1993849" cy="496027"/>
              <a:chOff x="9051217" y="5749484"/>
              <a:chExt cx="1993849" cy="496027"/>
            </a:xfrm>
          </p:grpSpPr>
          <p:sp>
            <p:nvSpPr>
              <p:cNvPr id="32" name="TextBox 31">
                <a:extLst>
                  <a:ext uri="{FF2B5EF4-FFF2-40B4-BE49-F238E27FC236}">
                    <a16:creationId xmlns:a16="http://schemas.microsoft.com/office/drawing/2014/main" id="{CD80567C-7172-434C-B67E-1E6A683C4AF1}"/>
                  </a:ext>
                </a:extLst>
              </p:cNvPr>
              <p:cNvSpPr txBox="1"/>
              <p:nvPr/>
            </p:nvSpPr>
            <p:spPr>
              <a:xfrm>
                <a:off x="9051217" y="5750813"/>
                <a:ext cx="1322477"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p>
            </p:txBody>
          </p:sp>
          <p:sp>
            <p:nvSpPr>
              <p:cNvPr id="33" name="TextBox 32">
                <a:extLst>
                  <a:ext uri="{FF2B5EF4-FFF2-40B4-BE49-F238E27FC236}">
                    <a16:creationId xmlns:a16="http://schemas.microsoft.com/office/drawing/2014/main" id="{EA06E3DA-D04D-440D-9CA0-EC2369689C6C}"/>
                  </a:ext>
                </a:extLst>
              </p:cNvPr>
              <p:cNvSpPr txBox="1"/>
              <p:nvPr/>
            </p:nvSpPr>
            <p:spPr>
              <a:xfrm>
                <a:off x="10525693" y="5749484"/>
                <a:ext cx="519373"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p>
            </p:txBody>
          </p:sp>
          <p:sp>
            <p:nvSpPr>
              <p:cNvPr id="34" name="Rectangle 33">
                <a:extLst>
                  <a:ext uri="{FF2B5EF4-FFF2-40B4-BE49-F238E27FC236}">
                    <a16:creationId xmlns:a16="http://schemas.microsoft.com/office/drawing/2014/main" id="{B0F88EDC-ED77-4E40-A29B-C217B68AE418}"/>
                  </a:ext>
                </a:extLst>
              </p:cNvPr>
              <p:cNvSpPr/>
              <p:nvPr/>
            </p:nvSpPr>
            <p:spPr>
              <a:xfrm>
                <a:off x="9658456" y="5972411"/>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5" name="Rectangle 34">
                <a:extLst>
                  <a:ext uri="{FF2B5EF4-FFF2-40B4-BE49-F238E27FC236}">
                    <a16:creationId xmlns:a16="http://schemas.microsoft.com/office/drawing/2014/main" id="{271F5C5E-9A5A-40AF-8F6B-C5EBF84D29F6}"/>
                  </a:ext>
                </a:extLst>
              </p:cNvPr>
              <p:cNvSpPr/>
              <p:nvPr/>
            </p:nvSpPr>
            <p:spPr>
              <a:xfrm>
                <a:off x="9658456" y="6137511"/>
                <a:ext cx="108000" cy="108000"/>
              </a:xfrm>
              <a:prstGeom prst="rect">
                <a:avLst/>
              </a:prstGeom>
              <a:solidFill>
                <a:srgbClr val="6774A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6" name="Rectangle 35">
                <a:extLst>
                  <a:ext uri="{FF2B5EF4-FFF2-40B4-BE49-F238E27FC236}">
                    <a16:creationId xmlns:a16="http://schemas.microsoft.com/office/drawing/2014/main" id="{6A888089-9588-4E55-B070-65F8EE5191DE}"/>
                  </a:ext>
                </a:extLst>
              </p:cNvPr>
              <p:cNvSpPr/>
              <p:nvPr/>
            </p:nvSpPr>
            <p:spPr>
              <a:xfrm>
                <a:off x="10750656" y="5972411"/>
                <a:ext cx="108000" cy="108000"/>
              </a:xfrm>
              <a:prstGeom prst="rect">
                <a:avLst/>
              </a:prstGeom>
              <a:solidFill>
                <a:srgbClr val="939AA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7" name="Rectangle 36">
                <a:extLst>
                  <a:ext uri="{FF2B5EF4-FFF2-40B4-BE49-F238E27FC236}">
                    <a16:creationId xmlns:a16="http://schemas.microsoft.com/office/drawing/2014/main" id="{9112F111-1AD0-4640-A152-E3E721A57427}"/>
                  </a:ext>
                </a:extLst>
              </p:cNvPr>
              <p:cNvSpPr/>
              <p:nvPr/>
            </p:nvSpPr>
            <p:spPr>
              <a:xfrm>
                <a:off x="10750656" y="6137511"/>
                <a:ext cx="108000" cy="108000"/>
              </a:xfrm>
              <a:prstGeom prst="rect">
                <a:avLst/>
              </a:prstGeom>
              <a:solidFill>
                <a:srgbClr val="C4C8C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93" name="TextBox 92">
              <a:extLst>
                <a:ext uri="{FF2B5EF4-FFF2-40B4-BE49-F238E27FC236}">
                  <a16:creationId xmlns:a16="http://schemas.microsoft.com/office/drawing/2014/main" id="{F987E511-D465-4A7E-811D-244D3A98E8FA}"/>
                </a:ext>
              </a:extLst>
            </p:cNvPr>
            <p:cNvSpPr txBox="1"/>
            <p:nvPr/>
          </p:nvSpPr>
          <p:spPr>
            <a:xfrm>
              <a:off x="7072103" y="5937667"/>
              <a:ext cx="1019510"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n-treatment:</a:t>
              </a:r>
            </a:p>
          </p:txBody>
        </p:sp>
        <p:sp>
          <p:nvSpPr>
            <p:cNvPr id="94" name="TextBox 93">
              <a:extLst>
                <a:ext uri="{FF2B5EF4-FFF2-40B4-BE49-F238E27FC236}">
                  <a16:creationId xmlns:a16="http://schemas.microsoft.com/office/drawing/2014/main" id="{365BDA4D-27E4-4ABD-9AD9-453F181B7E26}"/>
                </a:ext>
              </a:extLst>
            </p:cNvPr>
            <p:cNvSpPr txBox="1"/>
            <p:nvPr/>
          </p:nvSpPr>
          <p:spPr>
            <a:xfrm>
              <a:off x="7072103" y="5764299"/>
              <a:ext cx="528991"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rial:</a:t>
              </a:r>
            </a:p>
          </p:txBody>
        </p:sp>
      </p:grpSp>
      <p:grpSp>
        <p:nvGrpSpPr>
          <p:cNvPr id="3" name="Group 2">
            <a:extLst>
              <a:ext uri="{FF2B5EF4-FFF2-40B4-BE49-F238E27FC236}">
                <a16:creationId xmlns:a16="http://schemas.microsoft.com/office/drawing/2014/main" id="{E91B7675-139A-4F53-BE9A-6E8BE8E4BF6F}"/>
              </a:ext>
            </a:extLst>
          </p:cNvPr>
          <p:cNvGrpSpPr/>
          <p:nvPr/>
        </p:nvGrpSpPr>
        <p:grpSpPr>
          <a:xfrm>
            <a:off x="600442" y="2211029"/>
            <a:ext cx="5681031" cy="3515257"/>
            <a:chOff x="600442" y="2605112"/>
            <a:chExt cx="5681031" cy="3121174"/>
          </a:xfrm>
        </p:grpSpPr>
        <p:grpSp>
          <p:nvGrpSpPr>
            <p:cNvPr id="96" name="Group 95">
              <a:extLst>
                <a:ext uri="{FF2B5EF4-FFF2-40B4-BE49-F238E27FC236}">
                  <a16:creationId xmlns:a16="http://schemas.microsoft.com/office/drawing/2014/main" id="{E7ABDDF6-D17D-4772-B3F1-158D0B68F5C4}"/>
                </a:ext>
              </a:extLst>
            </p:cNvPr>
            <p:cNvGrpSpPr/>
            <p:nvPr/>
          </p:nvGrpSpPr>
          <p:grpSpPr>
            <a:xfrm>
              <a:off x="627492" y="2605112"/>
              <a:ext cx="5653981" cy="3121174"/>
              <a:chOff x="627492" y="2566857"/>
              <a:chExt cx="5653981" cy="3121174"/>
            </a:xfrm>
          </p:grpSpPr>
          <p:graphicFrame>
            <p:nvGraphicFramePr>
              <p:cNvPr id="58" name="Chart 57">
                <a:extLst>
                  <a:ext uri="{FF2B5EF4-FFF2-40B4-BE49-F238E27FC236}">
                    <a16:creationId xmlns:a16="http://schemas.microsoft.com/office/drawing/2014/main" id="{1D5CF5F3-09E2-4931-A081-A50D176BB555}"/>
                  </a:ext>
                </a:extLst>
              </p:cNvPr>
              <p:cNvGraphicFramePr>
                <a:graphicFrameLocks/>
              </p:cNvGraphicFramePr>
              <p:nvPr/>
            </p:nvGraphicFramePr>
            <p:xfrm>
              <a:off x="627492" y="2566857"/>
              <a:ext cx="5653981" cy="3121174"/>
            </p:xfrm>
            <a:graphic>
              <a:graphicData uri="http://schemas.openxmlformats.org/drawingml/2006/chart">
                <c:chart xmlns:c="http://schemas.openxmlformats.org/drawingml/2006/chart" xmlns:r="http://schemas.openxmlformats.org/officeDocument/2006/relationships" r:id="rId4"/>
              </a:graphicData>
            </a:graphic>
          </p:graphicFrame>
          <p:grpSp>
            <p:nvGrpSpPr>
              <p:cNvPr id="67" name="Group 66">
                <a:extLst>
                  <a:ext uri="{FF2B5EF4-FFF2-40B4-BE49-F238E27FC236}">
                    <a16:creationId xmlns:a16="http://schemas.microsoft.com/office/drawing/2014/main" id="{7A890E59-CF1F-4802-B6F7-8D1501A38492}"/>
                  </a:ext>
                </a:extLst>
              </p:cNvPr>
              <p:cNvGrpSpPr/>
              <p:nvPr/>
            </p:nvGrpSpPr>
            <p:grpSpPr>
              <a:xfrm>
                <a:off x="1387401" y="4621415"/>
                <a:ext cx="1359353" cy="398984"/>
                <a:chOff x="1387401" y="4926215"/>
                <a:chExt cx="1359353" cy="398984"/>
              </a:xfrm>
            </p:grpSpPr>
            <p:sp>
              <p:nvSpPr>
                <p:cNvPr id="68" name="Arrow: Right 67">
                  <a:extLst>
                    <a:ext uri="{FF2B5EF4-FFF2-40B4-BE49-F238E27FC236}">
                      <a16:creationId xmlns:a16="http://schemas.microsoft.com/office/drawing/2014/main" id="{58C330A4-F217-4020-B90A-7243C356AA4F}"/>
                    </a:ext>
                  </a:extLst>
                </p:cNvPr>
                <p:cNvSpPr/>
                <p:nvPr/>
              </p:nvSpPr>
              <p:spPr>
                <a:xfrm>
                  <a:off x="1387401" y="4926215"/>
                  <a:ext cx="1333190" cy="398984"/>
                </a:xfrm>
                <a:prstGeom prst="rightArrow">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un-in period</a:t>
                  </a:r>
                  <a:endParaRPr kumimoji="0" lang="en-GB" sz="12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69" name="Straight Connector 68">
                  <a:extLst>
                    <a:ext uri="{FF2B5EF4-FFF2-40B4-BE49-F238E27FC236}">
                      <a16:creationId xmlns:a16="http://schemas.microsoft.com/office/drawing/2014/main" id="{F4BF27DD-5F87-43D9-A54C-DDBE12BA7002}"/>
                    </a:ext>
                  </a:extLst>
                </p:cNvPr>
                <p:cNvCxnSpPr>
                  <a:cxnSpLocks/>
                </p:cNvCxnSpPr>
                <p:nvPr/>
              </p:nvCxnSpPr>
              <p:spPr>
                <a:xfrm>
                  <a:off x="2746754" y="4934247"/>
                  <a:ext cx="0" cy="38292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72" name="TextBox 71">
              <a:extLst>
                <a:ext uri="{FF2B5EF4-FFF2-40B4-BE49-F238E27FC236}">
                  <a16:creationId xmlns:a16="http://schemas.microsoft.com/office/drawing/2014/main" id="{891067D9-1074-4021-857B-E99D41697F65}"/>
                </a:ext>
              </a:extLst>
            </p:cNvPr>
            <p:cNvSpPr txBox="1"/>
            <p:nvPr/>
          </p:nvSpPr>
          <p:spPr>
            <a:xfrm rot="16200000">
              <a:off x="-469204" y="3802864"/>
              <a:ext cx="2354735"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ody weight change (%)</a:t>
              </a:r>
            </a:p>
          </p:txBody>
        </p:sp>
        <p:sp>
          <p:nvSpPr>
            <p:cNvPr id="73" name="TextBox 72">
              <a:extLst>
                <a:ext uri="{FF2B5EF4-FFF2-40B4-BE49-F238E27FC236}">
                  <a16:creationId xmlns:a16="http://schemas.microsoft.com/office/drawing/2014/main" id="{F8F3EC2D-929F-4399-8CD4-7C29FFF5B570}"/>
                </a:ext>
              </a:extLst>
            </p:cNvPr>
            <p:cNvSpPr txBox="1"/>
            <p:nvPr/>
          </p:nvSpPr>
          <p:spPr>
            <a:xfrm>
              <a:off x="1346098" y="5408014"/>
              <a:ext cx="4759428" cy="20005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ime (week)</a:t>
              </a:r>
            </a:p>
          </p:txBody>
        </p:sp>
        <p:cxnSp>
          <p:nvCxnSpPr>
            <p:cNvPr id="111" name="Straight Connector 110">
              <a:extLst>
                <a:ext uri="{FF2B5EF4-FFF2-40B4-BE49-F238E27FC236}">
                  <a16:creationId xmlns:a16="http://schemas.microsoft.com/office/drawing/2014/main" id="{5B40A732-4887-4278-A20F-C04440D0AB48}"/>
                </a:ext>
              </a:extLst>
            </p:cNvPr>
            <p:cNvCxnSpPr>
              <a:cxnSpLocks/>
            </p:cNvCxnSpPr>
            <p:nvPr/>
          </p:nvCxnSpPr>
          <p:spPr>
            <a:xfrm>
              <a:off x="6110289" y="3257115"/>
              <a:ext cx="0" cy="221891"/>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BFD-6D18-4308-9191-60CD7699E78D}"/>
                </a:ext>
              </a:extLst>
            </p:cNvPr>
            <p:cNvCxnSpPr>
              <a:cxnSpLocks/>
            </p:cNvCxnSpPr>
            <p:nvPr/>
          </p:nvCxnSpPr>
          <p:spPr>
            <a:xfrm>
              <a:off x="5555728" y="3399017"/>
              <a:ext cx="0" cy="196677"/>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D7C958B-6088-4E75-91A3-7977D58C75BE}"/>
                </a:ext>
              </a:extLst>
            </p:cNvPr>
            <p:cNvCxnSpPr>
              <a:cxnSpLocks/>
            </p:cNvCxnSpPr>
            <p:nvPr/>
          </p:nvCxnSpPr>
          <p:spPr>
            <a:xfrm>
              <a:off x="4995238" y="3460932"/>
              <a:ext cx="0" cy="196677"/>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D8B3AFA-A392-49A5-AF1B-A02E2BC698C9}"/>
                </a:ext>
              </a:extLst>
            </p:cNvPr>
            <p:cNvCxnSpPr>
              <a:cxnSpLocks/>
            </p:cNvCxnSpPr>
            <p:nvPr/>
          </p:nvCxnSpPr>
          <p:spPr>
            <a:xfrm>
              <a:off x="4439194" y="3537128"/>
              <a:ext cx="0" cy="172860"/>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44AF58A-9DA9-4203-8083-4769C2038668}"/>
                </a:ext>
              </a:extLst>
            </p:cNvPr>
            <p:cNvCxnSpPr>
              <a:cxnSpLocks/>
            </p:cNvCxnSpPr>
            <p:nvPr/>
          </p:nvCxnSpPr>
          <p:spPr>
            <a:xfrm>
              <a:off x="3878557" y="3664037"/>
              <a:ext cx="0" cy="155493"/>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64F6C49-358C-49AD-B10B-43D4C8724217}"/>
                </a:ext>
              </a:extLst>
            </p:cNvPr>
            <p:cNvCxnSpPr>
              <a:cxnSpLocks/>
            </p:cNvCxnSpPr>
            <p:nvPr/>
          </p:nvCxnSpPr>
          <p:spPr>
            <a:xfrm>
              <a:off x="3316580" y="3776662"/>
              <a:ext cx="0" cy="152406"/>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6BB2E9D-05F0-4244-9DFF-5CBDBE15C358}"/>
                </a:ext>
              </a:extLst>
            </p:cNvPr>
            <p:cNvCxnSpPr>
              <a:cxnSpLocks/>
            </p:cNvCxnSpPr>
            <p:nvPr/>
          </p:nvCxnSpPr>
          <p:spPr>
            <a:xfrm>
              <a:off x="6108178" y="4737312"/>
              <a:ext cx="0" cy="19667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5D4ADCB-1855-4D2D-9C88-C6BD8BC98DD8}"/>
                </a:ext>
              </a:extLst>
            </p:cNvPr>
            <p:cNvCxnSpPr>
              <a:cxnSpLocks/>
            </p:cNvCxnSpPr>
            <p:nvPr/>
          </p:nvCxnSpPr>
          <p:spPr>
            <a:xfrm>
              <a:off x="5555728" y="4733961"/>
              <a:ext cx="0" cy="19667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374CCBB-583D-4FAA-8294-D508EB637B7C}"/>
                </a:ext>
              </a:extLst>
            </p:cNvPr>
            <p:cNvCxnSpPr>
              <a:cxnSpLocks/>
            </p:cNvCxnSpPr>
            <p:nvPr/>
          </p:nvCxnSpPr>
          <p:spPr>
            <a:xfrm>
              <a:off x="4996966" y="4688906"/>
              <a:ext cx="0" cy="159352"/>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D2E16A8-BA80-4BF6-96B3-DB511943E627}"/>
                </a:ext>
              </a:extLst>
            </p:cNvPr>
            <p:cNvCxnSpPr>
              <a:cxnSpLocks/>
            </p:cNvCxnSpPr>
            <p:nvPr/>
          </p:nvCxnSpPr>
          <p:spPr>
            <a:xfrm>
              <a:off x="4434761" y="4601096"/>
              <a:ext cx="0" cy="159352"/>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7578B62-D4E2-487C-8D1D-B6168BA9FB07}"/>
                </a:ext>
              </a:extLst>
            </p:cNvPr>
            <p:cNvCxnSpPr>
              <a:cxnSpLocks/>
            </p:cNvCxnSpPr>
            <p:nvPr/>
          </p:nvCxnSpPr>
          <p:spPr>
            <a:xfrm>
              <a:off x="3869031" y="4448176"/>
              <a:ext cx="0" cy="14288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E2DD9BB-4A62-44A6-AE09-4EDB781DBFEB}"/>
                </a:ext>
              </a:extLst>
            </p:cNvPr>
            <p:cNvCxnSpPr>
              <a:cxnSpLocks/>
            </p:cNvCxnSpPr>
            <p:nvPr/>
          </p:nvCxnSpPr>
          <p:spPr>
            <a:xfrm>
              <a:off x="3316580" y="4224338"/>
              <a:ext cx="0" cy="133354"/>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84E5A7B3-CFA6-4D8C-BFB0-DBBE140ACFAF}"/>
              </a:ext>
            </a:extLst>
          </p:cNvPr>
          <p:cNvSpPr txBox="1"/>
          <p:nvPr/>
        </p:nvSpPr>
        <p:spPr>
          <a:xfrm>
            <a:off x="7169153" y="1602792"/>
            <a:ext cx="4488727" cy="274562"/>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stimated change from week 0 to week 68</a:t>
            </a:r>
          </a:p>
        </p:txBody>
      </p:sp>
    </p:spTree>
    <p:extLst>
      <p:ext uri="{BB962C8B-B14F-4D97-AF65-F5344CB8AC3E}">
        <p14:creationId xmlns:p14="http://schemas.microsoft.com/office/powerpoint/2010/main" val="9331511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A25811EF-55CF-4D69-A42D-3A14AD05E55F}"/>
              </a:ext>
            </a:extLst>
          </p:cNvPr>
          <p:cNvGraphicFramePr>
            <a:graphicFrameLocks noGrp="1"/>
          </p:cNvGraphicFramePr>
          <p:nvPr>
            <p:ph idx="16"/>
          </p:nvPr>
        </p:nvGraphicFramePr>
        <p:xfrm>
          <a:off x="6495675" y="1922763"/>
          <a:ext cx="5065155" cy="34532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BC8589EF-6767-4B77-B5D0-6BD8F215B3E8}"/>
              </a:ext>
            </a:extLst>
          </p:cNvPr>
          <p:cNvGraphicFramePr>
            <a:graphicFrameLocks/>
          </p:cNvGraphicFramePr>
          <p:nvPr/>
        </p:nvGraphicFramePr>
        <p:xfrm>
          <a:off x="627492" y="1929577"/>
          <a:ext cx="5653981" cy="389710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BBBA4A58-6BC8-4D2E-B50C-9F8587DB2D52}"/>
              </a:ext>
            </a:extLst>
          </p:cNvPr>
          <p:cNvSpPr txBox="1"/>
          <p:nvPr/>
        </p:nvSpPr>
        <p:spPr>
          <a:xfrm>
            <a:off x="647702" y="1602792"/>
            <a:ext cx="5262828" cy="828560"/>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bserved body weight change over time</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Mean at week 20: 96.1 kg)</a:t>
            </a:r>
            <a:endParaRPr kumimoji="0" lang="en-CA" sz="14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6" name="Group 5">
            <a:extLst>
              <a:ext uri="{FF2B5EF4-FFF2-40B4-BE49-F238E27FC236}">
                <a16:creationId xmlns:a16="http://schemas.microsoft.com/office/drawing/2014/main" id="{E9FEACA3-9D80-468E-AB79-BE2FFCB20807}"/>
              </a:ext>
            </a:extLst>
          </p:cNvPr>
          <p:cNvGrpSpPr/>
          <p:nvPr/>
        </p:nvGrpSpPr>
        <p:grpSpPr>
          <a:xfrm>
            <a:off x="8828377" y="3518984"/>
            <a:ext cx="2143027" cy="2226601"/>
            <a:chOff x="8780748" y="3574194"/>
            <a:chExt cx="2143026" cy="2226599"/>
          </a:xfrm>
        </p:grpSpPr>
        <p:sp>
          <p:nvSpPr>
            <p:cNvPr id="18" name="TextBox 17">
              <a:extLst>
                <a:ext uri="{FF2B5EF4-FFF2-40B4-BE49-F238E27FC236}">
                  <a16:creationId xmlns:a16="http://schemas.microsoft.com/office/drawing/2014/main" id="{94E04445-25E7-40EF-9CD8-3ACD62CD3498}"/>
                </a:ext>
              </a:extLst>
            </p:cNvPr>
            <p:cNvSpPr txBox="1"/>
            <p:nvPr/>
          </p:nvSpPr>
          <p:spPr>
            <a:xfrm>
              <a:off x="8794551" y="5354517"/>
              <a:ext cx="2129223" cy="44627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TD:</a:t>
              </a:r>
              <a:r>
                <a:rPr kumimoji="0" lang="en-US"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3 %-points</a:t>
              </a:r>
              <a:b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5% CI: [-16.5;-14.1];</a:t>
              </a:r>
              <a:r>
                <a:rPr kumimoji="0" lang="en-US" sz="1000" b="0" i="0" u="none" strike="noStrike" kern="1200" cap="none" spc="0" normalizeH="0" baseline="-25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t;0.001</a:t>
              </a:r>
              <a:endPar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20" name="Straight Connector 19">
              <a:extLst>
                <a:ext uri="{FF2B5EF4-FFF2-40B4-BE49-F238E27FC236}">
                  <a16:creationId xmlns:a16="http://schemas.microsoft.com/office/drawing/2014/main" id="{480B5380-B5EE-4A80-B5E4-65492D22CDDC}"/>
                </a:ext>
              </a:extLst>
            </p:cNvPr>
            <p:cNvCxnSpPr>
              <a:cxnSpLocks/>
            </p:cNvCxnSpPr>
            <p:nvPr/>
          </p:nvCxnSpPr>
          <p:spPr>
            <a:xfrm>
              <a:off x="8780748" y="5342172"/>
              <a:ext cx="2138400" cy="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46BE21-6F5C-4416-8FF7-F4E6BF73426C}"/>
                </a:ext>
              </a:extLst>
            </p:cNvPr>
            <p:cNvCxnSpPr>
              <a:cxnSpLocks/>
            </p:cNvCxnSpPr>
            <p:nvPr/>
          </p:nvCxnSpPr>
          <p:spPr>
            <a:xfrm>
              <a:off x="10921886" y="3574194"/>
              <a:ext cx="0" cy="177120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2527A9F-775B-4499-B020-1016183211BC}"/>
                </a:ext>
              </a:extLst>
            </p:cNvPr>
            <p:cNvCxnSpPr>
              <a:cxnSpLocks/>
            </p:cNvCxnSpPr>
            <p:nvPr/>
          </p:nvCxnSpPr>
          <p:spPr>
            <a:xfrm>
              <a:off x="8783040" y="5231275"/>
              <a:ext cx="0" cy="114295"/>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F6B0B106-8B9E-4A74-92D5-9525D7D4ADEB}"/>
              </a:ext>
            </a:extLst>
          </p:cNvPr>
          <p:cNvGrpSpPr/>
          <p:nvPr/>
        </p:nvGrpSpPr>
        <p:grpSpPr>
          <a:xfrm>
            <a:off x="7816751" y="3507559"/>
            <a:ext cx="2176179" cy="1632556"/>
            <a:chOff x="7816750" y="3588475"/>
            <a:chExt cx="2176179" cy="1632555"/>
          </a:xfrm>
        </p:grpSpPr>
        <p:sp>
          <p:nvSpPr>
            <p:cNvPr id="41" name="TextBox 40">
              <a:extLst>
                <a:ext uri="{FF2B5EF4-FFF2-40B4-BE49-F238E27FC236}">
                  <a16:creationId xmlns:a16="http://schemas.microsoft.com/office/drawing/2014/main" id="{9B36FDBC-A4BD-4C46-84EC-B370E4898D3A}"/>
                </a:ext>
              </a:extLst>
            </p:cNvPr>
            <p:cNvSpPr txBox="1"/>
            <p:nvPr/>
          </p:nvSpPr>
          <p:spPr>
            <a:xfrm>
              <a:off x="7821545" y="4774754"/>
              <a:ext cx="2170220" cy="44627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TD:</a:t>
              </a:r>
              <a:r>
                <a:rPr kumimoji="0" lang="en-US"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3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4.8 %-points </a:t>
              </a:r>
              <a:b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5% CI: [-16.0;-13.5];</a:t>
              </a:r>
              <a:r>
                <a:rPr kumimoji="0" lang="en-US" sz="1000" b="0" i="0" u="none" strike="noStrike" kern="1200" cap="none" spc="0" normalizeH="0" baseline="-25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t;0.001</a:t>
              </a:r>
              <a:endPar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43" name="Straight Connector 42">
              <a:extLst>
                <a:ext uri="{FF2B5EF4-FFF2-40B4-BE49-F238E27FC236}">
                  <a16:creationId xmlns:a16="http://schemas.microsoft.com/office/drawing/2014/main" id="{A277188F-F92F-461E-BFA3-AC503D0812B2}"/>
                </a:ext>
              </a:extLst>
            </p:cNvPr>
            <p:cNvCxnSpPr>
              <a:cxnSpLocks/>
            </p:cNvCxnSpPr>
            <p:nvPr/>
          </p:nvCxnSpPr>
          <p:spPr>
            <a:xfrm>
              <a:off x="7816750" y="4768062"/>
              <a:ext cx="2170220" cy="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597245A-7624-4C3D-A24F-6E7843CE8072}"/>
                </a:ext>
              </a:extLst>
            </p:cNvPr>
            <p:cNvCxnSpPr>
              <a:cxnSpLocks/>
            </p:cNvCxnSpPr>
            <p:nvPr/>
          </p:nvCxnSpPr>
          <p:spPr>
            <a:xfrm>
              <a:off x="9992929" y="3588475"/>
              <a:ext cx="0" cy="118800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463DFA-399A-4E0A-A9AF-8ADE94163C50}"/>
                </a:ext>
              </a:extLst>
            </p:cNvPr>
            <p:cNvCxnSpPr>
              <a:cxnSpLocks/>
            </p:cNvCxnSpPr>
            <p:nvPr/>
          </p:nvCxnSpPr>
          <p:spPr>
            <a:xfrm>
              <a:off x="7817945" y="4475155"/>
              <a:ext cx="0" cy="28800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06036B9D-7139-433C-9855-67D578A315C1}"/>
              </a:ext>
            </a:extLst>
          </p:cNvPr>
          <p:cNvSpPr>
            <a:spLocks noGrp="1"/>
          </p:cNvSpPr>
          <p:nvPr>
            <p:ph type="title"/>
          </p:nvPr>
        </p:nvSpPr>
        <p:spPr>
          <a:xfrm>
            <a:off x="648000" y="648001"/>
            <a:ext cx="10896000" cy="562817"/>
          </a:xfrm>
        </p:spPr>
        <p:txBody>
          <a:bodyPr/>
          <a:lstStyle/>
          <a:p>
            <a:r>
              <a:rPr lang="en-US" sz="3600" b="0">
                <a:latin typeface="Apis For Office" panose="020B0504010101010104" pitchFamily="34" charset="0"/>
                <a:ea typeface="Apis For Office" panose="020B0504010101010104" pitchFamily="34" charset="0"/>
                <a:cs typeface="Apis For Office" panose="020B0504010101010104" pitchFamily="34" charset="0"/>
              </a:rPr>
              <a:t>Body weight change (week 20</a:t>
            </a:r>
            <a:r>
              <a:rPr lang="en-GB" sz="3600" b="0">
                <a:latin typeface="Apis For Office" panose="020B0504010101010104" pitchFamily="34" charset="0"/>
                <a:ea typeface="Apis For Office" panose="020B0504010101010104" pitchFamily="34" charset="0"/>
                <a:cs typeface="Apis For Office" panose="020B0504010101010104" pitchFamily="34" charset="0"/>
              </a:rPr>
              <a:t>–</a:t>
            </a:r>
            <a:r>
              <a:rPr lang="en-US" sz="3600" b="0">
                <a:latin typeface="Apis For Office" panose="020B0504010101010104" pitchFamily="34" charset="0"/>
                <a:ea typeface="Apis For Office" panose="020B0504010101010104" pitchFamily="34" charset="0"/>
                <a:cs typeface="Apis For Office" panose="020B0504010101010104" pitchFamily="34" charset="0"/>
              </a:rPr>
              <a:t>68)</a:t>
            </a:r>
            <a:br>
              <a:rPr lang="en-US" sz="3600" b="0">
                <a:latin typeface="Apis For Office" panose="020B0504010101010104" pitchFamily="34" charset="0"/>
                <a:ea typeface="Apis For Office" panose="020B0504010101010104" pitchFamily="34" charset="0"/>
                <a:cs typeface="Apis For Office" panose="020B0504010101010104" pitchFamily="34" charset="0"/>
              </a:rPr>
            </a:br>
            <a:r>
              <a:rPr lang="en-US" sz="2000" b="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rPr>
              <a:t>STEP 4</a:t>
            </a:r>
            <a:endParaRPr lang="en-GB" sz="1870" b="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9" name="TextBox 58">
            <a:extLst>
              <a:ext uri="{FF2B5EF4-FFF2-40B4-BE49-F238E27FC236}">
                <a16:creationId xmlns:a16="http://schemas.microsoft.com/office/drawing/2014/main" id="{E9772E8D-00DC-9645-9222-881DD98E5EBE}"/>
              </a:ext>
            </a:extLst>
          </p:cNvPr>
          <p:cNvSpPr txBox="1"/>
          <p:nvPr/>
        </p:nvSpPr>
        <p:spPr>
          <a:xfrm>
            <a:off x="7054853" y="1602792"/>
            <a:ext cx="4488727" cy="274562"/>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stimated change from week 20 to week 68</a:t>
            </a:r>
          </a:p>
        </p:txBody>
      </p:sp>
      <p:grpSp>
        <p:nvGrpSpPr>
          <p:cNvPr id="4" name="Group 3">
            <a:extLst>
              <a:ext uri="{FF2B5EF4-FFF2-40B4-BE49-F238E27FC236}">
                <a16:creationId xmlns:a16="http://schemas.microsoft.com/office/drawing/2014/main" id="{242AFFE7-0A32-4646-A3CC-F2419915ABC3}"/>
              </a:ext>
            </a:extLst>
          </p:cNvPr>
          <p:cNvGrpSpPr/>
          <p:nvPr/>
        </p:nvGrpSpPr>
        <p:grpSpPr>
          <a:xfrm>
            <a:off x="627494" y="5779882"/>
            <a:ext cx="3086675" cy="332645"/>
            <a:chOff x="627492" y="5749484"/>
            <a:chExt cx="3086676" cy="332645"/>
          </a:xfrm>
        </p:grpSpPr>
        <p:sp>
          <p:nvSpPr>
            <p:cNvPr id="50" name="TextBox 49">
              <a:extLst>
                <a:ext uri="{FF2B5EF4-FFF2-40B4-BE49-F238E27FC236}">
                  <a16:creationId xmlns:a16="http://schemas.microsoft.com/office/drawing/2014/main" id="{AF61F308-1AE3-4C4D-9F13-1123CE3BFB3A}"/>
                </a:ext>
              </a:extLst>
            </p:cNvPr>
            <p:cNvSpPr txBox="1"/>
            <p:nvPr/>
          </p:nvSpPr>
          <p:spPr>
            <a:xfrm>
              <a:off x="1720320" y="5750815"/>
              <a:ext cx="1322478"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p>
          </p:txBody>
        </p:sp>
        <p:sp>
          <p:nvSpPr>
            <p:cNvPr id="54" name="TextBox 53">
              <a:extLst>
                <a:ext uri="{FF2B5EF4-FFF2-40B4-BE49-F238E27FC236}">
                  <a16:creationId xmlns:a16="http://schemas.microsoft.com/office/drawing/2014/main" id="{8CE4E37D-2EF1-E341-B341-536EDB58D32B}"/>
                </a:ext>
              </a:extLst>
            </p:cNvPr>
            <p:cNvSpPr txBox="1"/>
            <p:nvPr/>
          </p:nvSpPr>
          <p:spPr>
            <a:xfrm>
              <a:off x="3194795" y="5749484"/>
              <a:ext cx="519373"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p>
          </p:txBody>
        </p:sp>
        <p:sp>
          <p:nvSpPr>
            <p:cNvPr id="55" name="TextBox 54">
              <a:extLst>
                <a:ext uri="{FF2B5EF4-FFF2-40B4-BE49-F238E27FC236}">
                  <a16:creationId xmlns:a16="http://schemas.microsoft.com/office/drawing/2014/main" id="{F95A8F32-F38C-8A4E-B5AB-82A29245EA1C}"/>
                </a:ext>
              </a:extLst>
            </p:cNvPr>
            <p:cNvSpPr txBox="1"/>
            <p:nvPr/>
          </p:nvSpPr>
          <p:spPr>
            <a:xfrm>
              <a:off x="627492" y="5893359"/>
              <a:ext cx="528991"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rial:</a:t>
              </a:r>
            </a:p>
          </p:txBody>
        </p:sp>
        <p:cxnSp>
          <p:nvCxnSpPr>
            <p:cNvPr id="89" name="Straight Connector 88">
              <a:extLst>
                <a:ext uri="{FF2B5EF4-FFF2-40B4-BE49-F238E27FC236}">
                  <a16:creationId xmlns:a16="http://schemas.microsoft.com/office/drawing/2014/main" id="{E144812D-C430-E942-83B0-82516D26E700}"/>
                </a:ext>
              </a:extLst>
            </p:cNvPr>
            <p:cNvCxnSpPr/>
            <p:nvPr/>
          </p:nvCxnSpPr>
          <p:spPr>
            <a:xfrm>
              <a:off x="2219559" y="6001024"/>
              <a:ext cx="324000" cy="0"/>
            </a:xfrm>
            <a:prstGeom prst="line">
              <a:avLst/>
            </a:prstGeom>
            <a:ln w="381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49CD1AC-B9E7-D649-8960-854B60E358A1}"/>
                </a:ext>
              </a:extLst>
            </p:cNvPr>
            <p:cNvCxnSpPr/>
            <p:nvPr/>
          </p:nvCxnSpPr>
          <p:spPr>
            <a:xfrm>
              <a:off x="3304011" y="6006676"/>
              <a:ext cx="324000" cy="0"/>
            </a:xfrm>
            <a:prstGeom prst="line">
              <a:avLst/>
            </a:prstGeom>
            <a:ln w="38100">
              <a:solidFill>
                <a:srgbClr val="939AA7"/>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9E53326-6CC0-45BC-84B3-2CFF0B3518D4}"/>
              </a:ext>
            </a:extLst>
          </p:cNvPr>
          <p:cNvGrpSpPr/>
          <p:nvPr/>
        </p:nvGrpSpPr>
        <p:grpSpPr>
          <a:xfrm>
            <a:off x="7043981" y="5764577"/>
            <a:ext cx="4001088" cy="532594"/>
            <a:chOff x="7043979" y="5749484"/>
            <a:chExt cx="4001087" cy="532596"/>
          </a:xfrm>
        </p:grpSpPr>
        <p:sp>
          <p:nvSpPr>
            <p:cNvPr id="113" name="TextBox 112">
              <a:extLst>
                <a:ext uri="{FF2B5EF4-FFF2-40B4-BE49-F238E27FC236}">
                  <a16:creationId xmlns:a16="http://schemas.microsoft.com/office/drawing/2014/main" id="{5087DFF2-94D3-7540-B0DF-D3C11CF856D8}"/>
                </a:ext>
              </a:extLst>
            </p:cNvPr>
            <p:cNvSpPr txBox="1"/>
            <p:nvPr/>
          </p:nvSpPr>
          <p:spPr>
            <a:xfrm>
              <a:off x="7334932" y="6093309"/>
              <a:ext cx="1651093" cy="188771"/>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ial product estimand:</a:t>
              </a:r>
            </a:p>
          </p:txBody>
        </p:sp>
        <p:sp>
          <p:nvSpPr>
            <p:cNvPr id="114" name="TextBox 113">
              <a:extLst>
                <a:ext uri="{FF2B5EF4-FFF2-40B4-BE49-F238E27FC236}">
                  <a16:creationId xmlns:a16="http://schemas.microsoft.com/office/drawing/2014/main" id="{AA0E8679-3EFF-964A-AC70-1F36C66CC885}"/>
                </a:ext>
              </a:extLst>
            </p:cNvPr>
            <p:cNvSpPr txBox="1"/>
            <p:nvPr/>
          </p:nvSpPr>
          <p:spPr>
            <a:xfrm>
              <a:off x="9051217" y="5750813"/>
              <a:ext cx="1322478" cy="188771"/>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p>
          </p:txBody>
        </p:sp>
        <p:sp>
          <p:nvSpPr>
            <p:cNvPr id="115" name="TextBox 114">
              <a:extLst>
                <a:ext uri="{FF2B5EF4-FFF2-40B4-BE49-F238E27FC236}">
                  <a16:creationId xmlns:a16="http://schemas.microsoft.com/office/drawing/2014/main" id="{E3C86CBB-45A6-8F44-9145-3F332A6D961A}"/>
                </a:ext>
              </a:extLst>
            </p:cNvPr>
            <p:cNvSpPr txBox="1"/>
            <p:nvPr/>
          </p:nvSpPr>
          <p:spPr>
            <a:xfrm>
              <a:off x="10525693" y="5749484"/>
              <a:ext cx="519373" cy="188771"/>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p>
          </p:txBody>
        </p:sp>
        <p:sp>
          <p:nvSpPr>
            <p:cNvPr id="116" name="TextBox 115">
              <a:extLst>
                <a:ext uri="{FF2B5EF4-FFF2-40B4-BE49-F238E27FC236}">
                  <a16:creationId xmlns:a16="http://schemas.microsoft.com/office/drawing/2014/main" id="{03C6490B-8FC0-0B4C-9C53-12F87EA45434}"/>
                </a:ext>
              </a:extLst>
            </p:cNvPr>
            <p:cNvSpPr txBox="1"/>
            <p:nvPr/>
          </p:nvSpPr>
          <p:spPr>
            <a:xfrm>
              <a:off x="7043979" y="5919939"/>
              <a:ext cx="1942840" cy="188771"/>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eatment policy estimand:</a:t>
              </a:r>
            </a:p>
          </p:txBody>
        </p:sp>
        <p:sp>
          <p:nvSpPr>
            <p:cNvPr id="117" name="Rectangle 116">
              <a:extLst>
                <a:ext uri="{FF2B5EF4-FFF2-40B4-BE49-F238E27FC236}">
                  <a16:creationId xmlns:a16="http://schemas.microsoft.com/office/drawing/2014/main" id="{BA5D4BED-7D1D-CE4F-AA31-9B4CE7C33605}"/>
                </a:ext>
              </a:extLst>
            </p:cNvPr>
            <p:cNvSpPr/>
            <p:nvPr/>
          </p:nvSpPr>
          <p:spPr>
            <a:xfrm>
              <a:off x="9658456" y="5972411"/>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8" name="Rectangle 117">
              <a:extLst>
                <a:ext uri="{FF2B5EF4-FFF2-40B4-BE49-F238E27FC236}">
                  <a16:creationId xmlns:a16="http://schemas.microsoft.com/office/drawing/2014/main" id="{50464339-B77C-2D43-88A1-0137C0065D57}"/>
                </a:ext>
              </a:extLst>
            </p:cNvPr>
            <p:cNvSpPr/>
            <p:nvPr/>
          </p:nvSpPr>
          <p:spPr>
            <a:xfrm>
              <a:off x="9658456" y="6137511"/>
              <a:ext cx="108000" cy="108000"/>
            </a:xfrm>
            <a:prstGeom prst="rect">
              <a:avLst/>
            </a:prstGeom>
            <a:solidFill>
              <a:srgbClr val="6774A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9" name="Rectangle 118">
              <a:extLst>
                <a:ext uri="{FF2B5EF4-FFF2-40B4-BE49-F238E27FC236}">
                  <a16:creationId xmlns:a16="http://schemas.microsoft.com/office/drawing/2014/main" id="{F7280A00-A78F-7E40-ADC6-613504518186}"/>
                </a:ext>
              </a:extLst>
            </p:cNvPr>
            <p:cNvSpPr/>
            <p:nvPr/>
          </p:nvSpPr>
          <p:spPr>
            <a:xfrm>
              <a:off x="10750656" y="5972411"/>
              <a:ext cx="108000" cy="108000"/>
            </a:xfrm>
            <a:prstGeom prst="rect">
              <a:avLst/>
            </a:prstGeom>
            <a:solidFill>
              <a:srgbClr val="939AA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0" name="Rectangle 119">
              <a:extLst>
                <a:ext uri="{FF2B5EF4-FFF2-40B4-BE49-F238E27FC236}">
                  <a16:creationId xmlns:a16="http://schemas.microsoft.com/office/drawing/2014/main" id="{2C7BA870-57BB-6045-B2C8-C2AB1DB844F2}"/>
                </a:ext>
              </a:extLst>
            </p:cNvPr>
            <p:cNvSpPr/>
            <p:nvPr/>
          </p:nvSpPr>
          <p:spPr>
            <a:xfrm>
              <a:off x="10750656" y="6137511"/>
              <a:ext cx="108000" cy="108000"/>
            </a:xfrm>
            <a:prstGeom prst="rect">
              <a:avLst/>
            </a:prstGeom>
            <a:solidFill>
              <a:srgbClr val="BFC2C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5" name="Text Placeholder 14">
            <a:extLst>
              <a:ext uri="{FF2B5EF4-FFF2-40B4-BE49-F238E27FC236}">
                <a16:creationId xmlns:a16="http://schemas.microsoft.com/office/drawing/2014/main" id="{393268A8-F995-49E8-82A6-ECC90D94B1AE}"/>
              </a:ext>
            </a:extLst>
          </p:cNvPr>
          <p:cNvSpPr>
            <a:spLocks noGrp="1"/>
          </p:cNvSpPr>
          <p:nvPr>
            <p:ph type="body" sz="quarter" idx="13"/>
          </p:nvPr>
        </p:nvSpPr>
        <p:spPr/>
        <p:txBody>
          <a:bodyPr/>
          <a:lstStyle/>
          <a:p>
            <a:r>
              <a:rPr lang="en-US">
                <a:latin typeface="Apis For Office" panose="020B0504010101010104" pitchFamily="34" charset="0"/>
                <a:ea typeface="Apis For Office" panose="020B0504010101010104" pitchFamily="34" charset="0"/>
                <a:cs typeface="Apis For Office" panose="020B0504010101010104" pitchFamily="34" charset="0"/>
              </a:rPr>
              <a:t>Error bars are +/- standard error of the mean. </a:t>
            </a:r>
            <a:br>
              <a:rPr lang="en-US">
                <a:latin typeface="Apis For Office" panose="020B0504010101010104" pitchFamily="34" charset="0"/>
                <a:ea typeface="Apis For Office" panose="020B0504010101010104" pitchFamily="34" charset="0"/>
                <a:cs typeface="Apis For Office" panose="020B0504010101010104" pitchFamily="34" charset="0"/>
              </a:rPr>
            </a:br>
            <a:r>
              <a:rPr lang="en-US">
                <a:latin typeface="Apis For Office" panose="020B0504010101010104" pitchFamily="34" charset="0"/>
                <a:ea typeface="Apis For Office" panose="020B0504010101010104" pitchFamily="34" charset="0"/>
                <a:cs typeface="Apis For Office" panose="020B0504010101010104" pitchFamily="34" charset="0"/>
              </a:rPr>
              <a:t>CI, confidence interval; ETD, estimated treatment difference.</a:t>
            </a:r>
            <a:br>
              <a:rPr lang="en-US">
                <a:latin typeface="Apis For Office" panose="020B0504010101010104" pitchFamily="34" charset="0"/>
                <a:ea typeface="Apis For Office" panose="020B0504010101010104" pitchFamily="34" charset="0"/>
                <a:cs typeface="Apis For Office" panose="020B0504010101010104" pitchFamily="34" charset="0"/>
              </a:rPr>
            </a:br>
            <a:r>
              <a:rPr lang="fr-FR" err="1">
                <a:latin typeface="Apis For Office" panose="020B0504010101010104" pitchFamily="34" charset="0"/>
                <a:ea typeface="Apis For Office" panose="020B0504010101010104" pitchFamily="34" charset="0"/>
                <a:cs typeface="Apis For Office" panose="020B0504010101010104" pitchFamily="34" charset="0"/>
              </a:rPr>
              <a:t>Rubino</a:t>
            </a:r>
            <a:r>
              <a:rPr lang="fr-FR">
                <a:latin typeface="Apis For Office" panose="020B0504010101010104" pitchFamily="34" charset="0"/>
                <a:ea typeface="Apis For Office" panose="020B0504010101010104" pitchFamily="34" charset="0"/>
                <a:cs typeface="Apis For Office" panose="020B0504010101010104" pitchFamily="34" charset="0"/>
              </a:rPr>
              <a:t> et al. JAMA. 2021;325:1414-25.</a:t>
            </a:r>
            <a:endParaRPr lang="en-US">
              <a:latin typeface="Apis For Office" panose="020B0504010101010104" pitchFamily="34" charset="0"/>
              <a:ea typeface="Apis For Office" panose="020B0504010101010104" pitchFamily="34" charset="0"/>
              <a:cs typeface="Apis For Office" panose="020B0504010101010104" pitchFamily="34" charset="0"/>
            </a:endParaRPr>
          </a:p>
        </p:txBody>
      </p:sp>
    </p:spTree>
    <p:extLst>
      <p:ext uri="{BB962C8B-B14F-4D97-AF65-F5344CB8AC3E}">
        <p14:creationId xmlns:p14="http://schemas.microsoft.com/office/powerpoint/2010/main" val="1043900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0F58692B-45B5-EE4A-A156-BBC63601EDD0}"/>
              </a:ext>
            </a:extLst>
          </p:cNvPr>
          <p:cNvSpPr txBox="1"/>
          <p:nvPr/>
        </p:nvSpPr>
        <p:spPr>
          <a:xfrm>
            <a:off x="2550315" y="1743343"/>
            <a:ext cx="5262828" cy="274562"/>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rial</a:t>
            </a:r>
          </a:p>
        </p:txBody>
      </p:sp>
      <p:sp>
        <p:nvSpPr>
          <p:cNvPr id="2" name="Title 1">
            <a:extLst>
              <a:ext uri="{FF2B5EF4-FFF2-40B4-BE49-F238E27FC236}">
                <a16:creationId xmlns:a16="http://schemas.microsoft.com/office/drawing/2014/main" id="{694E5D29-EA24-484C-876D-85EC552222A8}"/>
              </a:ext>
            </a:extLst>
          </p:cNvPr>
          <p:cNvSpPr>
            <a:spLocks noGrp="1"/>
          </p:cNvSpPr>
          <p:nvPr>
            <p:ph type="title"/>
          </p:nvPr>
        </p:nvSpPr>
        <p:spPr>
          <a:xfrm>
            <a:off x="647700" y="647700"/>
            <a:ext cx="11188700" cy="1296988"/>
          </a:xfrm>
        </p:spPr>
        <p:txBody>
          <a:bodyPr anchor="t">
            <a:normAutofit/>
          </a:bodyPr>
          <a:lstStyle/>
          <a:p>
            <a:r>
              <a:rPr lang="en-CA"/>
              <a:t>Categorical body weight loss (week 0</a:t>
            </a:r>
            <a:r>
              <a:rPr lang="en-GB" sz="3600" b="0">
                <a:latin typeface="Apis For Office" panose="020B0504010101010104" pitchFamily="34" charset="0"/>
                <a:ea typeface="Apis For Office" panose="020B0504010101010104" pitchFamily="34" charset="0"/>
                <a:cs typeface="Apis For Office" panose="020B0504010101010104" pitchFamily="34" charset="0"/>
              </a:rPr>
              <a:t>–68)</a:t>
            </a:r>
            <a:br>
              <a:rPr lang="en-CA"/>
            </a:br>
            <a:r>
              <a:rPr lang="en-US" sz="2000">
                <a:solidFill>
                  <a:schemeClr val="accent5"/>
                </a:solidFill>
              </a:rPr>
              <a:t>STEP 4</a:t>
            </a:r>
            <a:endParaRPr lang="en-GB" sz="2000">
              <a:solidFill>
                <a:schemeClr val="accent5"/>
              </a:solidFill>
            </a:endParaRPr>
          </a:p>
        </p:txBody>
      </p:sp>
      <p:sp>
        <p:nvSpPr>
          <p:cNvPr id="3" name="Text Placeholder 2">
            <a:extLst>
              <a:ext uri="{FF2B5EF4-FFF2-40B4-BE49-F238E27FC236}">
                <a16:creationId xmlns:a16="http://schemas.microsoft.com/office/drawing/2014/main" id="{698B49F5-4D4F-48FF-9B40-D5C250602701}"/>
              </a:ext>
            </a:extLst>
          </p:cNvPr>
          <p:cNvSpPr>
            <a:spLocks noGrp="1"/>
          </p:cNvSpPr>
          <p:nvPr>
            <p:ph type="body" sz="quarter" idx="13"/>
          </p:nvPr>
        </p:nvSpPr>
        <p:spPr>
          <a:xfrm>
            <a:off x="647999" y="6210000"/>
            <a:ext cx="8652000" cy="324000"/>
          </a:xfrm>
        </p:spPr>
        <p:txBody>
          <a:bodyPr/>
          <a:lstStyle/>
          <a:p>
            <a:r>
              <a:rPr lang="fr-FR" err="1"/>
              <a:t>Rubino</a:t>
            </a:r>
            <a:r>
              <a:rPr lang="fr-FR"/>
              <a:t> et al. JAMA. 2021;325:1414-25.</a:t>
            </a:r>
            <a:endParaRPr lang="en-CA"/>
          </a:p>
        </p:txBody>
      </p:sp>
      <p:graphicFrame>
        <p:nvGraphicFramePr>
          <p:cNvPr id="10" name="Content Placeholder 9">
            <a:extLst>
              <a:ext uri="{FF2B5EF4-FFF2-40B4-BE49-F238E27FC236}">
                <a16:creationId xmlns:a16="http://schemas.microsoft.com/office/drawing/2014/main" id="{A25811EF-55CF-4D69-A42D-3A14AD05E55F}"/>
              </a:ext>
            </a:extLst>
          </p:cNvPr>
          <p:cNvGraphicFramePr>
            <a:graphicFrameLocks noGrp="1"/>
          </p:cNvGraphicFramePr>
          <p:nvPr>
            <p:ph idx="4294967295"/>
          </p:nvPr>
        </p:nvGraphicFramePr>
        <p:xfrm>
          <a:off x="2273300" y="2084388"/>
          <a:ext cx="6731000" cy="3783012"/>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a:extLst>
              <a:ext uri="{FF2B5EF4-FFF2-40B4-BE49-F238E27FC236}">
                <a16:creationId xmlns:a16="http://schemas.microsoft.com/office/drawing/2014/main" id="{D1EB8B95-67A7-464B-9EE3-1A2D84EFA0EB}"/>
              </a:ext>
            </a:extLst>
          </p:cNvPr>
          <p:cNvGrpSpPr/>
          <p:nvPr/>
        </p:nvGrpSpPr>
        <p:grpSpPr>
          <a:xfrm>
            <a:off x="8019505" y="1880624"/>
            <a:ext cx="3392506" cy="905680"/>
            <a:chOff x="1626143" y="5334516"/>
            <a:chExt cx="3392506" cy="905678"/>
          </a:xfrm>
        </p:grpSpPr>
        <p:grpSp>
          <p:nvGrpSpPr>
            <p:cNvPr id="21" name="Group 20">
              <a:extLst>
                <a:ext uri="{FF2B5EF4-FFF2-40B4-BE49-F238E27FC236}">
                  <a16:creationId xmlns:a16="http://schemas.microsoft.com/office/drawing/2014/main" id="{2A6B869E-1A2A-E349-942B-369357020179}"/>
                </a:ext>
              </a:extLst>
            </p:cNvPr>
            <p:cNvGrpSpPr/>
            <p:nvPr/>
          </p:nvGrpSpPr>
          <p:grpSpPr>
            <a:xfrm>
              <a:off x="1906015" y="5334516"/>
              <a:ext cx="3112634" cy="905678"/>
              <a:chOff x="2303042" y="5576036"/>
              <a:chExt cx="3112634" cy="905678"/>
            </a:xfrm>
          </p:grpSpPr>
          <p:sp>
            <p:nvSpPr>
              <p:cNvPr id="39" name="TextBox 38">
                <a:extLst>
                  <a:ext uri="{FF2B5EF4-FFF2-40B4-BE49-F238E27FC236}">
                    <a16:creationId xmlns:a16="http://schemas.microsoft.com/office/drawing/2014/main" id="{D96386DE-72A7-034F-BEF1-39B810FDD25D}"/>
                  </a:ext>
                </a:extLst>
              </p:cNvPr>
              <p:cNvSpPr txBox="1"/>
              <p:nvPr/>
            </p:nvSpPr>
            <p:spPr>
              <a:xfrm>
                <a:off x="2335388" y="5576036"/>
                <a:ext cx="3080288" cy="391901"/>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 weeks of semaglutide run-in + 48 weeks of continued semaglutide 2.4 mg/</a:t>
                </a:r>
                <a:r>
                  <a:rPr kumimoji="0" lang="en-US" sz="11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k</a:t>
                </a: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n=520)</a:t>
                </a:r>
                <a:endPar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0" name="TextBox 39">
                <a:extLst>
                  <a:ext uri="{FF2B5EF4-FFF2-40B4-BE49-F238E27FC236}">
                    <a16:creationId xmlns:a16="http://schemas.microsoft.com/office/drawing/2014/main" id="{887CDFAF-2672-F046-88C5-DB7C45927248}"/>
                  </a:ext>
                </a:extLst>
              </p:cNvPr>
              <p:cNvSpPr txBox="1"/>
              <p:nvPr/>
            </p:nvSpPr>
            <p:spPr>
              <a:xfrm>
                <a:off x="2303042" y="6089813"/>
                <a:ext cx="2116079" cy="391901"/>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 weeks of semaglutide run-in + 48 weeks of placebo (n=250)</a:t>
                </a:r>
                <a:endPar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23" name="Group 22">
              <a:extLst>
                <a:ext uri="{FF2B5EF4-FFF2-40B4-BE49-F238E27FC236}">
                  <a16:creationId xmlns:a16="http://schemas.microsoft.com/office/drawing/2014/main" id="{AC636169-5D4B-F949-9659-A9A06F47B0A2}"/>
                </a:ext>
              </a:extLst>
            </p:cNvPr>
            <p:cNvGrpSpPr/>
            <p:nvPr/>
          </p:nvGrpSpPr>
          <p:grpSpPr>
            <a:xfrm>
              <a:off x="1626143" y="5462342"/>
              <a:ext cx="180122" cy="566650"/>
              <a:chOff x="1780721" y="5693121"/>
              <a:chExt cx="180122" cy="566650"/>
            </a:xfrm>
          </p:grpSpPr>
          <p:sp>
            <p:nvSpPr>
              <p:cNvPr id="31" name="Rectangle 30">
                <a:extLst>
                  <a:ext uri="{FF2B5EF4-FFF2-40B4-BE49-F238E27FC236}">
                    <a16:creationId xmlns:a16="http://schemas.microsoft.com/office/drawing/2014/main" id="{E98BEE32-B463-3C4A-9890-C75C5D3779AC}"/>
                  </a:ext>
                </a:extLst>
              </p:cNvPr>
              <p:cNvSpPr/>
              <p:nvPr/>
            </p:nvSpPr>
            <p:spPr>
              <a:xfrm>
                <a:off x="1786409" y="5693121"/>
                <a:ext cx="174434" cy="1744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8" name="Rectangle 37">
                <a:extLst>
                  <a:ext uri="{FF2B5EF4-FFF2-40B4-BE49-F238E27FC236}">
                    <a16:creationId xmlns:a16="http://schemas.microsoft.com/office/drawing/2014/main" id="{B865C49E-F442-4849-A099-6EE47E5BE826}"/>
                  </a:ext>
                </a:extLst>
              </p:cNvPr>
              <p:cNvSpPr/>
              <p:nvPr/>
            </p:nvSpPr>
            <p:spPr>
              <a:xfrm>
                <a:off x="1780721" y="6085336"/>
                <a:ext cx="174435" cy="174435"/>
              </a:xfrm>
              <a:prstGeom prst="rect">
                <a:avLst/>
              </a:prstGeom>
              <a:pattFill prst="wdDnDiag">
                <a:fgClr>
                  <a:srgbClr val="001965"/>
                </a:fgClr>
                <a:bgClr>
                  <a:srgbClr val="939AA7"/>
                </a:bgClr>
              </a:pattFill>
              <a:ln>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sp>
        <p:nvSpPr>
          <p:cNvPr id="4" name="TextBox 3">
            <a:extLst>
              <a:ext uri="{FF2B5EF4-FFF2-40B4-BE49-F238E27FC236}">
                <a16:creationId xmlns:a16="http://schemas.microsoft.com/office/drawing/2014/main" id="{9AD8E79D-412E-4CF1-89EB-5FE204467CA1}"/>
              </a:ext>
            </a:extLst>
          </p:cNvPr>
          <p:cNvSpPr txBox="1"/>
          <p:nvPr/>
        </p:nvSpPr>
        <p:spPr>
          <a:xfrm>
            <a:off x="3648967" y="5298440"/>
            <a:ext cx="513458" cy="273216"/>
          </a:xfrm>
          <a:prstGeom prst="rect">
            <a:avLst/>
          </a:prstGeom>
          <a:solidFill>
            <a:srgbClr val="FFFFFF"/>
          </a:solid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a:t>
            </a:r>
          </a:p>
        </p:txBody>
      </p:sp>
      <p:sp>
        <p:nvSpPr>
          <p:cNvPr id="14" name="TextBox 13">
            <a:extLst>
              <a:ext uri="{FF2B5EF4-FFF2-40B4-BE49-F238E27FC236}">
                <a16:creationId xmlns:a16="http://schemas.microsoft.com/office/drawing/2014/main" id="{AF50423E-D8C9-493A-A2C7-18A86C8BDB06}"/>
              </a:ext>
            </a:extLst>
          </p:cNvPr>
          <p:cNvSpPr txBox="1"/>
          <p:nvPr/>
        </p:nvSpPr>
        <p:spPr>
          <a:xfrm>
            <a:off x="5073701" y="5315116"/>
            <a:ext cx="1110993" cy="273216"/>
          </a:xfrm>
          <a:prstGeom prst="rect">
            <a:avLst/>
          </a:prstGeom>
          <a:solidFill>
            <a:srgbClr val="FFFFFF"/>
          </a:solid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a:t>
            </a:r>
          </a:p>
        </p:txBody>
      </p:sp>
      <p:sp>
        <p:nvSpPr>
          <p:cNvPr id="15" name="TextBox 14">
            <a:extLst>
              <a:ext uri="{FF2B5EF4-FFF2-40B4-BE49-F238E27FC236}">
                <a16:creationId xmlns:a16="http://schemas.microsoft.com/office/drawing/2014/main" id="{5634D868-6061-4829-9340-8652B429E180}"/>
              </a:ext>
            </a:extLst>
          </p:cNvPr>
          <p:cNvSpPr txBox="1"/>
          <p:nvPr/>
        </p:nvSpPr>
        <p:spPr>
          <a:xfrm>
            <a:off x="6478702" y="5298440"/>
            <a:ext cx="1110993" cy="273216"/>
          </a:xfrm>
          <a:prstGeom prst="rect">
            <a:avLst/>
          </a:prstGeom>
          <a:solidFill>
            <a:srgbClr val="FFFFFF"/>
          </a:solid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a:t>
            </a:r>
          </a:p>
        </p:txBody>
      </p:sp>
      <p:sp>
        <p:nvSpPr>
          <p:cNvPr id="16" name="TextBox 15">
            <a:extLst>
              <a:ext uri="{FF2B5EF4-FFF2-40B4-BE49-F238E27FC236}">
                <a16:creationId xmlns:a16="http://schemas.microsoft.com/office/drawing/2014/main" id="{FC5ED05B-C2C5-4B72-A6CD-9F1765BD0233}"/>
              </a:ext>
            </a:extLst>
          </p:cNvPr>
          <p:cNvSpPr txBox="1"/>
          <p:nvPr/>
        </p:nvSpPr>
        <p:spPr>
          <a:xfrm>
            <a:off x="8000719" y="5295929"/>
            <a:ext cx="1110993" cy="273216"/>
          </a:xfrm>
          <a:prstGeom prst="rect">
            <a:avLst/>
          </a:prstGeom>
          <a:solidFill>
            <a:srgbClr val="FFFFFF"/>
          </a:solid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Tree>
    <p:extLst>
      <p:ext uri="{BB962C8B-B14F-4D97-AF65-F5344CB8AC3E}">
        <p14:creationId xmlns:p14="http://schemas.microsoft.com/office/powerpoint/2010/main" val="29532786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C6405-EC73-418C-8A33-39A89796CEB4}"/>
              </a:ext>
            </a:extLst>
          </p:cNvPr>
          <p:cNvSpPr>
            <a:spLocks noGrp="1"/>
          </p:cNvSpPr>
          <p:nvPr>
            <p:ph type="title"/>
          </p:nvPr>
        </p:nvSpPr>
        <p:spPr/>
        <p:txBody>
          <a:bodyPr/>
          <a:lstStyle/>
          <a:p>
            <a:r>
              <a:rPr lang="en-GB" dirty="0"/>
              <a:t>Waist circumference</a:t>
            </a:r>
            <a:br>
              <a:rPr lang="en-GB" dirty="0"/>
            </a:br>
            <a:r>
              <a:rPr lang="en-GB" sz="2000" dirty="0">
                <a:solidFill>
                  <a:schemeClr val="accent5"/>
                </a:solidFill>
              </a:rPr>
              <a:t>STEP 4</a:t>
            </a:r>
            <a:br>
              <a:rPr lang="en-GB" dirty="0"/>
            </a:br>
            <a:endParaRPr lang="en-GB" dirty="0"/>
          </a:p>
        </p:txBody>
      </p:sp>
      <p:sp>
        <p:nvSpPr>
          <p:cNvPr id="6" name="Text Placeholder 5">
            <a:extLst>
              <a:ext uri="{FF2B5EF4-FFF2-40B4-BE49-F238E27FC236}">
                <a16:creationId xmlns:a16="http://schemas.microsoft.com/office/drawing/2014/main" id="{E13B5BCF-D6BF-4E83-9961-A28D0C371D4C}"/>
              </a:ext>
            </a:extLst>
          </p:cNvPr>
          <p:cNvSpPr>
            <a:spLocks noGrp="1"/>
          </p:cNvSpPr>
          <p:nvPr>
            <p:ph type="body" sz="quarter" idx="13"/>
          </p:nvPr>
        </p:nvSpPr>
        <p:spPr/>
        <p:txBody>
          <a:bodyPr/>
          <a:lstStyle/>
          <a:p>
            <a:r>
              <a:rPr lang="en-GB"/>
              <a:t>#Observed data for the in-trial period and estimated data for all participants. §Estimated values at week 68 for all participants (treatment policy estimand [</a:t>
            </a:r>
            <a:r>
              <a:rPr lang="en-US"/>
              <a:t>regardless of treatment adherence]</a:t>
            </a:r>
            <a:r>
              <a:rPr lang="en-GB"/>
              <a:t>).</a:t>
            </a:r>
            <a:br>
              <a:rPr lang="en-GB"/>
            </a:br>
            <a:r>
              <a:rPr lang="en-GB"/>
              <a:t>Error bars are +/- standard error of the mean. </a:t>
            </a:r>
            <a:br>
              <a:rPr lang="en-GB"/>
            </a:br>
            <a:r>
              <a:rPr lang="en-GB"/>
              <a:t>BMI, body mass index; CI, confidence interval; ETD, estimated treatment difference.</a:t>
            </a:r>
            <a:br>
              <a:rPr lang="en-GB"/>
            </a:br>
            <a:r>
              <a:rPr lang="fr-FR"/>
              <a:t>Rubino et al. JAMA. 2021;325(14):1-12; </a:t>
            </a:r>
            <a:r>
              <a:rPr lang="en-US" err="1"/>
              <a:t>Rubino</a:t>
            </a:r>
            <a:r>
              <a:rPr lang="en-US"/>
              <a:t> et al. Presented at the Endocrine Society (ENDO) virtual meeting, March 20-23, 2021.</a:t>
            </a:r>
            <a:endParaRPr lang="en-GB"/>
          </a:p>
        </p:txBody>
      </p:sp>
      <p:sp>
        <p:nvSpPr>
          <p:cNvPr id="13" name="TextBox 12">
            <a:extLst>
              <a:ext uri="{FF2B5EF4-FFF2-40B4-BE49-F238E27FC236}">
                <a16:creationId xmlns:a16="http://schemas.microsoft.com/office/drawing/2014/main" id="{F30EDF85-F4C1-4D6D-88EB-50A2CC49A86E}"/>
              </a:ext>
            </a:extLst>
          </p:cNvPr>
          <p:cNvSpPr txBox="1"/>
          <p:nvPr/>
        </p:nvSpPr>
        <p:spPr>
          <a:xfrm>
            <a:off x="3938939" y="1628486"/>
            <a:ext cx="5262828" cy="274563"/>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aist circumference</a:t>
            </a:r>
            <a:r>
              <a:rPr kumimoji="0" lang="en-US" sz="1600" b="1" i="0" u="none" strike="noStrike" kern="120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week 0</a:t>
            </a:r>
            <a:r>
              <a:rPr kumimoji="0" lang="en-GB" sz="1600" b="1" i="0" u="none" strike="noStrike" kern="1200" cap="none" spc="0" normalizeH="0" baseline="0" noProof="0">
                <a:ln>
                  <a:noFill/>
                </a:ln>
                <a:solidFill>
                  <a:srgbClr val="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8</a:t>
            </a:r>
          </a:p>
        </p:txBody>
      </p:sp>
      <p:grpSp>
        <p:nvGrpSpPr>
          <p:cNvPr id="15" name="Group 14">
            <a:extLst>
              <a:ext uri="{FF2B5EF4-FFF2-40B4-BE49-F238E27FC236}">
                <a16:creationId xmlns:a16="http://schemas.microsoft.com/office/drawing/2014/main" id="{2F77DEBF-7A99-4AC4-89F5-72DDD9C792B6}"/>
              </a:ext>
            </a:extLst>
          </p:cNvPr>
          <p:cNvGrpSpPr/>
          <p:nvPr/>
        </p:nvGrpSpPr>
        <p:grpSpPr>
          <a:xfrm>
            <a:off x="3412520" y="5784222"/>
            <a:ext cx="5369427" cy="190100"/>
            <a:chOff x="601560" y="5620423"/>
            <a:chExt cx="5369428" cy="190100"/>
          </a:xfrm>
        </p:grpSpPr>
        <p:grpSp>
          <p:nvGrpSpPr>
            <p:cNvPr id="17" name="Group 16">
              <a:extLst>
                <a:ext uri="{FF2B5EF4-FFF2-40B4-BE49-F238E27FC236}">
                  <a16:creationId xmlns:a16="http://schemas.microsoft.com/office/drawing/2014/main" id="{542D7071-6A53-4176-BA1A-8D4F1ACC7C06}"/>
                </a:ext>
              </a:extLst>
            </p:cNvPr>
            <p:cNvGrpSpPr/>
            <p:nvPr/>
          </p:nvGrpSpPr>
          <p:grpSpPr>
            <a:xfrm>
              <a:off x="2767665" y="5621753"/>
              <a:ext cx="1714684" cy="188770"/>
              <a:chOff x="1257693" y="5621753"/>
              <a:chExt cx="1714684" cy="188770"/>
            </a:xfrm>
          </p:grpSpPr>
          <p:sp>
            <p:nvSpPr>
              <p:cNvPr id="26" name="TextBox 25">
                <a:extLst>
                  <a:ext uri="{FF2B5EF4-FFF2-40B4-BE49-F238E27FC236}">
                    <a16:creationId xmlns:a16="http://schemas.microsoft.com/office/drawing/2014/main" id="{FBA22B72-AC8E-4670-A708-3FFE8D9743B7}"/>
                  </a:ext>
                </a:extLst>
              </p:cNvPr>
              <p:cNvSpPr txBox="1"/>
              <p:nvPr/>
            </p:nvSpPr>
            <p:spPr>
              <a:xfrm>
                <a:off x="1649899" y="5621753"/>
                <a:ext cx="1322478"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p>
            </p:txBody>
          </p:sp>
          <p:cxnSp>
            <p:nvCxnSpPr>
              <p:cNvPr id="27" name="Straight Connector 26">
                <a:extLst>
                  <a:ext uri="{FF2B5EF4-FFF2-40B4-BE49-F238E27FC236}">
                    <a16:creationId xmlns:a16="http://schemas.microsoft.com/office/drawing/2014/main" id="{016783F1-DB3C-4315-8B6D-E5DC867A76C5}"/>
                  </a:ext>
                </a:extLst>
              </p:cNvPr>
              <p:cNvCxnSpPr/>
              <p:nvPr/>
            </p:nvCxnSpPr>
            <p:spPr>
              <a:xfrm>
                <a:off x="1257693" y="5720770"/>
                <a:ext cx="32400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F9DD867A-A403-42A0-A77C-2339A6760531}"/>
                </a:ext>
              </a:extLst>
            </p:cNvPr>
            <p:cNvGrpSpPr/>
            <p:nvPr/>
          </p:nvGrpSpPr>
          <p:grpSpPr>
            <a:xfrm>
              <a:off x="5076815" y="5620423"/>
              <a:ext cx="894173" cy="188770"/>
              <a:chOff x="3549674" y="5620423"/>
              <a:chExt cx="894173" cy="188770"/>
            </a:xfrm>
          </p:grpSpPr>
          <p:sp>
            <p:nvSpPr>
              <p:cNvPr id="23" name="TextBox 22">
                <a:extLst>
                  <a:ext uri="{FF2B5EF4-FFF2-40B4-BE49-F238E27FC236}">
                    <a16:creationId xmlns:a16="http://schemas.microsoft.com/office/drawing/2014/main" id="{2FD9956E-B93E-464D-A04A-82599A289362}"/>
                  </a:ext>
                </a:extLst>
              </p:cNvPr>
              <p:cNvSpPr txBox="1"/>
              <p:nvPr/>
            </p:nvSpPr>
            <p:spPr>
              <a:xfrm>
                <a:off x="3924474" y="5620423"/>
                <a:ext cx="519373" cy="188770"/>
              </a:xfrm>
              <a:prstGeom prst="rect">
                <a:avLst/>
              </a:prstGeom>
              <a:noFill/>
            </p:spPr>
            <p:txBody>
              <a:bodyPr wrap="non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p>
            </p:txBody>
          </p:sp>
          <p:cxnSp>
            <p:nvCxnSpPr>
              <p:cNvPr id="24" name="Straight Connector 23">
                <a:extLst>
                  <a:ext uri="{FF2B5EF4-FFF2-40B4-BE49-F238E27FC236}">
                    <a16:creationId xmlns:a16="http://schemas.microsoft.com/office/drawing/2014/main" id="{30BB7C5E-E2DF-4109-9144-1D9DFD3D9819}"/>
                  </a:ext>
                </a:extLst>
              </p:cNvPr>
              <p:cNvCxnSpPr/>
              <p:nvPr/>
            </p:nvCxnSpPr>
            <p:spPr>
              <a:xfrm>
                <a:off x="3549674" y="5725241"/>
                <a:ext cx="324000" cy="0"/>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E5C5D338-A6B5-4AE7-8879-307511B8A4FA}"/>
                </a:ext>
              </a:extLst>
            </p:cNvPr>
            <p:cNvGrpSpPr/>
            <p:nvPr/>
          </p:nvGrpSpPr>
          <p:grpSpPr>
            <a:xfrm>
              <a:off x="601560" y="5621753"/>
              <a:ext cx="1728745" cy="188770"/>
              <a:chOff x="602391" y="5621753"/>
              <a:chExt cx="1728745" cy="188770"/>
            </a:xfrm>
          </p:grpSpPr>
          <p:sp>
            <p:nvSpPr>
              <p:cNvPr id="20" name="TextBox 19">
                <a:extLst>
                  <a:ext uri="{FF2B5EF4-FFF2-40B4-BE49-F238E27FC236}">
                    <a16:creationId xmlns:a16="http://schemas.microsoft.com/office/drawing/2014/main" id="{45556588-849C-4B86-8B47-3B2FFD5F95FC}"/>
                  </a:ext>
                </a:extLst>
              </p:cNvPr>
              <p:cNvSpPr txBox="1"/>
              <p:nvPr/>
            </p:nvSpPr>
            <p:spPr>
              <a:xfrm>
                <a:off x="979805" y="5621753"/>
                <a:ext cx="1351331" cy="188770"/>
              </a:xfrm>
              <a:prstGeom prst="rect">
                <a:avLst/>
              </a:prstGeom>
              <a:noFill/>
            </p:spPr>
            <p:txBody>
              <a:bodyPr wrap="none" lIns="0" tIns="0" rIns="0" bIns="0" rtlCol="0">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run-in)</a:t>
                </a:r>
              </a:p>
            </p:txBody>
          </p:sp>
          <p:cxnSp>
            <p:nvCxnSpPr>
              <p:cNvPr id="21" name="Straight Connector 20">
                <a:extLst>
                  <a:ext uri="{FF2B5EF4-FFF2-40B4-BE49-F238E27FC236}">
                    <a16:creationId xmlns:a16="http://schemas.microsoft.com/office/drawing/2014/main" id="{51840E01-A7AF-4E0E-BABD-E8CF36C7D5A6}"/>
                  </a:ext>
                </a:extLst>
              </p:cNvPr>
              <p:cNvCxnSpPr/>
              <p:nvPr/>
            </p:nvCxnSpPr>
            <p:spPr>
              <a:xfrm>
                <a:off x="602391" y="5714808"/>
                <a:ext cx="324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grpSp>
        <p:nvGrpSpPr>
          <p:cNvPr id="223" name="Group 222">
            <a:extLst>
              <a:ext uri="{FF2B5EF4-FFF2-40B4-BE49-F238E27FC236}">
                <a16:creationId xmlns:a16="http://schemas.microsoft.com/office/drawing/2014/main" id="{EE8824B5-E695-472B-87BC-CAB0720E1FAC}"/>
              </a:ext>
            </a:extLst>
          </p:cNvPr>
          <p:cNvGrpSpPr/>
          <p:nvPr/>
        </p:nvGrpSpPr>
        <p:grpSpPr>
          <a:xfrm>
            <a:off x="2095500" y="1852250"/>
            <a:ext cx="9067800" cy="3840219"/>
            <a:chOff x="6493653" y="2433427"/>
            <a:chExt cx="5648139" cy="2936131"/>
          </a:xfrm>
        </p:grpSpPr>
        <p:sp>
          <p:nvSpPr>
            <p:cNvPr id="163" name="Freeform: Shape 162">
              <a:extLst>
                <a:ext uri="{FF2B5EF4-FFF2-40B4-BE49-F238E27FC236}">
                  <a16:creationId xmlns:a16="http://schemas.microsoft.com/office/drawing/2014/main" id="{28E4CA25-36E2-4C32-A48F-1659E3F9E194}"/>
                </a:ext>
              </a:extLst>
            </p:cNvPr>
            <p:cNvSpPr/>
            <p:nvPr/>
          </p:nvSpPr>
          <p:spPr>
            <a:xfrm>
              <a:off x="7198519" y="2500313"/>
              <a:ext cx="1045369" cy="1307306"/>
            </a:xfrm>
            <a:custGeom>
              <a:avLst/>
              <a:gdLst>
                <a:gd name="connsiteX0" fmla="*/ 0 w 1045369"/>
                <a:gd name="connsiteY0" fmla="*/ 0 h 1307306"/>
                <a:gd name="connsiteX1" fmla="*/ 211931 w 1045369"/>
                <a:gd name="connsiteY1" fmla="*/ 304800 h 1307306"/>
                <a:gd name="connsiteX2" fmla="*/ 414337 w 1045369"/>
                <a:gd name="connsiteY2" fmla="*/ 571500 h 1307306"/>
                <a:gd name="connsiteX3" fmla="*/ 626269 w 1045369"/>
                <a:gd name="connsiteY3" fmla="*/ 838200 h 1307306"/>
                <a:gd name="connsiteX4" fmla="*/ 838200 w 1045369"/>
                <a:gd name="connsiteY4" fmla="*/ 1054893 h 1307306"/>
                <a:gd name="connsiteX5" fmla="*/ 1045369 w 1045369"/>
                <a:gd name="connsiteY5" fmla="*/ 1307306 h 130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5369" h="1307306">
                  <a:moveTo>
                    <a:pt x="0" y="0"/>
                  </a:moveTo>
                  <a:lnTo>
                    <a:pt x="211931" y="304800"/>
                  </a:lnTo>
                  <a:lnTo>
                    <a:pt x="414337" y="571500"/>
                  </a:lnTo>
                  <a:lnTo>
                    <a:pt x="626269" y="838200"/>
                  </a:lnTo>
                  <a:lnTo>
                    <a:pt x="838200" y="1054893"/>
                  </a:lnTo>
                  <a:lnTo>
                    <a:pt x="1045369" y="1307306"/>
                  </a:lnTo>
                </a:path>
              </a:pathLst>
            </a:custGeom>
            <a:noFill/>
            <a:ln w="19050">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cxnSp>
          <p:nvCxnSpPr>
            <p:cNvPr id="160" name="Straight Connector 159">
              <a:extLst>
                <a:ext uri="{FF2B5EF4-FFF2-40B4-BE49-F238E27FC236}">
                  <a16:creationId xmlns:a16="http://schemas.microsoft.com/office/drawing/2014/main" id="{CDB74D2E-1EC5-4DE6-80B8-FB3592342793}"/>
                </a:ext>
              </a:extLst>
            </p:cNvPr>
            <p:cNvCxnSpPr>
              <a:cxnSpLocks/>
            </p:cNvCxnSpPr>
            <p:nvPr/>
          </p:nvCxnSpPr>
          <p:spPr>
            <a:xfrm>
              <a:off x="8457741" y="3751795"/>
              <a:ext cx="0" cy="214394"/>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F6BB5D3-CAB3-49E2-ADB7-3DC00A674BA3}"/>
                </a:ext>
              </a:extLst>
            </p:cNvPr>
            <p:cNvCxnSpPr>
              <a:cxnSpLocks/>
            </p:cNvCxnSpPr>
            <p:nvPr/>
          </p:nvCxnSpPr>
          <p:spPr>
            <a:xfrm>
              <a:off x="8250476" y="3775053"/>
              <a:ext cx="0" cy="195185"/>
            </a:xfrm>
            <a:prstGeom prst="line">
              <a:avLst/>
            </a:prstGeom>
            <a:ln w="12700">
              <a:solidFill>
                <a:srgbClr val="939AA7"/>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A1E06CA-9DF6-4465-A8F8-D170F1EF855C}"/>
                </a:ext>
              </a:extLst>
            </p:cNvPr>
            <p:cNvGrpSpPr/>
            <p:nvPr/>
          </p:nvGrpSpPr>
          <p:grpSpPr>
            <a:xfrm>
              <a:off x="10750013" y="4837943"/>
              <a:ext cx="535508" cy="318710"/>
              <a:chOff x="5059047" y="5004000"/>
              <a:chExt cx="535508" cy="318710"/>
            </a:xfrm>
            <a:solidFill>
              <a:schemeClr val="bg1"/>
            </a:solidFill>
          </p:grpSpPr>
          <p:sp>
            <p:nvSpPr>
              <p:cNvPr id="56" name="Rectangle 55">
                <a:extLst>
                  <a:ext uri="{FF2B5EF4-FFF2-40B4-BE49-F238E27FC236}">
                    <a16:creationId xmlns:a16="http://schemas.microsoft.com/office/drawing/2014/main" id="{D615A69B-5D66-4E42-9961-511C0625650E}"/>
                  </a:ext>
                </a:extLst>
              </p:cNvPr>
              <p:cNvSpPr/>
              <p:nvPr/>
            </p:nvSpPr>
            <p:spPr>
              <a:xfrm>
                <a:off x="5059047" y="5004000"/>
                <a:ext cx="504000" cy="1048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57" name="Group 56">
                <a:extLst>
                  <a:ext uri="{FF2B5EF4-FFF2-40B4-BE49-F238E27FC236}">
                    <a16:creationId xmlns:a16="http://schemas.microsoft.com/office/drawing/2014/main" id="{8BFC3308-4FD8-4644-97F7-85796AA568C5}"/>
                  </a:ext>
                </a:extLst>
              </p:cNvPr>
              <p:cNvGrpSpPr/>
              <p:nvPr/>
            </p:nvGrpSpPr>
            <p:grpSpPr>
              <a:xfrm>
                <a:off x="5162555" y="5038221"/>
                <a:ext cx="432000" cy="284489"/>
                <a:chOff x="5091125" y="5128714"/>
                <a:chExt cx="432000" cy="284489"/>
              </a:xfrm>
              <a:grpFill/>
            </p:grpSpPr>
            <p:sp>
              <p:nvSpPr>
                <p:cNvPr id="58" name="Rectangle 57">
                  <a:extLst>
                    <a:ext uri="{FF2B5EF4-FFF2-40B4-BE49-F238E27FC236}">
                      <a16:creationId xmlns:a16="http://schemas.microsoft.com/office/drawing/2014/main" id="{41EF15E7-7F6B-4812-8D83-47E3918CC97A}"/>
                    </a:ext>
                  </a:extLst>
                </p:cNvPr>
                <p:cNvSpPr/>
                <p:nvPr/>
              </p:nvSpPr>
              <p:spPr>
                <a:xfrm>
                  <a:off x="5091125" y="5243926"/>
                  <a:ext cx="432000" cy="16927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8</a:t>
                  </a:r>
                  <a:r>
                    <a:rPr kumimoji="0" lang="en-GB" sz="1100" b="0" i="0" u="none" strike="noStrike" kern="120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p>
              </p:txBody>
            </p:sp>
            <p:cxnSp>
              <p:nvCxnSpPr>
                <p:cNvPr id="59" name="Straight Connector 58">
                  <a:extLst>
                    <a:ext uri="{FF2B5EF4-FFF2-40B4-BE49-F238E27FC236}">
                      <a16:creationId xmlns:a16="http://schemas.microsoft.com/office/drawing/2014/main" id="{C1672F7A-5438-4690-9F4C-B7AF174A9E2B}"/>
                    </a:ext>
                  </a:extLst>
                </p:cNvPr>
                <p:cNvCxnSpPr>
                  <a:cxnSpLocks/>
                </p:cNvCxnSpPr>
                <p:nvPr/>
              </p:nvCxnSpPr>
              <p:spPr>
                <a:xfrm>
                  <a:off x="5149879" y="5128714"/>
                  <a:ext cx="314493" cy="0"/>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47" name="Group 46">
              <a:extLst>
                <a:ext uri="{FF2B5EF4-FFF2-40B4-BE49-F238E27FC236}">
                  <a16:creationId xmlns:a16="http://schemas.microsoft.com/office/drawing/2014/main" id="{3D968B1D-14AA-41D2-978C-8232ED1138DC}"/>
                </a:ext>
              </a:extLst>
            </p:cNvPr>
            <p:cNvGrpSpPr/>
            <p:nvPr/>
          </p:nvGrpSpPr>
          <p:grpSpPr>
            <a:xfrm>
              <a:off x="10912275" y="3938095"/>
              <a:ext cx="343611" cy="731976"/>
              <a:chOff x="5294180" y="3549331"/>
              <a:chExt cx="343611" cy="1109482"/>
            </a:xfrm>
          </p:grpSpPr>
          <p:sp>
            <p:nvSpPr>
              <p:cNvPr id="54" name="Arrow: Right 19">
                <a:extLst>
                  <a:ext uri="{FF2B5EF4-FFF2-40B4-BE49-F238E27FC236}">
                    <a16:creationId xmlns:a16="http://schemas.microsoft.com/office/drawing/2014/main" id="{8F608A5B-1EA5-4EDE-890C-399CC4DA4A69}"/>
                  </a:ext>
                </a:extLst>
              </p:cNvPr>
              <p:cNvSpPr/>
              <p:nvPr/>
            </p:nvSpPr>
            <p:spPr>
              <a:xfrm rot="5400000">
                <a:off x="4911247" y="3978072"/>
                <a:ext cx="1109482" cy="252000"/>
              </a:xfrm>
              <a:prstGeom prst="rightArrow">
                <a:avLst/>
              </a:prstGeom>
              <a:solidFill>
                <a:srgbClr val="001965"/>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5" name="TextBox 54">
                <a:extLst>
                  <a:ext uri="{FF2B5EF4-FFF2-40B4-BE49-F238E27FC236}">
                    <a16:creationId xmlns:a16="http://schemas.microsoft.com/office/drawing/2014/main" id="{6E2265C6-EA70-4813-8278-8A3FA35DFFB9}"/>
                  </a:ext>
                </a:extLst>
              </p:cNvPr>
              <p:cNvSpPr txBox="1"/>
              <p:nvPr/>
            </p:nvSpPr>
            <p:spPr>
              <a:xfrm>
                <a:off x="5294180" y="3848161"/>
                <a:ext cx="343611" cy="396324"/>
              </a:xfrm>
              <a:prstGeom prst="rect">
                <a:avLst/>
              </a:prstGeom>
              <a:solidFill>
                <a:srgbClr val="001965"/>
              </a:solidFill>
              <a:ln w="12700">
                <a:solidFill>
                  <a:schemeClr val="bg1"/>
                </a:solidFill>
              </a:ln>
            </p:spPr>
            <p:txBody>
              <a:bodyPr wrap="none" lIns="36000" tIns="36000" rIns="36000" bIns="36000" rtlCol="0" anchor="ctr">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4</a:t>
                </a:r>
              </a:p>
            </p:txBody>
          </p:sp>
        </p:grpSp>
        <p:grpSp>
          <p:nvGrpSpPr>
            <p:cNvPr id="48" name="Group 47">
              <a:extLst>
                <a:ext uri="{FF2B5EF4-FFF2-40B4-BE49-F238E27FC236}">
                  <a16:creationId xmlns:a16="http://schemas.microsoft.com/office/drawing/2014/main" id="{7CD2CE35-C74D-4913-B954-00296471A2DE}"/>
                </a:ext>
              </a:extLst>
            </p:cNvPr>
            <p:cNvGrpSpPr/>
            <p:nvPr/>
          </p:nvGrpSpPr>
          <p:grpSpPr>
            <a:xfrm>
              <a:off x="10780767" y="3517740"/>
              <a:ext cx="353229" cy="400046"/>
              <a:chOff x="4707186" y="3804346"/>
              <a:chExt cx="353229" cy="578035"/>
            </a:xfrm>
          </p:grpSpPr>
          <p:sp>
            <p:nvSpPr>
              <p:cNvPr id="52" name="Arrow: Right 15">
                <a:extLst>
                  <a:ext uri="{FF2B5EF4-FFF2-40B4-BE49-F238E27FC236}">
                    <a16:creationId xmlns:a16="http://schemas.microsoft.com/office/drawing/2014/main" id="{F984E669-5498-4A9C-8FE8-9ACA3EF0FD81}"/>
                  </a:ext>
                </a:extLst>
              </p:cNvPr>
              <p:cNvSpPr/>
              <p:nvPr/>
            </p:nvSpPr>
            <p:spPr>
              <a:xfrm rot="16200000">
                <a:off x="4594784" y="3967364"/>
                <a:ext cx="578035" cy="252000"/>
              </a:xfrm>
              <a:prstGeom prst="rightArrow">
                <a:avLst/>
              </a:prstGeom>
              <a:solidFill>
                <a:srgbClr val="939AA7"/>
              </a:solidFill>
              <a:ln>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3" name="TextBox 52">
                <a:extLst>
                  <a:ext uri="{FF2B5EF4-FFF2-40B4-BE49-F238E27FC236}">
                    <a16:creationId xmlns:a16="http://schemas.microsoft.com/office/drawing/2014/main" id="{FF708F50-A975-4090-B25B-616D3205CF67}"/>
                  </a:ext>
                </a:extLst>
              </p:cNvPr>
              <p:cNvSpPr txBox="1"/>
              <p:nvPr/>
            </p:nvSpPr>
            <p:spPr>
              <a:xfrm>
                <a:off x="4707186" y="3990475"/>
                <a:ext cx="353229" cy="377808"/>
              </a:xfrm>
              <a:prstGeom prst="rect">
                <a:avLst/>
              </a:prstGeom>
              <a:solidFill>
                <a:srgbClr val="939AA7"/>
              </a:solidFill>
              <a:ln w="12700">
                <a:solidFill>
                  <a:schemeClr val="bg1"/>
                </a:solidFill>
              </a:ln>
            </p:spPr>
            <p:txBody>
              <a:bodyPr wrap="none" lIns="36000" tIns="36000" rIns="36000" bIns="36000" rtlCol="0" anchor="ctr">
                <a:spAutoFit/>
              </a:body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da-DK" sz="11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3</a:t>
                </a:r>
                <a:endParaRPr kumimoji="0" lang="en-GB" sz="11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49" name="TextBox 48">
              <a:extLst>
                <a:ext uri="{FF2B5EF4-FFF2-40B4-BE49-F238E27FC236}">
                  <a16:creationId xmlns:a16="http://schemas.microsoft.com/office/drawing/2014/main" id="{DFFD039B-CBAB-467A-87AB-72590238D43F}"/>
                </a:ext>
              </a:extLst>
            </p:cNvPr>
            <p:cNvSpPr txBox="1"/>
            <p:nvPr/>
          </p:nvSpPr>
          <p:spPr>
            <a:xfrm rot="10800000" flipV="1">
              <a:off x="9997250" y="2575952"/>
              <a:ext cx="2144542"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TD (week 20–68):</a:t>
              </a:r>
              <a:b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7 cm </a:t>
              </a:r>
              <a:br>
                <a:rPr kumimoji="0" lang="en-US" sz="12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5% CI: [–10.9; –8.5];</a:t>
              </a:r>
              <a:endParaRPr kumimoji="0" lang="en-US" sz="1000" b="0" i="0" u="none" strike="noStrike" kern="1200" cap="none" spc="0" normalizeH="0" baseline="-25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t;0.001</a:t>
              </a:r>
              <a:endParaRPr kumimoji="0" lang="en-GB" sz="10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0" name="TextBox 49">
              <a:extLst>
                <a:ext uri="{FF2B5EF4-FFF2-40B4-BE49-F238E27FC236}">
                  <a16:creationId xmlns:a16="http://schemas.microsoft.com/office/drawing/2014/main" id="{B0F1C34F-5227-4AF8-BD36-547CEC65EBE7}"/>
                </a:ext>
              </a:extLst>
            </p:cNvPr>
            <p:cNvSpPr txBox="1"/>
            <p:nvPr/>
          </p:nvSpPr>
          <p:spPr>
            <a:xfrm rot="16200000">
              <a:off x="5416314" y="3538446"/>
              <a:ext cx="2354734" cy="20005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aist circumference (cm)</a:t>
              </a:r>
            </a:p>
          </p:txBody>
        </p:sp>
        <p:sp>
          <p:nvSpPr>
            <p:cNvPr id="51" name="TextBox 50">
              <a:extLst>
                <a:ext uri="{FF2B5EF4-FFF2-40B4-BE49-F238E27FC236}">
                  <a16:creationId xmlns:a16="http://schemas.microsoft.com/office/drawing/2014/main" id="{E4ABE943-CF0E-469F-BB3E-6C49E2E59794}"/>
                </a:ext>
              </a:extLst>
            </p:cNvPr>
            <p:cNvSpPr txBox="1"/>
            <p:nvPr/>
          </p:nvSpPr>
          <p:spPr>
            <a:xfrm>
              <a:off x="7167612" y="5169503"/>
              <a:ext cx="4170658" cy="20005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ime (week)</a:t>
              </a:r>
            </a:p>
          </p:txBody>
        </p:sp>
        <p:cxnSp>
          <p:nvCxnSpPr>
            <p:cNvPr id="9" name="Straight Connector 8">
              <a:extLst>
                <a:ext uri="{FF2B5EF4-FFF2-40B4-BE49-F238E27FC236}">
                  <a16:creationId xmlns:a16="http://schemas.microsoft.com/office/drawing/2014/main" id="{CC217D07-1DE3-4694-B3B0-A5851B301CDA}"/>
                </a:ext>
              </a:extLst>
            </p:cNvPr>
            <p:cNvCxnSpPr/>
            <p:nvPr/>
          </p:nvCxnSpPr>
          <p:spPr>
            <a:xfrm>
              <a:off x="7080250" y="2506062"/>
              <a:ext cx="0" cy="236726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38772C0-C7B0-42BB-91A0-9820280F9CD0}"/>
                </a:ext>
              </a:extLst>
            </p:cNvPr>
            <p:cNvCxnSpPr/>
            <p:nvPr/>
          </p:nvCxnSpPr>
          <p:spPr>
            <a:xfrm>
              <a:off x="7080250" y="4873326"/>
              <a:ext cx="381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91A1534-90E8-48C2-85F3-F3D704F6E32E}"/>
                </a:ext>
              </a:extLst>
            </p:cNvPr>
            <p:cNvCxnSpPr>
              <a:cxnSpLocks/>
            </p:cNvCxnSpPr>
            <p:nvPr/>
          </p:nvCxnSpPr>
          <p:spPr>
            <a:xfrm>
              <a:off x="10749012" y="4613687"/>
              <a:ext cx="0" cy="22672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CEE6819-DAD4-45EF-931E-7F385073042F}"/>
                </a:ext>
              </a:extLst>
            </p:cNvPr>
            <p:cNvCxnSpPr>
              <a:cxnSpLocks/>
            </p:cNvCxnSpPr>
            <p:nvPr/>
          </p:nvCxnSpPr>
          <p:spPr>
            <a:xfrm>
              <a:off x="10332293" y="4567407"/>
              <a:ext cx="0" cy="20240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3A2E498-0EEB-4EC9-A358-9F50D2108584}"/>
                </a:ext>
              </a:extLst>
            </p:cNvPr>
            <p:cNvCxnSpPr>
              <a:cxnSpLocks/>
            </p:cNvCxnSpPr>
            <p:nvPr/>
          </p:nvCxnSpPr>
          <p:spPr>
            <a:xfrm>
              <a:off x="9915575" y="4505664"/>
              <a:ext cx="0" cy="18703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F24E85BA-729A-4622-BE26-B8E25E7E8A5C}"/>
                </a:ext>
              </a:extLst>
            </p:cNvPr>
            <p:cNvCxnSpPr>
              <a:cxnSpLocks/>
            </p:cNvCxnSpPr>
            <p:nvPr/>
          </p:nvCxnSpPr>
          <p:spPr>
            <a:xfrm>
              <a:off x="9494093" y="4411724"/>
              <a:ext cx="0" cy="16595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6C725CD-48DE-4BD2-A6E5-EFD8082201F8}"/>
                </a:ext>
              </a:extLst>
            </p:cNvPr>
            <p:cNvCxnSpPr>
              <a:cxnSpLocks/>
            </p:cNvCxnSpPr>
            <p:nvPr/>
          </p:nvCxnSpPr>
          <p:spPr>
            <a:xfrm>
              <a:off x="9082137" y="4263132"/>
              <a:ext cx="0" cy="17591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10B37D5-CC0E-4CB2-8A5C-232CCE94A52C}"/>
                </a:ext>
              </a:extLst>
            </p:cNvPr>
            <p:cNvCxnSpPr>
              <a:cxnSpLocks/>
            </p:cNvCxnSpPr>
            <p:nvPr/>
          </p:nvCxnSpPr>
          <p:spPr>
            <a:xfrm>
              <a:off x="8663037" y="4055964"/>
              <a:ext cx="0" cy="1476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CF69493-685A-432E-A6C5-7C4B7EFCB390}"/>
                </a:ext>
              </a:extLst>
            </p:cNvPr>
            <p:cNvCxnSpPr>
              <a:cxnSpLocks/>
            </p:cNvCxnSpPr>
            <p:nvPr/>
          </p:nvCxnSpPr>
          <p:spPr>
            <a:xfrm>
              <a:off x="8451106" y="3889277"/>
              <a:ext cx="0" cy="1476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7D8A084-DF23-454E-85AD-94D2241AA8AB}"/>
                </a:ext>
              </a:extLst>
            </p:cNvPr>
            <p:cNvCxnSpPr>
              <a:cxnSpLocks/>
            </p:cNvCxnSpPr>
            <p:nvPr/>
          </p:nvCxnSpPr>
          <p:spPr>
            <a:xfrm>
              <a:off x="8243937" y="3741894"/>
              <a:ext cx="0" cy="13751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EC0B3CA-F8F3-491E-B4B4-789BCF2AD287}"/>
                </a:ext>
              </a:extLst>
            </p:cNvPr>
            <p:cNvCxnSpPr>
              <a:cxnSpLocks/>
            </p:cNvCxnSpPr>
            <p:nvPr/>
          </p:nvCxnSpPr>
          <p:spPr>
            <a:xfrm>
              <a:off x="8034912" y="3508531"/>
              <a:ext cx="0" cy="107156"/>
            </a:xfrm>
            <a:prstGeom prst="line">
              <a:avLst/>
            </a:prstGeom>
            <a:ln w="19050">
              <a:solidFill>
                <a:srgbClr val="2A918B"/>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5F41697-AF46-46EE-B555-97EE6AC1B88E}"/>
                </a:ext>
              </a:extLst>
            </p:cNvPr>
            <p:cNvCxnSpPr>
              <a:cxnSpLocks/>
            </p:cNvCxnSpPr>
            <p:nvPr/>
          </p:nvCxnSpPr>
          <p:spPr>
            <a:xfrm>
              <a:off x="7825936" y="3288825"/>
              <a:ext cx="0" cy="97502"/>
            </a:xfrm>
            <a:prstGeom prst="line">
              <a:avLst/>
            </a:prstGeom>
            <a:ln w="19050">
              <a:solidFill>
                <a:srgbClr val="2A918B"/>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BD07C2B-C4A9-492C-B635-244E0BC02357}"/>
                </a:ext>
              </a:extLst>
            </p:cNvPr>
            <p:cNvCxnSpPr>
              <a:cxnSpLocks/>
            </p:cNvCxnSpPr>
            <p:nvPr/>
          </p:nvCxnSpPr>
          <p:spPr>
            <a:xfrm>
              <a:off x="9083048" y="3667740"/>
              <a:ext cx="0" cy="221537"/>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FD72EA4-E0E0-4610-A94D-3DC3E9671E1B}"/>
                </a:ext>
              </a:extLst>
            </p:cNvPr>
            <p:cNvCxnSpPr>
              <a:cxnSpLocks/>
            </p:cNvCxnSpPr>
            <p:nvPr/>
          </p:nvCxnSpPr>
          <p:spPr>
            <a:xfrm>
              <a:off x="9504976" y="3549675"/>
              <a:ext cx="0" cy="243831"/>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17629B5B-660D-4985-A23B-61261BB334EE}"/>
                </a:ext>
              </a:extLst>
            </p:cNvPr>
            <p:cNvCxnSpPr>
              <a:cxnSpLocks/>
            </p:cNvCxnSpPr>
            <p:nvPr/>
          </p:nvCxnSpPr>
          <p:spPr>
            <a:xfrm>
              <a:off x="9917811" y="3549675"/>
              <a:ext cx="0" cy="251790"/>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9E6FEEC1-0013-41BA-95A5-2A85C442D685}"/>
                </a:ext>
              </a:extLst>
            </p:cNvPr>
            <p:cNvCxnSpPr>
              <a:cxnSpLocks/>
            </p:cNvCxnSpPr>
            <p:nvPr/>
          </p:nvCxnSpPr>
          <p:spPr>
            <a:xfrm>
              <a:off x="10339198" y="3389219"/>
              <a:ext cx="0" cy="264396"/>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55EBB88-313A-4A60-9B91-A54DC45C812D}"/>
                </a:ext>
              </a:extLst>
            </p:cNvPr>
            <p:cNvCxnSpPr>
              <a:cxnSpLocks/>
            </p:cNvCxnSpPr>
            <p:nvPr/>
          </p:nvCxnSpPr>
          <p:spPr>
            <a:xfrm>
              <a:off x="10758161" y="3350667"/>
              <a:ext cx="0" cy="283444"/>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331E18A0-3B65-4942-ACB6-E7709E6C6696}"/>
                </a:ext>
              </a:extLst>
            </p:cNvPr>
            <p:cNvCxnSpPr>
              <a:cxnSpLocks/>
            </p:cNvCxnSpPr>
            <p:nvPr/>
          </p:nvCxnSpPr>
          <p:spPr>
            <a:xfrm>
              <a:off x="8667241" y="3743939"/>
              <a:ext cx="0" cy="214394"/>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sp>
          <p:nvSpPr>
            <p:cNvPr id="164" name="Freeform: Shape 163">
              <a:extLst>
                <a:ext uri="{FF2B5EF4-FFF2-40B4-BE49-F238E27FC236}">
                  <a16:creationId xmlns:a16="http://schemas.microsoft.com/office/drawing/2014/main" id="{E54606E7-B3F9-46E4-8A62-7501494A7330}"/>
                </a:ext>
              </a:extLst>
            </p:cNvPr>
            <p:cNvSpPr/>
            <p:nvPr/>
          </p:nvSpPr>
          <p:spPr>
            <a:xfrm>
              <a:off x="8242300" y="3479800"/>
              <a:ext cx="2517775" cy="390525"/>
            </a:xfrm>
            <a:custGeom>
              <a:avLst/>
              <a:gdLst>
                <a:gd name="connsiteX0" fmla="*/ 0 w 2517775"/>
                <a:gd name="connsiteY0" fmla="*/ 390525 h 390525"/>
                <a:gd name="connsiteX1" fmla="*/ 222250 w 2517775"/>
                <a:gd name="connsiteY1" fmla="*/ 381000 h 390525"/>
                <a:gd name="connsiteX2" fmla="*/ 425450 w 2517775"/>
                <a:gd name="connsiteY2" fmla="*/ 371475 h 390525"/>
                <a:gd name="connsiteX3" fmla="*/ 838200 w 2517775"/>
                <a:gd name="connsiteY3" fmla="*/ 292100 h 390525"/>
                <a:gd name="connsiteX4" fmla="*/ 1260475 w 2517775"/>
                <a:gd name="connsiteY4" fmla="*/ 193675 h 390525"/>
                <a:gd name="connsiteX5" fmla="*/ 1673225 w 2517775"/>
                <a:gd name="connsiteY5" fmla="*/ 193675 h 390525"/>
                <a:gd name="connsiteX6" fmla="*/ 2095500 w 2517775"/>
                <a:gd name="connsiteY6" fmla="*/ 28575 h 390525"/>
                <a:gd name="connsiteX7" fmla="*/ 2517775 w 2517775"/>
                <a:gd name="connsiteY7" fmla="*/ 0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7775" h="390525">
                  <a:moveTo>
                    <a:pt x="0" y="390525"/>
                  </a:moveTo>
                  <a:lnTo>
                    <a:pt x="222250" y="381000"/>
                  </a:lnTo>
                  <a:lnTo>
                    <a:pt x="425450" y="371475"/>
                  </a:lnTo>
                  <a:lnTo>
                    <a:pt x="838200" y="292100"/>
                  </a:lnTo>
                  <a:lnTo>
                    <a:pt x="1260475" y="193675"/>
                  </a:lnTo>
                  <a:lnTo>
                    <a:pt x="1673225" y="193675"/>
                  </a:lnTo>
                  <a:lnTo>
                    <a:pt x="2095500" y="28575"/>
                  </a:lnTo>
                  <a:lnTo>
                    <a:pt x="2517775" y="0"/>
                  </a:lnTo>
                </a:path>
              </a:pathLst>
            </a:custGeom>
            <a:noFill/>
            <a:ln w="1905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65" name="Freeform: Shape 164">
              <a:extLst>
                <a:ext uri="{FF2B5EF4-FFF2-40B4-BE49-F238E27FC236}">
                  <a16:creationId xmlns:a16="http://schemas.microsoft.com/office/drawing/2014/main" id="{27B15F40-B46F-4B2B-B2FF-C98944F28E1E}"/>
                </a:ext>
              </a:extLst>
            </p:cNvPr>
            <p:cNvSpPr/>
            <p:nvPr/>
          </p:nvSpPr>
          <p:spPr>
            <a:xfrm>
              <a:off x="8242300" y="3813175"/>
              <a:ext cx="2505075" cy="911225"/>
            </a:xfrm>
            <a:custGeom>
              <a:avLst/>
              <a:gdLst>
                <a:gd name="connsiteX0" fmla="*/ 2505075 w 2505075"/>
                <a:gd name="connsiteY0" fmla="*/ 911225 h 911225"/>
                <a:gd name="connsiteX1" fmla="*/ 2089150 w 2505075"/>
                <a:gd name="connsiteY1" fmla="*/ 857250 h 911225"/>
                <a:gd name="connsiteX2" fmla="*/ 1670050 w 2505075"/>
                <a:gd name="connsiteY2" fmla="*/ 787400 h 911225"/>
                <a:gd name="connsiteX3" fmla="*/ 1250950 w 2505075"/>
                <a:gd name="connsiteY3" fmla="*/ 679450 h 911225"/>
                <a:gd name="connsiteX4" fmla="*/ 838200 w 2505075"/>
                <a:gd name="connsiteY4" fmla="*/ 552450 h 911225"/>
                <a:gd name="connsiteX5" fmla="*/ 419100 w 2505075"/>
                <a:gd name="connsiteY5" fmla="*/ 323850 h 911225"/>
                <a:gd name="connsiteX6" fmla="*/ 209550 w 2505075"/>
                <a:gd name="connsiteY6" fmla="*/ 152400 h 911225"/>
                <a:gd name="connsiteX7" fmla="*/ 0 w 2505075"/>
                <a:gd name="connsiteY7" fmla="*/ 0 h 91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5075" h="911225">
                  <a:moveTo>
                    <a:pt x="2505075" y="911225"/>
                  </a:moveTo>
                  <a:lnTo>
                    <a:pt x="2089150" y="857250"/>
                  </a:lnTo>
                  <a:lnTo>
                    <a:pt x="1670050" y="787400"/>
                  </a:lnTo>
                  <a:lnTo>
                    <a:pt x="1250950" y="679450"/>
                  </a:lnTo>
                  <a:lnTo>
                    <a:pt x="838200" y="552450"/>
                  </a:lnTo>
                  <a:lnTo>
                    <a:pt x="419100" y="323850"/>
                  </a:lnTo>
                  <a:lnTo>
                    <a:pt x="209550" y="15240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cxnSp>
          <p:nvCxnSpPr>
            <p:cNvPr id="167" name="Straight Connector 166">
              <a:extLst>
                <a:ext uri="{FF2B5EF4-FFF2-40B4-BE49-F238E27FC236}">
                  <a16:creationId xmlns:a16="http://schemas.microsoft.com/office/drawing/2014/main" id="{1654DB39-9E0F-4DE1-BD0C-B42AC8CDE778}"/>
                </a:ext>
              </a:extLst>
            </p:cNvPr>
            <p:cNvCxnSpPr>
              <a:cxnSpLocks/>
            </p:cNvCxnSpPr>
            <p:nvPr/>
          </p:nvCxnSpPr>
          <p:spPr>
            <a:xfrm>
              <a:off x="7015162" y="2512465"/>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0A6986C-84CD-4A7C-BCDA-9D8D977A1DAC}"/>
                </a:ext>
              </a:extLst>
            </p:cNvPr>
            <p:cNvCxnSpPr>
              <a:cxnSpLocks/>
            </p:cNvCxnSpPr>
            <p:nvPr/>
          </p:nvCxnSpPr>
          <p:spPr>
            <a:xfrm>
              <a:off x="7015162" y="2774669"/>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8CEF46CC-2E50-4776-A8D3-6642098655AF}"/>
                </a:ext>
              </a:extLst>
            </p:cNvPr>
            <p:cNvCxnSpPr>
              <a:cxnSpLocks/>
            </p:cNvCxnSpPr>
            <p:nvPr/>
          </p:nvCxnSpPr>
          <p:spPr>
            <a:xfrm>
              <a:off x="7015162" y="3036873"/>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E3FF6BC4-5D4E-4CFC-B52B-0F31EE5D886B}"/>
                </a:ext>
              </a:extLst>
            </p:cNvPr>
            <p:cNvCxnSpPr>
              <a:cxnSpLocks/>
            </p:cNvCxnSpPr>
            <p:nvPr/>
          </p:nvCxnSpPr>
          <p:spPr>
            <a:xfrm>
              <a:off x="7015162" y="3299077"/>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7F9E14B-1FE6-47CC-96ED-8FD559F27CDB}"/>
                </a:ext>
              </a:extLst>
            </p:cNvPr>
            <p:cNvCxnSpPr>
              <a:cxnSpLocks/>
            </p:cNvCxnSpPr>
            <p:nvPr/>
          </p:nvCxnSpPr>
          <p:spPr>
            <a:xfrm>
              <a:off x="7015162" y="3561281"/>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1D8FD904-3CF5-474E-9A3E-96E802FE58E8}"/>
                </a:ext>
              </a:extLst>
            </p:cNvPr>
            <p:cNvCxnSpPr>
              <a:cxnSpLocks/>
            </p:cNvCxnSpPr>
            <p:nvPr/>
          </p:nvCxnSpPr>
          <p:spPr>
            <a:xfrm>
              <a:off x="7015162" y="3823485"/>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D376221-1DBB-4346-84C2-1F7B3969002D}"/>
                </a:ext>
              </a:extLst>
            </p:cNvPr>
            <p:cNvCxnSpPr>
              <a:cxnSpLocks/>
            </p:cNvCxnSpPr>
            <p:nvPr/>
          </p:nvCxnSpPr>
          <p:spPr>
            <a:xfrm>
              <a:off x="7015162" y="4085689"/>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D2AB5E52-8894-4219-AA10-83354BF7AEDD}"/>
                </a:ext>
              </a:extLst>
            </p:cNvPr>
            <p:cNvCxnSpPr>
              <a:cxnSpLocks/>
            </p:cNvCxnSpPr>
            <p:nvPr/>
          </p:nvCxnSpPr>
          <p:spPr>
            <a:xfrm>
              <a:off x="7015162" y="4347893"/>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05F87A8C-F3A3-48CE-AD80-49668B17D1C3}"/>
                </a:ext>
              </a:extLst>
            </p:cNvPr>
            <p:cNvCxnSpPr>
              <a:cxnSpLocks/>
            </p:cNvCxnSpPr>
            <p:nvPr/>
          </p:nvCxnSpPr>
          <p:spPr>
            <a:xfrm>
              <a:off x="7015162" y="4610097"/>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CCA7F85D-FCB4-45E6-83B9-4AC2F873D871}"/>
                </a:ext>
              </a:extLst>
            </p:cNvPr>
            <p:cNvCxnSpPr>
              <a:cxnSpLocks/>
            </p:cNvCxnSpPr>
            <p:nvPr/>
          </p:nvCxnSpPr>
          <p:spPr>
            <a:xfrm>
              <a:off x="7015162" y="4872298"/>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00AA23B6-A058-43AF-AF09-8B52869876EE}"/>
                </a:ext>
              </a:extLst>
            </p:cNvPr>
            <p:cNvCxnSpPr>
              <a:cxnSpLocks/>
            </p:cNvCxnSpPr>
            <p:nvPr/>
          </p:nvCxnSpPr>
          <p:spPr>
            <a:xfrm rot="16200000" flipV="1">
              <a:off x="7164784"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707F361E-9F8F-4AAB-B929-BA23034D0733}"/>
                </a:ext>
              </a:extLst>
            </p:cNvPr>
            <p:cNvCxnSpPr>
              <a:cxnSpLocks/>
            </p:cNvCxnSpPr>
            <p:nvPr/>
          </p:nvCxnSpPr>
          <p:spPr>
            <a:xfrm rot="16200000" flipV="1">
              <a:off x="7375412"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0154C9E-24B9-4603-B722-2D38986383E4}"/>
                </a:ext>
              </a:extLst>
            </p:cNvPr>
            <p:cNvCxnSpPr>
              <a:cxnSpLocks/>
            </p:cNvCxnSpPr>
            <p:nvPr/>
          </p:nvCxnSpPr>
          <p:spPr>
            <a:xfrm rot="16200000" flipV="1">
              <a:off x="7581278"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06207AC5-B50F-4C89-9625-4220CD770101}"/>
                </a:ext>
              </a:extLst>
            </p:cNvPr>
            <p:cNvCxnSpPr>
              <a:cxnSpLocks/>
            </p:cNvCxnSpPr>
            <p:nvPr/>
          </p:nvCxnSpPr>
          <p:spPr>
            <a:xfrm rot="16200000" flipV="1">
              <a:off x="7796666"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E92AD9E7-D7D1-4070-8B67-220411DEA2F4}"/>
                </a:ext>
              </a:extLst>
            </p:cNvPr>
            <p:cNvCxnSpPr>
              <a:cxnSpLocks/>
            </p:cNvCxnSpPr>
            <p:nvPr/>
          </p:nvCxnSpPr>
          <p:spPr>
            <a:xfrm rot="16200000" flipV="1">
              <a:off x="8005765" y="490603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CF2C31F-FCD1-459B-8DE6-90C7DD46C098}"/>
                </a:ext>
              </a:extLst>
            </p:cNvPr>
            <p:cNvCxnSpPr>
              <a:cxnSpLocks/>
            </p:cNvCxnSpPr>
            <p:nvPr/>
          </p:nvCxnSpPr>
          <p:spPr>
            <a:xfrm rot="16200000" flipV="1">
              <a:off x="8213156"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3D8D1FF7-C0B0-4FDB-8347-8C9F295FFFC7}"/>
                </a:ext>
              </a:extLst>
            </p:cNvPr>
            <p:cNvCxnSpPr>
              <a:cxnSpLocks/>
            </p:cNvCxnSpPr>
            <p:nvPr/>
          </p:nvCxnSpPr>
          <p:spPr>
            <a:xfrm rot="16200000" flipV="1">
              <a:off x="8423788"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A4C9DAC9-6864-4935-9425-ED56C7CC3B87}"/>
                </a:ext>
              </a:extLst>
            </p:cNvPr>
            <p:cNvCxnSpPr>
              <a:cxnSpLocks/>
            </p:cNvCxnSpPr>
            <p:nvPr/>
          </p:nvCxnSpPr>
          <p:spPr>
            <a:xfrm rot="16200000" flipV="1">
              <a:off x="8634414"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465D7AD-7A5F-49F4-9774-B1B03FE26D53}"/>
                </a:ext>
              </a:extLst>
            </p:cNvPr>
            <p:cNvCxnSpPr>
              <a:cxnSpLocks/>
            </p:cNvCxnSpPr>
            <p:nvPr/>
          </p:nvCxnSpPr>
          <p:spPr>
            <a:xfrm rot="16200000" flipV="1">
              <a:off x="9042685"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5AFC2303-9219-4549-BB96-1750E31A622B}"/>
                </a:ext>
              </a:extLst>
            </p:cNvPr>
            <p:cNvCxnSpPr>
              <a:cxnSpLocks/>
            </p:cNvCxnSpPr>
            <p:nvPr/>
          </p:nvCxnSpPr>
          <p:spPr>
            <a:xfrm rot="16200000" flipV="1">
              <a:off x="9460480"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5B643A2-B6CD-4471-8FC5-69E951C6E7DB}"/>
                </a:ext>
              </a:extLst>
            </p:cNvPr>
            <p:cNvCxnSpPr>
              <a:cxnSpLocks/>
            </p:cNvCxnSpPr>
            <p:nvPr/>
          </p:nvCxnSpPr>
          <p:spPr>
            <a:xfrm rot="16200000" flipV="1">
              <a:off x="9887805"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05FE93B-F408-4A5A-82DA-E9AD84AD3CCE}"/>
                </a:ext>
              </a:extLst>
            </p:cNvPr>
            <p:cNvCxnSpPr>
              <a:cxnSpLocks/>
            </p:cNvCxnSpPr>
            <p:nvPr/>
          </p:nvCxnSpPr>
          <p:spPr>
            <a:xfrm rot="16200000" flipV="1">
              <a:off x="10304294"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A1E55127-549A-4699-A545-9A8E452B9C98}"/>
                </a:ext>
              </a:extLst>
            </p:cNvPr>
            <p:cNvCxnSpPr>
              <a:cxnSpLocks/>
            </p:cNvCxnSpPr>
            <p:nvPr/>
          </p:nvCxnSpPr>
          <p:spPr>
            <a:xfrm rot="16200000" flipV="1">
              <a:off x="10713640" y="4906242"/>
              <a:ext cx="6746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64D89C15-5945-4050-A8E1-823E66D18434}"/>
                </a:ext>
              </a:extLst>
            </p:cNvPr>
            <p:cNvSpPr txBox="1"/>
            <p:nvPr/>
          </p:nvSpPr>
          <p:spPr>
            <a:xfrm>
              <a:off x="7160827" y="4930893"/>
              <a:ext cx="8015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0</a:t>
              </a:r>
            </a:p>
          </p:txBody>
        </p:sp>
        <p:sp>
          <p:nvSpPr>
            <p:cNvPr id="196" name="TextBox 195">
              <a:extLst>
                <a:ext uri="{FF2B5EF4-FFF2-40B4-BE49-F238E27FC236}">
                  <a16:creationId xmlns:a16="http://schemas.microsoft.com/office/drawing/2014/main" id="{DF65A17F-F3E3-4E03-9046-1CC6D5F2789C}"/>
                </a:ext>
              </a:extLst>
            </p:cNvPr>
            <p:cNvSpPr txBox="1"/>
            <p:nvPr/>
          </p:nvSpPr>
          <p:spPr>
            <a:xfrm>
              <a:off x="7369703" y="4930893"/>
              <a:ext cx="8015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a:t>
              </a:r>
            </a:p>
          </p:txBody>
        </p:sp>
        <p:sp>
          <p:nvSpPr>
            <p:cNvPr id="197" name="TextBox 196">
              <a:extLst>
                <a:ext uri="{FF2B5EF4-FFF2-40B4-BE49-F238E27FC236}">
                  <a16:creationId xmlns:a16="http://schemas.microsoft.com/office/drawing/2014/main" id="{BF748048-E0F2-404C-B157-28835B83BD15}"/>
                </a:ext>
              </a:extLst>
            </p:cNvPr>
            <p:cNvSpPr txBox="1"/>
            <p:nvPr/>
          </p:nvSpPr>
          <p:spPr>
            <a:xfrm>
              <a:off x="7578579" y="4930893"/>
              <a:ext cx="8015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a:t>
              </a:r>
            </a:p>
          </p:txBody>
        </p:sp>
        <p:sp>
          <p:nvSpPr>
            <p:cNvPr id="198" name="TextBox 197">
              <a:extLst>
                <a:ext uri="{FF2B5EF4-FFF2-40B4-BE49-F238E27FC236}">
                  <a16:creationId xmlns:a16="http://schemas.microsoft.com/office/drawing/2014/main" id="{355A389D-AD66-4FC9-AD57-CA9A52B60578}"/>
                </a:ext>
              </a:extLst>
            </p:cNvPr>
            <p:cNvSpPr txBox="1"/>
            <p:nvPr/>
          </p:nvSpPr>
          <p:spPr>
            <a:xfrm>
              <a:off x="7758880"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2</a:t>
              </a:r>
            </a:p>
          </p:txBody>
        </p:sp>
        <p:sp>
          <p:nvSpPr>
            <p:cNvPr id="199" name="TextBox 198">
              <a:extLst>
                <a:ext uri="{FF2B5EF4-FFF2-40B4-BE49-F238E27FC236}">
                  <a16:creationId xmlns:a16="http://schemas.microsoft.com/office/drawing/2014/main" id="{456FEB69-7D58-405F-B9DB-36E90A45CB26}"/>
                </a:ext>
              </a:extLst>
            </p:cNvPr>
            <p:cNvSpPr txBox="1"/>
            <p:nvPr/>
          </p:nvSpPr>
          <p:spPr>
            <a:xfrm>
              <a:off x="7958231"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6</a:t>
              </a:r>
            </a:p>
          </p:txBody>
        </p:sp>
        <p:sp>
          <p:nvSpPr>
            <p:cNvPr id="200" name="TextBox 199">
              <a:extLst>
                <a:ext uri="{FF2B5EF4-FFF2-40B4-BE49-F238E27FC236}">
                  <a16:creationId xmlns:a16="http://schemas.microsoft.com/office/drawing/2014/main" id="{9FC3D865-31AF-4DE8-8C25-927FAF577767}"/>
                </a:ext>
              </a:extLst>
            </p:cNvPr>
            <p:cNvSpPr txBox="1"/>
            <p:nvPr/>
          </p:nvSpPr>
          <p:spPr>
            <a:xfrm>
              <a:off x="8167107"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
          <p:nvSpPr>
            <p:cNvPr id="201" name="TextBox 200">
              <a:extLst>
                <a:ext uri="{FF2B5EF4-FFF2-40B4-BE49-F238E27FC236}">
                  <a16:creationId xmlns:a16="http://schemas.microsoft.com/office/drawing/2014/main" id="{F93A2C90-D8FD-4C21-9D36-7CEA26E391A0}"/>
                </a:ext>
              </a:extLst>
            </p:cNvPr>
            <p:cNvSpPr txBox="1"/>
            <p:nvPr/>
          </p:nvSpPr>
          <p:spPr>
            <a:xfrm>
              <a:off x="8375983"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4</a:t>
              </a:r>
            </a:p>
          </p:txBody>
        </p:sp>
        <p:sp>
          <p:nvSpPr>
            <p:cNvPr id="202" name="TextBox 201">
              <a:extLst>
                <a:ext uri="{FF2B5EF4-FFF2-40B4-BE49-F238E27FC236}">
                  <a16:creationId xmlns:a16="http://schemas.microsoft.com/office/drawing/2014/main" id="{7A6BD581-A7D7-405A-851E-AF05FF130332}"/>
                </a:ext>
              </a:extLst>
            </p:cNvPr>
            <p:cNvSpPr txBox="1"/>
            <p:nvPr/>
          </p:nvSpPr>
          <p:spPr>
            <a:xfrm>
              <a:off x="8594387"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8</a:t>
              </a:r>
            </a:p>
          </p:txBody>
        </p:sp>
        <p:sp>
          <p:nvSpPr>
            <p:cNvPr id="203" name="TextBox 202">
              <a:extLst>
                <a:ext uri="{FF2B5EF4-FFF2-40B4-BE49-F238E27FC236}">
                  <a16:creationId xmlns:a16="http://schemas.microsoft.com/office/drawing/2014/main" id="{D70D8909-A3A9-41E8-A548-9584D7267122}"/>
                </a:ext>
              </a:extLst>
            </p:cNvPr>
            <p:cNvSpPr txBox="1"/>
            <p:nvPr/>
          </p:nvSpPr>
          <p:spPr>
            <a:xfrm>
              <a:off x="9004950"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6</a:t>
              </a:r>
            </a:p>
          </p:txBody>
        </p:sp>
        <p:sp>
          <p:nvSpPr>
            <p:cNvPr id="204" name="TextBox 203">
              <a:extLst>
                <a:ext uri="{FF2B5EF4-FFF2-40B4-BE49-F238E27FC236}">
                  <a16:creationId xmlns:a16="http://schemas.microsoft.com/office/drawing/2014/main" id="{4F092F96-077A-4D85-AE7C-873CCFD86850}"/>
                </a:ext>
              </a:extLst>
            </p:cNvPr>
            <p:cNvSpPr txBox="1"/>
            <p:nvPr/>
          </p:nvSpPr>
          <p:spPr>
            <a:xfrm>
              <a:off x="9413943"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4</a:t>
              </a:r>
            </a:p>
          </p:txBody>
        </p:sp>
        <p:sp>
          <p:nvSpPr>
            <p:cNvPr id="205" name="TextBox 204">
              <a:extLst>
                <a:ext uri="{FF2B5EF4-FFF2-40B4-BE49-F238E27FC236}">
                  <a16:creationId xmlns:a16="http://schemas.microsoft.com/office/drawing/2014/main" id="{0599B954-70CF-462E-9205-1C87D33BB30C}"/>
                </a:ext>
              </a:extLst>
            </p:cNvPr>
            <p:cNvSpPr txBox="1"/>
            <p:nvPr/>
          </p:nvSpPr>
          <p:spPr>
            <a:xfrm>
              <a:off x="9835425"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2</a:t>
              </a:r>
            </a:p>
          </p:txBody>
        </p:sp>
        <p:sp>
          <p:nvSpPr>
            <p:cNvPr id="206" name="TextBox 205">
              <a:extLst>
                <a:ext uri="{FF2B5EF4-FFF2-40B4-BE49-F238E27FC236}">
                  <a16:creationId xmlns:a16="http://schemas.microsoft.com/office/drawing/2014/main" id="{0D018EAE-2C47-48B7-9DD0-A5ED29FB328C}"/>
                </a:ext>
              </a:extLst>
            </p:cNvPr>
            <p:cNvSpPr txBox="1"/>
            <p:nvPr/>
          </p:nvSpPr>
          <p:spPr>
            <a:xfrm>
              <a:off x="10252143"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0</a:t>
              </a:r>
            </a:p>
          </p:txBody>
        </p:sp>
        <p:sp>
          <p:nvSpPr>
            <p:cNvPr id="207" name="TextBox 206">
              <a:extLst>
                <a:ext uri="{FF2B5EF4-FFF2-40B4-BE49-F238E27FC236}">
                  <a16:creationId xmlns:a16="http://schemas.microsoft.com/office/drawing/2014/main" id="{BA20C479-088C-40DE-A7E9-7E63334F141C}"/>
                </a:ext>
              </a:extLst>
            </p:cNvPr>
            <p:cNvSpPr txBox="1"/>
            <p:nvPr/>
          </p:nvSpPr>
          <p:spPr>
            <a:xfrm>
              <a:off x="10667224" y="4930893"/>
              <a:ext cx="16030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8</a:t>
              </a:r>
            </a:p>
          </p:txBody>
        </p:sp>
        <p:sp>
          <p:nvSpPr>
            <p:cNvPr id="208" name="Oval 207">
              <a:extLst>
                <a:ext uri="{FF2B5EF4-FFF2-40B4-BE49-F238E27FC236}">
                  <a16:creationId xmlns:a16="http://schemas.microsoft.com/office/drawing/2014/main" id="{75E44A0D-9BD6-4BF0-9D78-F7AE8D55A513}"/>
                </a:ext>
              </a:extLst>
            </p:cNvPr>
            <p:cNvSpPr/>
            <p:nvPr/>
          </p:nvSpPr>
          <p:spPr>
            <a:xfrm>
              <a:off x="10935779" y="3399038"/>
              <a:ext cx="68604" cy="68604"/>
            </a:xfrm>
            <a:prstGeom prst="ellipse">
              <a:avLst/>
            </a:prstGeom>
            <a:solidFill>
              <a:srgbClr val="939AA7"/>
            </a:solidFill>
            <a:ln w="1905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209" name="Oval 208">
              <a:extLst>
                <a:ext uri="{FF2B5EF4-FFF2-40B4-BE49-F238E27FC236}">
                  <a16:creationId xmlns:a16="http://schemas.microsoft.com/office/drawing/2014/main" id="{0D10E516-190F-4458-9636-A7E0C8587002}"/>
                </a:ext>
              </a:extLst>
            </p:cNvPr>
            <p:cNvSpPr/>
            <p:nvPr/>
          </p:nvSpPr>
          <p:spPr>
            <a:xfrm>
              <a:off x="11049081" y="4721459"/>
              <a:ext cx="68604" cy="68604"/>
            </a:xfrm>
            <a:prstGeom prst="ellipse">
              <a:avLst/>
            </a:prstGeom>
            <a:solidFill>
              <a:srgbClr val="001965"/>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210" name="Arrow: Right 209">
              <a:extLst>
                <a:ext uri="{FF2B5EF4-FFF2-40B4-BE49-F238E27FC236}">
                  <a16:creationId xmlns:a16="http://schemas.microsoft.com/office/drawing/2014/main" id="{4A53A6FA-9F11-4BF8-B7DC-DB475E6A4F50}"/>
                </a:ext>
              </a:extLst>
            </p:cNvPr>
            <p:cNvSpPr/>
            <p:nvPr/>
          </p:nvSpPr>
          <p:spPr>
            <a:xfrm>
              <a:off x="7167612" y="4454836"/>
              <a:ext cx="1025526" cy="398984"/>
            </a:xfrm>
            <a:prstGeom prst="rightArrow">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un-in period</a:t>
              </a:r>
              <a:endParaRPr kumimoji="0" lang="en-GB" sz="1051"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211" name="Straight Connector 210">
              <a:extLst>
                <a:ext uri="{FF2B5EF4-FFF2-40B4-BE49-F238E27FC236}">
                  <a16:creationId xmlns:a16="http://schemas.microsoft.com/office/drawing/2014/main" id="{F7904386-E2A2-40FE-BF39-7F86AAC47839}"/>
                </a:ext>
              </a:extLst>
            </p:cNvPr>
            <p:cNvCxnSpPr>
              <a:cxnSpLocks/>
            </p:cNvCxnSpPr>
            <p:nvPr/>
          </p:nvCxnSpPr>
          <p:spPr>
            <a:xfrm>
              <a:off x="8230025" y="4462868"/>
              <a:ext cx="0" cy="38292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08EFF7B1-C77F-410D-BE6E-B4FAAA2A247D}"/>
                </a:ext>
              </a:extLst>
            </p:cNvPr>
            <p:cNvSpPr txBox="1"/>
            <p:nvPr/>
          </p:nvSpPr>
          <p:spPr>
            <a:xfrm>
              <a:off x="6753449" y="4790063"/>
              <a:ext cx="20518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8</a:t>
              </a:r>
            </a:p>
          </p:txBody>
        </p:sp>
        <p:sp>
          <p:nvSpPr>
            <p:cNvPr id="213" name="TextBox 212">
              <a:extLst>
                <a:ext uri="{FF2B5EF4-FFF2-40B4-BE49-F238E27FC236}">
                  <a16:creationId xmlns:a16="http://schemas.microsoft.com/office/drawing/2014/main" id="{6AE264F6-D4B1-4171-ACFA-1E0F7942B450}"/>
                </a:ext>
              </a:extLst>
            </p:cNvPr>
            <p:cNvSpPr txBox="1"/>
            <p:nvPr/>
          </p:nvSpPr>
          <p:spPr>
            <a:xfrm>
              <a:off x="6833599" y="2957123"/>
              <a:ext cx="12503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a:t>
              </a:r>
            </a:p>
          </p:txBody>
        </p:sp>
        <p:sp>
          <p:nvSpPr>
            <p:cNvPr id="214" name="TextBox 213">
              <a:extLst>
                <a:ext uri="{FF2B5EF4-FFF2-40B4-BE49-F238E27FC236}">
                  <a16:creationId xmlns:a16="http://schemas.microsoft.com/office/drawing/2014/main" id="{B824BDD1-C6EF-45A5-8042-3D092D698270}"/>
                </a:ext>
              </a:extLst>
            </p:cNvPr>
            <p:cNvSpPr txBox="1"/>
            <p:nvPr/>
          </p:nvSpPr>
          <p:spPr>
            <a:xfrm>
              <a:off x="6833599" y="2695275"/>
              <a:ext cx="12503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a:t>
              </a:r>
            </a:p>
          </p:txBody>
        </p:sp>
        <p:sp>
          <p:nvSpPr>
            <p:cNvPr id="215" name="TextBox 214">
              <a:extLst>
                <a:ext uri="{FF2B5EF4-FFF2-40B4-BE49-F238E27FC236}">
                  <a16:creationId xmlns:a16="http://schemas.microsoft.com/office/drawing/2014/main" id="{7D10B4F5-CB1D-4B3B-87C5-FB7179DD4717}"/>
                </a:ext>
              </a:extLst>
            </p:cNvPr>
            <p:cNvSpPr txBox="1"/>
            <p:nvPr/>
          </p:nvSpPr>
          <p:spPr>
            <a:xfrm>
              <a:off x="6878483" y="2433427"/>
              <a:ext cx="80150"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0</a:t>
              </a:r>
            </a:p>
          </p:txBody>
        </p:sp>
        <p:sp>
          <p:nvSpPr>
            <p:cNvPr id="216" name="TextBox 215">
              <a:extLst>
                <a:ext uri="{FF2B5EF4-FFF2-40B4-BE49-F238E27FC236}">
                  <a16:creationId xmlns:a16="http://schemas.microsoft.com/office/drawing/2014/main" id="{D82C8BE9-6E78-4CD5-A965-32AF745E69CE}"/>
                </a:ext>
              </a:extLst>
            </p:cNvPr>
            <p:cNvSpPr txBox="1"/>
            <p:nvPr/>
          </p:nvSpPr>
          <p:spPr>
            <a:xfrm>
              <a:off x="6833599" y="3218971"/>
              <a:ext cx="12503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a:t>
              </a:r>
            </a:p>
          </p:txBody>
        </p:sp>
        <p:sp>
          <p:nvSpPr>
            <p:cNvPr id="217" name="TextBox 216">
              <a:extLst>
                <a:ext uri="{FF2B5EF4-FFF2-40B4-BE49-F238E27FC236}">
                  <a16:creationId xmlns:a16="http://schemas.microsoft.com/office/drawing/2014/main" id="{682D5923-1569-4D9E-870E-C0B0A1C08182}"/>
                </a:ext>
              </a:extLst>
            </p:cNvPr>
            <p:cNvSpPr txBox="1"/>
            <p:nvPr/>
          </p:nvSpPr>
          <p:spPr>
            <a:xfrm>
              <a:off x="6833599" y="3480819"/>
              <a:ext cx="12503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a:t>
              </a:r>
            </a:p>
          </p:txBody>
        </p:sp>
        <p:sp>
          <p:nvSpPr>
            <p:cNvPr id="218" name="TextBox 217">
              <a:extLst>
                <a:ext uri="{FF2B5EF4-FFF2-40B4-BE49-F238E27FC236}">
                  <a16:creationId xmlns:a16="http://schemas.microsoft.com/office/drawing/2014/main" id="{426331BF-D6FF-4CDB-8500-2FEE3372E58A}"/>
                </a:ext>
              </a:extLst>
            </p:cNvPr>
            <p:cNvSpPr txBox="1"/>
            <p:nvPr/>
          </p:nvSpPr>
          <p:spPr>
            <a:xfrm>
              <a:off x="6753449" y="3742667"/>
              <a:ext cx="20518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a:t>
              </a:r>
            </a:p>
          </p:txBody>
        </p:sp>
        <p:sp>
          <p:nvSpPr>
            <p:cNvPr id="219" name="TextBox 218">
              <a:extLst>
                <a:ext uri="{FF2B5EF4-FFF2-40B4-BE49-F238E27FC236}">
                  <a16:creationId xmlns:a16="http://schemas.microsoft.com/office/drawing/2014/main" id="{A584D6EF-7CA8-44B9-AD8A-F30886F81249}"/>
                </a:ext>
              </a:extLst>
            </p:cNvPr>
            <p:cNvSpPr txBox="1"/>
            <p:nvPr/>
          </p:nvSpPr>
          <p:spPr>
            <a:xfrm>
              <a:off x="6753449" y="4004515"/>
              <a:ext cx="20518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2</a:t>
              </a:r>
            </a:p>
          </p:txBody>
        </p:sp>
        <p:sp>
          <p:nvSpPr>
            <p:cNvPr id="220" name="TextBox 219">
              <a:extLst>
                <a:ext uri="{FF2B5EF4-FFF2-40B4-BE49-F238E27FC236}">
                  <a16:creationId xmlns:a16="http://schemas.microsoft.com/office/drawing/2014/main" id="{44DD3528-3667-4A47-852F-B4726F8A3841}"/>
                </a:ext>
              </a:extLst>
            </p:cNvPr>
            <p:cNvSpPr txBox="1"/>
            <p:nvPr/>
          </p:nvSpPr>
          <p:spPr>
            <a:xfrm>
              <a:off x="6753449" y="4266363"/>
              <a:ext cx="20518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4</a:t>
              </a:r>
            </a:p>
          </p:txBody>
        </p:sp>
        <p:sp>
          <p:nvSpPr>
            <p:cNvPr id="221" name="TextBox 220">
              <a:extLst>
                <a:ext uri="{FF2B5EF4-FFF2-40B4-BE49-F238E27FC236}">
                  <a16:creationId xmlns:a16="http://schemas.microsoft.com/office/drawing/2014/main" id="{A66DCC1D-572F-4E2E-976E-C3051B6E6902}"/>
                </a:ext>
              </a:extLst>
            </p:cNvPr>
            <p:cNvSpPr txBox="1"/>
            <p:nvPr/>
          </p:nvSpPr>
          <p:spPr>
            <a:xfrm>
              <a:off x="6753449" y="4528211"/>
              <a:ext cx="205184" cy="18877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6</a:t>
              </a:r>
            </a:p>
          </p:txBody>
        </p:sp>
      </p:grpSp>
    </p:spTree>
    <p:extLst>
      <p:ext uri="{BB962C8B-B14F-4D97-AF65-F5344CB8AC3E}">
        <p14:creationId xmlns:p14="http://schemas.microsoft.com/office/powerpoint/2010/main" val="1364722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 name="Rounded Rectangle 70">
            <a:extLst>
              <a:ext uri="{FF2B5EF4-FFF2-40B4-BE49-F238E27FC236}">
                <a16:creationId xmlns:a16="http://schemas.microsoft.com/office/drawing/2014/main" id="{330916A2-E990-47E2-AD37-0E6BB473E006}"/>
              </a:ext>
            </a:extLst>
          </p:cNvPr>
          <p:cNvSpPr/>
          <p:nvPr/>
        </p:nvSpPr>
        <p:spPr>
          <a:xfrm>
            <a:off x="165297" y="4438831"/>
            <a:ext cx="11616000" cy="914400"/>
          </a:xfrm>
          <a:prstGeom prst="rect">
            <a:avLst/>
          </a:prstGeom>
          <a:solidFill>
            <a:srgbClr val="739600">
              <a:alpha val="1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endParaRPr>
          </a:p>
        </p:txBody>
      </p:sp>
      <p:sp>
        <p:nvSpPr>
          <p:cNvPr id="240" name="Rounded Rectangle 70">
            <a:extLst>
              <a:ext uri="{FF2B5EF4-FFF2-40B4-BE49-F238E27FC236}">
                <a16:creationId xmlns:a16="http://schemas.microsoft.com/office/drawing/2014/main" id="{8DBC38D4-39D1-4BF9-A60C-F794AF5ABE38}"/>
              </a:ext>
            </a:extLst>
          </p:cNvPr>
          <p:cNvSpPr/>
          <p:nvPr/>
        </p:nvSpPr>
        <p:spPr>
          <a:xfrm>
            <a:off x="165297" y="3489556"/>
            <a:ext cx="11616000" cy="914400"/>
          </a:xfrm>
          <a:prstGeom prst="rect">
            <a:avLst/>
          </a:prstGeom>
          <a:solidFill>
            <a:srgbClr val="EAAB00">
              <a:alpha val="1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endParaRPr>
          </a:p>
        </p:txBody>
      </p:sp>
      <p:sp>
        <p:nvSpPr>
          <p:cNvPr id="7" name="TextBox 6"/>
          <p:cNvSpPr txBox="1"/>
          <p:nvPr/>
        </p:nvSpPr>
        <p:spPr>
          <a:xfrm>
            <a:off x="3076552" y="2121143"/>
            <a:ext cx="2164375"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Coronary heart disease</a:t>
            </a:r>
          </a:p>
        </p:txBody>
      </p:sp>
      <p:grpSp>
        <p:nvGrpSpPr>
          <p:cNvPr id="8" name="Group 7"/>
          <p:cNvGrpSpPr/>
          <p:nvPr/>
        </p:nvGrpSpPr>
        <p:grpSpPr>
          <a:xfrm>
            <a:off x="2540446" y="2500313"/>
            <a:ext cx="2901505" cy="3040488"/>
            <a:chOff x="4681664" y="-1002924"/>
            <a:chExt cx="2176129" cy="2280366"/>
          </a:xfrm>
        </p:grpSpPr>
        <p:cxnSp>
          <p:nvCxnSpPr>
            <p:cNvPr id="9" name="Straight Connector 8"/>
            <p:cNvCxnSpPr/>
            <p:nvPr/>
          </p:nvCxnSpPr>
          <p:spPr>
            <a:xfrm>
              <a:off x="4681664" y="1216816"/>
              <a:ext cx="2176129"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949883" y="-1002924"/>
              <a:ext cx="0" cy="2226366"/>
            </a:xfrm>
            <a:prstGeom prst="line">
              <a:avLst/>
            </a:prstGeom>
            <a:ln w="19050">
              <a:solidFill>
                <a:srgbClr val="001965"/>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745094"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951468"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157842"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6421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570590"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776964"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983338"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189712"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39608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602462"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80883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5653476" y="2495799"/>
            <a:ext cx="2898987" cy="3040488"/>
            <a:chOff x="4872681" y="-1002924"/>
            <a:chExt cx="2174240" cy="2280366"/>
          </a:xfrm>
        </p:grpSpPr>
        <p:cxnSp>
          <p:nvCxnSpPr>
            <p:cNvPr id="23" name="Straight Connector 22"/>
            <p:cNvCxnSpPr/>
            <p:nvPr/>
          </p:nvCxnSpPr>
          <p:spPr>
            <a:xfrm>
              <a:off x="4872681" y="1216816"/>
              <a:ext cx="217424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949883" y="-1002924"/>
              <a:ext cx="0" cy="2226366"/>
            </a:xfrm>
            <a:prstGeom prst="line">
              <a:avLst/>
            </a:prstGeom>
            <a:ln w="19050">
              <a:solidFill>
                <a:srgbClr val="001965"/>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951468"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43883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27784"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415139"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90091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8784168" y="2497457"/>
            <a:ext cx="2874433" cy="3040488"/>
            <a:chOff x="4897655" y="-1002924"/>
            <a:chExt cx="2155825" cy="2280366"/>
          </a:xfrm>
        </p:grpSpPr>
        <p:cxnSp>
          <p:nvCxnSpPr>
            <p:cNvPr id="31" name="Straight Connector 30"/>
            <p:cNvCxnSpPr/>
            <p:nvPr/>
          </p:nvCxnSpPr>
          <p:spPr>
            <a:xfrm>
              <a:off x="4897655" y="1216816"/>
              <a:ext cx="2155825"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949883" y="-1002924"/>
              <a:ext cx="0" cy="2226366"/>
            </a:xfrm>
            <a:prstGeom prst="line">
              <a:avLst/>
            </a:prstGeom>
            <a:ln w="19050">
              <a:solidFill>
                <a:srgbClr val="001965"/>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951468"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268977"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584880"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90395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221467"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537370"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856466" y="1223442"/>
              <a:ext cx="0" cy="54000"/>
            </a:xfrm>
            <a:prstGeom prst="line">
              <a:avLst/>
            </a:prstGeom>
            <a:ln w="19050">
              <a:solidFill>
                <a:srgbClr val="001965"/>
              </a:solidFill>
              <a:prstDash val="solid"/>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nvSpPr>
        <p:spPr>
          <a:xfrm>
            <a:off x="6230043" y="2121143"/>
            <a:ext cx="226376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Cerebrovascular disease</a:t>
            </a:r>
          </a:p>
        </p:txBody>
      </p:sp>
      <p:sp>
        <p:nvSpPr>
          <p:cNvPr id="41" name="TextBox 40"/>
          <p:cNvSpPr txBox="1"/>
          <p:nvPr/>
        </p:nvSpPr>
        <p:spPr>
          <a:xfrm>
            <a:off x="9782251" y="2121143"/>
            <a:ext cx="1279517"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Heart failure</a:t>
            </a:r>
          </a:p>
        </p:txBody>
      </p:sp>
      <p:grpSp>
        <p:nvGrpSpPr>
          <p:cNvPr id="42" name="Group 41"/>
          <p:cNvGrpSpPr/>
          <p:nvPr/>
        </p:nvGrpSpPr>
        <p:grpSpPr>
          <a:xfrm>
            <a:off x="2481803" y="5484289"/>
            <a:ext cx="3044614" cy="506231"/>
            <a:chOff x="1861352" y="4178800"/>
            <a:chExt cx="2283460" cy="379673"/>
          </a:xfrm>
        </p:grpSpPr>
        <p:sp>
          <p:nvSpPr>
            <p:cNvPr id="43" name="TextBox 42"/>
            <p:cNvSpPr txBox="1"/>
            <p:nvPr/>
          </p:nvSpPr>
          <p:spPr>
            <a:xfrm>
              <a:off x="1861352"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0.8</a:t>
              </a:r>
            </a:p>
          </p:txBody>
        </p:sp>
        <p:sp>
          <p:nvSpPr>
            <p:cNvPr id="44" name="TextBox 43"/>
            <p:cNvSpPr txBox="1"/>
            <p:nvPr/>
          </p:nvSpPr>
          <p:spPr>
            <a:xfrm>
              <a:off x="2065358"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0</a:t>
              </a:r>
            </a:p>
          </p:txBody>
        </p:sp>
        <p:sp>
          <p:nvSpPr>
            <p:cNvPr id="45" name="TextBox 44"/>
            <p:cNvSpPr txBox="1"/>
            <p:nvPr/>
          </p:nvSpPr>
          <p:spPr>
            <a:xfrm>
              <a:off x="2275007"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2</a:t>
              </a:r>
            </a:p>
          </p:txBody>
        </p:sp>
        <p:sp>
          <p:nvSpPr>
            <p:cNvPr id="46" name="TextBox 45"/>
            <p:cNvSpPr txBox="1"/>
            <p:nvPr/>
          </p:nvSpPr>
          <p:spPr>
            <a:xfrm>
              <a:off x="2479011"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4</a:t>
              </a:r>
            </a:p>
          </p:txBody>
        </p:sp>
        <p:sp>
          <p:nvSpPr>
            <p:cNvPr id="47" name="TextBox 46"/>
            <p:cNvSpPr txBox="1"/>
            <p:nvPr/>
          </p:nvSpPr>
          <p:spPr>
            <a:xfrm>
              <a:off x="2686483"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6</a:t>
              </a:r>
            </a:p>
          </p:txBody>
        </p:sp>
        <p:sp>
          <p:nvSpPr>
            <p:cNvPr id="48" name="TextBox 47"/>
            <p:cNvSpPr txBox="1"/>
            <p:nvPr/>
          </p:nvSpPr>
          <p:spPr>
            <a:xfrm>
              <a:off x="2890486"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8</a:t>
              </a:r>
            </a:p>
          </p:txBody>
        </p:sp>
        <p:sp>
          <p:nvSpPr>
            <p:cNvPr id="49" name="TextBox 48"/>
            <p:cNvSpPr txBox="1"/>
            <p:nvPr/>
          </p:nvSpPr>
          <p:spPr>
            <a:xfrm>
              <a:off x="3097959"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0</a:t>
              </a:r>
            </a:p>
          </p:txBody>
        </p:sp>
        <p:sp>
          <p:nvSpPr>
            <p:cNvPr id="50" name="TextBox 49"/>
            <p:cNvSpPr txBox="1"/>
            <p:nvPr/>
          </p:nvSpPr>
          <p:spPr>
            <a:xfrm>
              <a:off x="3301963"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2</a:t>
              </a:r>
            </a:p>
          </p:txBody>
        </p:sp>
        <p:sp>
          <p:nvSpPr>
            <p:cNvPr id="51" name="TextBox 50"/>
            <p:cNvSpPr txBox="1"/>
            <p:nvPr/>
          </p:nvSpPr>
          <p:spPr>
            <a:xfrm>
              <a:off x="3509435"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4</a:t>
              </a:r>
            </a:p>
          </p:txBody>
        </p:sp>
        <p:sp>
          <p:nvSpPr>
            <p:cNvPr id="52" name="TextBox 51"/>
            <p:cNvSpPr txBox="1"/>
            <p:nvPr/>
          </p:nvSpPr>
          <p:spPr>
            <a:xfrm>
              <a:off x="3713439"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6</a:t>
              </a:r>
            </a:p>
          </p:txBody>
        </p:sp>
        <p:sp>
          <p:nvSpPr>
            <p:cNvPr id="53" name="TextBox 52"/>
            <p:cNvSpPr txBox="1"/>
            <p:nvPr/>
          </p:nvSpPr>
          <p:spPr>
            <a:xfrm>
              <a:off x="3926636"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8</a:t>
              </a:r>
            </a:p>
          </p:txBody>
        </p:sp>
        <p:sp>
          <p:nvSpPr>
            <p:cNvPr id="54" name="TextBox 53"/>
            <p:cNvSpPr txBox="1"/>
            <p:nvPr/>
          </p:nvSpPr>
          <p:spPr>
            <a:xfrm>
              <a:off x="2393282" y="4347271"/>
              <a:ext cx="1210034" cy="21120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djusted HR (95% CI)</a:t>
              </a:r>
            </a:p>
          </p:txBody>
        </p:sp>
      </p:grpSp>
      <p:grpSp>
        <p:nvGrpSpPr>
          <p:cNvPr id="55" name="Group 54"/>
          <p:cNvGrpSpPr/>
          <p:nvPr/>
        </p:nvGrpSpPr>
        <p:grpSpPr>
          <a:xfrm>
            <a:off x="5615995" y="5484288"/>
            <a:ext cx="2889005" cy="494363"/>
            <a:chOff x="4211996" y="4178800"/>
            <a:chExt cx="2166754" cy="370772"/>
          </a:xfrm>
        </p:grpSpPr>
        <p:sp>
          <p:nvSpPr>
            <p:cNvPr id="56" name="TextBox 55"/>
            <p:cNvSpPr txBox="1"/>
            <p:nvPr/>
          </p:nvSpPr>
          <p:spPr>
            <a:xfrm>
              <a:off x="4211996"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0</a:t>
              </a:r>
            </a:p>
          </p:txBody>
        </p:sp>
        <p:sp>
          <p:nvSpPr>
            <p:cNvPr id="57" name="TextBox 56"/>
            <p:cNvSpPr txBox="1"/>
            <p:nvPr/>
          </p:nvSpPr>
          <p:spPr>
            <a:xfrm>
              <a:off x="4700317"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2</a:t>
              </a:r>
            </a:p>
          </p:txBody>
        </p:sp>
        <p:sp>
          <p:nvSpPr>
            <p:cNvPr id="58" name="TextBox 57"/>
            <p:cNvSpPr txBox="1"/>
            <p:nvPr/>
          </p:nvSpPr>
          <p:spPr>
            <a:xfrm>
              <a:off x="5189524"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4</a:t>
              </a:r>
            </a:p>
          </p:txBody>
        </p:sp>
        <p:sp>
          <p:nvSpPr>
            <p:cNvPr id="59" name="TextBox 58"/>
            <p:cNvSpPr txBox="1"/>
            <p:nvPr/>
          </p:nvSpPr>
          <p:spPr>
            <a:xfrm>
              <a:off x="5677202"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6</a:t>
              </a:r>
            </a:p>
          </p:txBody>
        </p:sp>
        <p:sp>
          <p:nvSpPr>
            <p:cNvPr id="60" name="TextBox 59"/>
            <p:cNvSpPr txBox="1"/>
            <p:nvPr/>
          </p:nvSpPr>
          <p:spPr>
            <a:xfrm>
              <a:off x="6160574"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8</a:t>
              </a:r>
            </a:p>
          </p:txBody>
        </p:sp>
        <p:sp>
          <p:nvSpPr>
            <p:cNvPr id="61" name="TextBox 60"/>
            <p:cNvSpPr txBox="1"/>
            <p:nvPr/>
          </p:nvSpPr>
          <p:spPr>
            <a:xfrm>
              <a:off x="4807213" y="4338370"/>
              <a:ext cx="1210034" cy="21120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djusted HR (95% CI)</a:t>
              </a:r>
            </a:p>
          </p:txBody>
        </p:sp>
      </p:grpSp>
      <p:grpSp>
        <p:nvGrpSpPr>
          <p:cNvPr id="62" name="Group 61"/>
          <p:cNvGrpSpPr/>
          <p:nvPr/>
        </p:nvGrpSpPr>
        <p:grpSpPr>
          <a:xfrm>
            <a:off x="8709206" y="5484289"/>
            <a:ext cx="2836283" cy="492655"/>
            <a:chOff x="6531904" y="4178800"/>
            <a:chExt cx="2127212" cy="369491"/>
          </a:xfrm>
        </p:grpSpPr>
        <p:sp>
          <p:nvSpPr>
            <p:cNvPr id="63" name="TextBox 62"/>
            <p:cNvSpPr txBox="1"/>
            <p:nvPr/>
          </p:nvSpPr>
          <p:spPr>
            <a:xfrm>
              <a:off x="6531904"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0</a:t>
              </a:r>
            </a:p>
          </p:txBody>
        </p:sp>
        <p:sp>
          <p:nvSpPr>
            <p:cNvPr id="64" name="TextBox 63"/>
            <p:cNvSpPr txBox="1"/>
            <p:nvPr/>
          </p:nvSpPr>
          <p:spPr>
            <a:xfrm>
              <a:off x="6850943"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1.5</a:t>
              </a:r>
            </a:p>
          </p:txBody>
        </p:sp>
        <p:sp>
          <p:nvSpPr>
            <p:cNvPr id="65" name="TextBox 64"/>
            <p:cNvSpPr txBox="1"/>
            <p:nvPr/>
          </p:nvSpPr>
          <p:spPr>
            <a:xfrm>
              <a:off x="7168449"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0</a:t>
              </a:r>
            </a:p>
          </p:txBody>
        </p:sp>
        <p:sp>
          <p:nvSpPr>
            <p:cNvPr id="66" name="TextBox 65"/>
            <p:cNvSpPr txBox="1"/>
            <p:nvPr/>
          </p:nvSpPr>
          <p:spPr>
            <a:xfrm>
              <a:off x="7485394"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2.5</a:t>
              </a:r>
            </a:p>
          </p:txBody>
        </p:sp>
        <p:sp>
          <p:nvSpPr>
            <p:cNvPr id="67" name="TextBox 66"/>
            <p:cNvSpPr txBox="1"/>
            <p:nvPr/>
          </p:nvSpPr>
          <p:spPr>
            <a:xfrm>
              <a:off x="7804397"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3.0</a:t>
              </a:r>
            </a:p>
          </p:txBody>
        </p:sp>
        <p:sp>
          <p:nvSpPr>
            <p:cNvPr id="68" name="TextBox 67"/>
            <p:cNvSpPr txBox="1"/>
            <p:nvPr/>
          </p:nvSpPr>
          <p:spPr>
            <a:xfrm>
              <a:off x="8123435"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3.5</a:t>
              </a:r>
            </a:p>
          </p:txBody>
        </p:sp>
        <p:sp>
          <p:nvSpPr>
            <p:cNvPr id="69" name="TextBox 68"/>
            <p:cNvSpPr txBox="1"/>
            <p:nvPr/>
          </p:nvSpPr>
          <p:spPr>
            <a:xfrm>
              <a:off x="8440940" y="4178800"/>
              <a:ext cx="218176"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4.0</a:t>
              </a:r>
            </a:p>
          </p:txBody>
        </p:sp>
        <p:sp>
          <p:nvSpPr>
            <p:cNvPr id="70" name="TextBox 69"/>
            <p:cNvSpPr txBox="1"/>
            <p:nvPr/>
          </p:nvSpPr>
          <p:spPr>
            <a:xfrm>
              <a:off x="7027682" y="4337089"/>
              <a:ext cx="1210034" cy="21120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djusted HR (95% CI)</a:t>
              </a:r>
            </a:p>
          </p:txBody>
        </p:sp>
      </p:grpSp>
      <p:sp>
        <p:nvSpPr>
          <p:cNvPr id="71" name="Rounded Rectangle 70"/>
          <p:cNvSpPr/>
          <p:nvPr/>
        </p:nvSpPr>
        <p:spPr>
          <a:xfrm>
            <a:off x="165297" y="2513511"/>
            <a:ext cx="11616000" cy="914400"/>
          </a:xfrm>
          <a:prstGeom prst="rect">
            <a:avLst/>
          </a:prstGeom>
          <a:solidFill>
            <a:srgbClr val="D47600">
              <a:alpha val="1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endParaRPr>
          </a:p>
        </p:txBody>
      </p:sp>
      <p:sp>
        <p:nvSpPr>
          <p:cNvPr id="76" name="TextBox 75"/>
          <p:cNvSpPr txBox="1"/>
          <p:nvPr/>
        </p:nvSpPr>
        <p:spPr>
          <a:xfrm>
            <a:off x="231381" y="4765489"/>
            <a:ext cx="1124463" cy="261150"/>
          </a:xfrm>
          <a:prstGeom prst="rect">
            <a:avLst/>
          </a:prstGeom>
          <a:noFill/>
        </p:spPr>
        <p:txBody>
          <a:bodyPr wrap="none" lIns="48000" tIns="48000" rIns="48000" bIns="4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rPr>
              <a:t>Normal weight</a:t>
            </a:r>
          </a:p>
        </p:txBody>
      </p:sp>
      <p:sp>
        <p:nvSpPr>
          <p:cNvPr id="77" name="TextBox 76"/>
          <p:cNvSpPr txBox="1"/>
          <p:nvPr/>
        </p:nvSpPr>
        <p:spPr>
          <a:xfrm>
            <a:off x="282181" y="3816214"/>
            <a:ext cx="901645" cy="261150"/>
          </a:xfrm>
          <a:prstGeom prst="rect">
            <a:avLst/>
          </a:prstGeom>
          <a:noFill/>
        </p:spPr>
        <p:txBody>
          <a:bodyPr wrap="none" lIns="48000" tIns="48000" rIns="48000" bIns="4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rPr>
              <a:t>Overweight</a:t>
            </a:r>
          </a:p>
        </p:txBody>
      </p:sp>
      <p:sp>
        <p:nvSpPr>
          <p:cNvPr id="78" name="TextBox 77"/>
          <p:cNvSpPr txBox="1"/>
          <p:nvPr/>
        </p:nvSpPr>
        <p:spPr>
          <a:xfrm>
            <a:off x="345680" y="2837286"/>
            <a:ext cx="619516" cy="261150"/>
          </a:xfrm>
          <a:prstGeom prst="rect">
            <a:avLst/>
          </a:prstGeom>
          <a:noFill/>
        </p:spPr>
        <p:txBody>
          <a:bodyPr wrap="none" lIns="48000" tIns="48000" rIns="48000" bIns="4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rPr>
              <a:t>Obesity</a:t>
            </a:r>
          </a:p>
        </p:txBody>
      </p:sp>
      <p:sp>
        <p:nvSpPr>
          <p:cNvPr id="79" name="TextBox 78"/>
          <p:cNvSpPr txBox="1"/>
          <p:nvPr/>
        </p:nvSpPr>
        <p:spPr>
          <a:xfrm>
            <a:off x="355356" y="2031636"/>
            <a:ext cx="710888" cy="507178"/>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Weight</a:t>
            </a:r>
            <a:b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b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class</a:t>
            </a:r>
          </a:p>
        </p:txBody>
      </p:sp>
      <p:sp>
        <p:nvSpPr>
          <p:cNvPr id="80" name="TextBox 79"/>
          <p:cNvSpPr txBox="1"/>
          <p:nvPr/>
        </p:nvSpPr>
        <p:spPr>
          <a:xfrm>
            <a:off x="1279102" y="2031636"/>
            <a:ext cx="1292779" cy="507178"/>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Metabolic</a:t>
            </a:r>
            <a:b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br>
            <a:r>
              <a:rPr kumimoji="0" lang="en-GB" sz="1333"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bnormalities</a:t>
            </a:r>
          </a:p>
        </p:txBody>
      </p:sp>
      <p:grpSp>
        <p:nvGrpSpPr>
          <p:cNvPr id="233" name="Group 232">
            <a:extLst>
              <a:ext uri="{FF2B5EF4-FFF2-40B4-BE49-F238E27FC236}">
                <a16:creationId xmlns:a16="http://schemas.microsoft.com/office/drawing/2014/main" id="{4F5A702A-4661-4E96-9FB2-E0160D754E2A}"/>
              </a:ext>
            </a:extLst>
          </p:cNvPr>
          <p:cNvGrpSpPr/>
          <p:nvPr/>
        </p:nvGrpSpPr>
        <p:grpSpPr>
          <a:xfrm>
            <a:off x="1837748" y="4886010"/>
            <a:ext cx="7439596" cy="261150"/>
            <a:chOff x="1378310" y="3976688"/>
            <a:chExt cx="5579697" cy="195862"/>
          </a:xfrm>
        </p:grpSpPr>
        <p:sp>
          <p:nvSpPr>
            <p:cNvPr id="84" name="TextBox 83"/>
            <p:cNvSpPr txBox="1"/>
            <p:nvPr/>
          </p:nvSpPr>
          <p:spPr>
            <a:xfrm>
              <a:off x="1378310" y="3976688"/>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rPr>
                <a:t>1</a:t>
              </a:r>
            </a:p>
          </p:txBody>
        </p:sp>
        <p:grpSp>
          <p:nvGrpSpPr>
            <p:cNvPr id="100" name="Group 99"/>
            <p:cNvGrpSpPr/>
            <p:nvPr/>
          </p:nvGrpSpPr>
          <p:grpSpPr>
            <a:xfrm>
              <a:off x="2794527" y="4050117"/>
              <a:ext cx="126667" cy="72000"/>
              <a:chOff x="1470554" y="576767"/>
              <a:chExt cx="126667" cy="72000"/>
            </a:xfrm>
          </p:grpSpPr>
          <p:cxnSp>
            <p:nvCxnSpPr>
              <p:cNvPr id="128" name="Straight Connector 127"/>
              <p:cNvCxnSpPr/>
              <p:nvPr/>
            </p:nvCxnSpPr>
            <p:spPr>
              <a:xfrm>
                <a:off x="1470554" y="612767"/>
                <a:ext cx="126667"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1493140"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0" name="Group 139"/>
            <p:cNvGrpSpPr/>
            <p:nvPr/>
          </p:nvGrpSpPr>
          <p:grpSpPr>
            <a:xfrm>
              <a:off x="5119586" y="4024386"/>
              <a:ext cx="221976" cy="72000"/>
              <a:chOff x="1468966" y="576767"/>
              <a:chExt cx="221976" cy="72000"/>
            </a:xfrm>
          </p:grpSpPr>
          <p:cxnSp>
            <p:nvCxnSpPr>
              <p:cNvPr id="171" name="Straight Connector 170"/>
              <p:cNvCxnSpPr/>
              <p:nvPr/>
            </p:nvCxnSpPr>
            <p:spPr>
              <a:xfrm>
                <a:off x="1468966" y="612767"/>
                <a:ext cx="221976"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172" name="Oval 171"/>
              <p:cNvSpPr/>
              <p:nvPr/>
            </p:nvSpPr>
            <p:spPr>
              <a:xfrm>
                <a:off x="1528123"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1" name="Group 180"/>
            <p:cNvGrpSpPr/>
            <p:nvPr/>
          </p:nvGrpSpPr>
          <p:grpSpPr>
            <a:xfrm>
              <a:off x="6872882" y="4075012"/>
              <a:ext cx="85125" cy="72000"/>
              <a:chOff x="1468966" y="576767"/>
              <a:chExt cx="85125" cy="72000"/>
            </a:xfrm>
          </p:grpSpPr>
          <p:cxnSp>
            <p:nvCxnSpPr>
              <p:cNvPr id="210" name="Straight Connector 209"/>
              <p:cNvCxnSpPr/>
              <p:nvPr/>
            </p:nvCxnSpPr>
            <p:spPr>
              <a:xfrm>
                <a:off x="1468966" y="612767"/>
                <a:ext cx="84585"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211" name="Oval 210"/>
              <p:cNvSpPr/>
              <p:nvPr/>
            </p:nvSpPr>
            <p:spPr>
              <a:xfrm>
                <a:off x="1482091"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32" name="Group 231">
            <a:extLst>
              <a:ext uri="{FF2B5EF4-FFF2-40B4-BE49-F238E27FC236}">
                <a16:creationId xmlns:a16="http://schemas.microsoft.com/office/drawing/2014/main" id="{F1C2DDDE-62D6-4620-9445-FB675CF42FC8}"/>
              </a:ext>
            </a:extLst>
          </p:cNvPr>
          <p:cNvGrpSpPr/>
          <p:nvPr/>
        </p:nvGrpSpPr>
        <p:grpSpPr>
          <a:xfrm>
            <a:off x="1837747" y="4644650"/>
            <a:ext cx="7485410" cy="261150"/>
            <a:chOff x="1378310" y="3780874"/>
            <a:chExt cx="5614058" cy="195862"/>
          </a:xfrm>
        </p:grpSpPr>
        <p:sp>
          <p:nvSpPr>
            <p:cNvPr id="85" name="TextBox 84"/>
            <p:cNvSpPr txBox="1"/>
            <p:nvPr/>
          </p:nvSpPr>
          <p:spPr>
            <a:xfrm>
              <a:off x="1378310" y="3780874"/>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rPr>
                <a:t>2</a:t>
              </a:r>
            </a:p>
          </p:txBody>
        </p:sp>
        <p:grpSp>
          <p:nvGrpSpPr>
            <p:cNvPr id="99" name="Group 98"/>
            <p:cNvGrpSpPr/>
            <p:nvPr/>
          </p:nvGrpSpPr>
          <p:grpSpPr>
            <a:xfrm>
              <a:off x="2829455" y="3853606"/>
              <a:ext cx="201676" cy="72000"/>
              <a:chOff x="1468966" y="576767"/>
              <a:chExt cx="201676" cy="72000"/>
            </a:xfrm>
          </p:grpSpPr>
          <p:cxnSp>
            <p:nvCxnSpPr>
              <p:cNvPr id="130" name="Straight Connector 129"/>
              <p:cNvCxnSpPr/>
              <p:nvPr/>
            </p:nvCxnSpPr>
            <p:spPr>
              <a:xfrm>
                <a:off x="1468966" y="612767"/>
                <a:ext cx="201676"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1534309"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1" name="Group 140"/>
            <p:cNvGrpSpPr/>
            <p:nvPr/>
          </p:nvGrpSpPr>
          <p:grpSpPr>
            <a:xfrm>
              <a:off x="4878293" y="3830902"/>
              <a:ext cx="344606" cy="72000"/>
              <a:chOff x="1468966" y="576767"/>
              <a:chExt cx="344606" cy="72000"/>
            </a:xfrm>
          </p:grpSpPr>
          <p:cxnSp>
            <p:nvCxnSpPr>
              <p:cNvPr id="169" name="Straight Connector 168"/>
              <p:cNvCxnSpPr/>
              <p:nvPr/>
            </p:nvCxnSpPr>
            <p:spPr>
              <a:xfrm>
                <a:off x="1468966" y="612767"/>
                <a:ext cx="344606"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170" name="Oval 169"/>
              <p:cNvSpPr/>
              <p:nvPr/>
            </p:nvSpPr>
            <p:spPr>
              <a:xfrm>
                <a:off x="1603795"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2" name="Group 181"/>
            <p:cNvGrpSpPr/>
            <p:nvPr/>
          </p:nvGrpSpPr>
          <p:grpSpPr>
            <a:xfrm>
              <a:off x="6847530" y="3871062"/>
              <a:ext cx="144838" cy="72000"/>
              <a:chOff x="1476575" y="576767"/>
              <a:chExt cx="144838" cy="72000"/>
            </a:xfrm>
          </p:grpSpPr>
          <p:cxnSp>
            <p:nvCxnSpPr>
              <p:cNvPr id="208" name="Straight Connector 207"/>
              <p:cNvCxnSpPr/>
              <p:nvPr/>
            </p:nvCxnSpPr>
            <p:spPr>
              <a:xfrm>
                <a:off x="1476575" y="612767"/>
                <a:ext cx="144838"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209" name="Oval 208"/>
              <p:cNvSpPr/>
              <p:nvPr/>
            </p:nvSpPr>
            <p:spPr>
              <a:xfrm>
                <a:off x="1511075"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31" name="Group 230">
            <a:extLst>
              <a:ext uri="{FF2B5EF4-FFF2-40B4-BE49-F238E27FC236}">
                <a16:creationId xmlns:a16="http://schemas.microsoft.com/office/drawing/2014/main" id="{5371F45A-FB16-4B93-BEB2-8753E3E6E67B}"/>
              </a:ext>
            </a:extLst>
          </p:cNvPr>
          <p:cNvGrpSpPr/>
          <p:nvPr/>
        </p:nvGrpSpPr>
        <p:grpSpPr>
          <a:xfrm>
            <a:off x="1837747" y="4403289"/>
            <a:ext cx="7901893" cy="261150"/>
            <a:chOff x="1378310" y="3594505"/>
            <a:chExt cx="5926420" cy="195862"/>
          </a:xfrm>
        </p:grpSpPr>
        <p:sp>
          <p:nvSpPr>
            <p:cNvPr id="86" name="TextBox 85"/>
            <p:cNvSpPr txBox="1"/>
            <p:nvPr/>
          </p:nvSpPr>
          <p:spPr>
            <a:xfrm>
              <a:off x="1378310" y="3594505"/>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rPr>
                <a:t>3</a:t>
              </a:r>
            </a:p>
          </p:txBody>
        </p:sp>
        <p:grpSp>
          <p:nvGrpSpPr>
            <p:cNvPr id="101" name="Group 100"/>
            <p:cNvGrpSpPr/>
            <p:nvPr/>
          </p:nvGrpSpPr>
          <p:grpSpPr>
            <a:xfrm>
              <a:off x="3205692" y="3664606"/>
              <a:ext cx="485064" cy="72000"/>
              <a:chOff x="1468966" y="576767"/>
              <a:chExt cx="485064" cy="72000"/>
            </a:xfrm>
          </p:grpSpPr>
          <p:cxnSp>
            <p:nvCxnSpPr>
              <p:cNvPr id="126" name="Straight Connector 125"/>
              <p:cNvCxnSpPr/>
              <p:nvPr/>
            </p:nvCxnSpPr>
            <p:spPr>
              <a:xfrm>
                <a:off x="1468966" y="612767"/>
                <a:ext cx="485064"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127" name="Oval 126"/>
              <p:cNvSpPr/>
              <p:nvPr/>
            </p:nvSpPr>
            <p:spPr>
              <a:xfrm>
                <a:off x="1670419"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2" name="Group 141"/>
            <p:cNvGrpSpPr/>
            <p:nvPr/>
          </p:nvGrpSpPr>
          <p:grpSpPr>
            <a:xfrm>
              <a:off x="5487888" y="3646505"/>
              <a:ext cx="802975" cy="72000"/>
              <a:chOff x="1468966" y="576767"/>
              <a:chExt cx="802975" cy="72000"/>
            </a:xfrm>
          </p:grpSpPr>
          <p:cxnSp>
            <p:nvCxnSpPr>
              <p:cNvPr id="167" name="Straight Connector 166"/>
              <p:cNvCxnSpPr/>
              <p:nvPr/>
            </p:nvCxnSpPr>
            <p:spPr>
              <a:xfrm>
                <a:off x="1468966" y="612767"/>
                <a:ext cx="802975"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168" name="Oval 167"/>
              <p:cNvSpPr/>
              <p:nvPr/>
            </p:nvSpPr>
            <p:spPr>
              <a:xfrm>
                <a:off x="1796853"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3" name="Group 182"/>
            <p:cNvGrpSpPr/>
            <p:nvPr/>
          </p:nvGrpSpPr>
          <p:grpSpPr>
            <a:xfrm>
              <a:off x="6971187" y="3683329"/>
              <a:ext cx="333543" cy="72000"/>
              <a:chOff x="1468966" y="576767"/>
              <a:chExt cx="333543" cy="72000"/>
            </a:xfrm>
          </p:grpSpPr>
          <p:cxnSp>
            <p:nvCxnSpPr>
              <p:cNvPr id="206" name="Straight Connector 205"/>
              <p:cNvCxnSpPr/>
              <p:nvPr/>
            </p:nvCxnSpPr>
            <p:spPr>
              <a:xfrm>
                <a:off x="1468966" y="612767"/>
                <a:ext cx="333543" cy="0"/>
              </a:xfrm>
              <a:prstGeom prst="line">
                <a:avLst/>
              </a:prstGeom>
              <a:ln w="19050">
                <a:solidFill>
                  <a:srgbClr val="739600"/>
                </a:solidFill>
              </a:ln>
            </p:spPr>
            <p:style>
              <a:lnRef idx="1">
                <a:schemeClr val="accent1"/>
              </a:lnRef>
              <a:fillRef idx="0">
                <a:schemeClr val="accent1"/>
              </a:fillRef>
              <a:effectRef idx="0">
                <a:schemeClr val="accent1"/>
              </a:effectRef>
              <a:fontRef idx="minor">
                <a:schemeClr val="tx1"/>
              </a:fontRef>
            </p:style>
          </p:cxnSp>
          <p:sp>
            <p:nvSpPr>
              <p:cNvPr id="207" name="Oval 206"/>
              <p:cNvSpPr/>
              <p:nvPr/>
            </p:nvSpPr>
            <p:spPr>
              <a:xfrm>
                <a:off x="1588536" y="576767"/>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29" name="Group 228">
            <a:extLst>
              <a:ext uri="{FF2B5EF4-FFF2-40B4-BE49-F238E27FC236}">
                <a16:creationId xmlns:a16="http://schemas.microsoft.com/office/drawing/2014/main" id="{E8D4DDD5-957A-4429-BDB3-A9D616ED0FFB}"/>
              </a:ext>
            </a:extLst>
          </p:cNvPr>
          <p:cNvGrpSpPr/>
          <p:nvPr/>
        </p:nvGrpSpPr>
        <p:grpSpPr>
          <a:xfrm>
            <a:off x="1837747" y="3920568"/>
            <a:ext cx="7616501" cy="261150"/>
            <a:chOff x="1378310" y="3232246"/>
            <a:chExt cx="5712376" cy="195862"/>
          </a:xfrm>
        </p:grpSpPr>
        <p:sp>
          <p:nvSpPr>
            <p:cNvPr id="88" name="TextBox 87"/>
            <p:cNvSpPr txBox="1"/>
            <p:nvPr/>
          </p:nvSpPr>
          <p:spPr>
            <a:xfrm>
              <a:off x="1378310" y="3232246"/>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rPr>
                <a:t>1</a:t>
              </a:r>
            </a:p>
          </p:txBody>
        </p:sp>
        <p:grpSp>
          <p:nvGrpSpPr>
            <p:cNvPr id="103" name="Group 102"/>
            <p:cNvGrpSpPr/>
            <p:nvPr/>
          </p:nvGrpSpPr>
          <p:grpSpPr>
            <a:xfrm>
              <a:off x="2924609" y="3303360"/>
              <a:ext cx="125030" cy="72000"/>
              <a:chOff x="1468966" y="576767"/>
              <a:chExt cx="125030" cy="72000"/>
            </a:xfrm>
            <a:solidFill>
              <a:srgbClr val="EAAB00"/>
            </a:solidFill>
          </p:grpSpPr>
          <p:cxnSp>
            <p:nvCxnSpPr>
              <p:cNvPr id="122" name="Straight Connector 121"/>
              <p:cNvCxnSpPr/>
              <p:nvPr/>
            </p:nvCxnSpPr>
            <p:spPr>
              <a:xfrm>
                <a:off x="1468966" y="612767"/>
                <a:ext cx="125030"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23" name="Oval 122"/>
              <p:cNvSpPr/>
              <p:nvPr/>
            </p:nvSpPr>
            <p:spPr>
              <a:xfrm>
                <a:off x="1495640"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4" name="Group 143"/>
            <p:cNvGrpSpPr/>
            <p:nvPr/>
          </p:nvGrpSpPr>
          <p:grpSpPr>
            <a:xfrm>
              <a:off x="4950245" y="3285564"/>
              <a:ext cx="174000" cy="72000"/>
              <a:chOff x="1468966" y="576767"/>
              <a:chExt cx="174000" cy="72000"/>
            </a:xfrm>
            <a:solidFill>
              <a:srgbClr val="EAAB00"/>
            </a:solidFill>
          </p:grpSpPr>
          <p:cxnSp>
            <p:nvCxnSpPr>
              <p:cNvPr id="163" name="Straight Connector 162"/>
              <p:cNvCxnSpPr/>
              <p:nvPr/>
            </p:nvCxnSpPr>
            <p:spPr>
              <a:xfrm>
                <a:off x="1468966" y="612767"/>
                <a:ext cx="174000"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64" name="Oval 163"/>
              <p:cNvSpPr/>
              <p:nvPr/>
            </p:nvSpPr>
            <p:spPr>
              <a:xfrm>
                <a:off x="1533329"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5" name="Group 184"/>
            <p:cNvGrpSpPr/>
            <p:nvPr/>
          </p:nvGrpSpPr>
          <p:grpSpPr>
            <a:xfrm>
              <a:off x="6984181" y="3330037"/>
              <a:ext cx="106505" cy="72000"/>
              <a:chOff x="1707067" y="576767"/>
              <a:chExt cx="106505" cy="72000"/>
            </a:xfrm>
            <a:solidFill>
              <a:srgbClr val="EAAB00"/>
            </a:solidFill>
          </p:grpSpPr>
          <p:cxnSp>
            <p:nvCxnSpPr>
              <p:cNvPr id="204" name="Straight Connector 203"/>
              <p:cNvCxnSpPr/>
              <p:nvPr/>
            </p:nvCxnSpPr>
            <p:spPr>
              <a:xfrm>
                <a:off x="1707067" y="612767"/>
                <a:ext cx="106505"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205" name="Oval 204"/>
              <p:cNvSpPr/>
              <p:nvPr/>
            </p:nvSpPr>
            <p:spPr>
              <a:xfrm>
                <a:off x="1729977"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27" name="Group 226">
            <a:extLst>
              <a:ext uri="{FF2B5EF4-FFF2-40B4-BE49-F238E27FC236}">
                <a16:creationId xmlns:a16="http://schemas.microsoft.com/office/drawing/2014/main" id="{C796D107-9032-495A-813E-57DBC785C8CC}"/>
              </a:ext>
            </a:extLst>
          </p:cNvPr>
          <p:cNvGrpSpPr/>
          <p:nvPr/>
        </p:nvGrpSpPr>
        <p:grpSpPr>
          <a:xfrm>
            <a:off x="1837748" y="3437848"/>
            <a:ext cx="8111646" cy="261150"/>
            <a:chOff x="1378310" y="2855475"/>
            <a:chExt cx="6083735" cy="195862"/>
          </a:xfrm>
        </p:grpSpPr>
        <p:sp>
          <p:nvSpPr>
            <p:cNvPr id="90" name="TextBox 89"/>
            <p:cNvSpPr txBox="1"/>
            <p:nvPr/>
          </p:nvSpPr>
          <p:spPr>
            <a:xfrm>
              <a:off x="1378310" y="2855475"/>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rPr>
                <a:t>3</a:t>
              </a:r>
            </a:p>
          </p:txBody>
        </p:sp>
        <p:grpSp>
          <p:nvGrpSpPr>
            <p:cNvPr id="104" name="Group 103"/>
            <p:cNvGrpSpPr/>
            <p:nvPr/>
          </p:nvGrpSpPr>
          <p:grpSpPr>
            <a:xfrm>
              <a:off x="3264310" y="2923852"/>
              <a:ext cx="313994" cy="72000"/>
              <a:chOff x="1957947" y="576767"/>
              <a:chExt cx="313994" cy="72000"/>
            </a:xfrm>
            <a:solidFill>
              <a:srgbClr val="EAAB00"/>
            </a:solidFill>
          </p:grpSpPr>
          <p:cxnSp>
            <p:nvCxnSpPr>
              <p:cNvPr id="120" name="Straight Connector 119"/>
              <p:cNvCxnSpPr/>
              <p:nvPr/>
            </p:nvCxnSpPr>
            <p:spPr>
              <a:xfrm>
                <a:off x="1957947" y="612767"/>
                <a:ext cx="313994"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21" name="Oval 120"/>
              <p:cNvSpPr/>
              <p:nvPr/>
            </p:nvSpPr>
            <p:spPr>
              <a:xfrm>
                <a:off x="2080351"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5" name="Group 144"/>
            <p:cNvGrpSpPr/>
            <p:nvPr/>
          </p:nvGrpSpPr>
          <p:grpSpPr>
            <a:xfrm>
              <a:off x="5312697" y="2912661"/>
              <a:ext cx="592767" cy="72000"/>
              <a:chOff x="1679174" y="576767"/>
              <a:chExt cx="592767" cy="72000"/>
            </a:xfrm>
            <a:solidFill>
              <a:srgbClr val="EAAB00"/>
            </a:solidFill>
          </p:grpSpPr>
          <p:cxnSp>
            <p:nvCxnSpPr>
              <p:cNvPr id="161" name="Straight Connector 160"/>
              <p:cNvCxnSpPr/>
              <p:nvPr/>
            </p:nvCxnSpPr>
            <p:spPr>
              <a:xfrm>
                <a:off x="1679174" y="612767"/>
                <a:ext cx="592767"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62" name="Oval 161"/>
              <p:cNvSpPr/>
              <p:nvPr/>
            </p:nvSpPr>
            <p:spPr>
              <a:xfrm>
                <a:off x="1919758"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6" name="Group 185"/>
            <p:cNvGrpSpPr/>
            <p:nvPr/>
          </p:nvGrpSpPr>
          <p:grpSpPr>
            <a:xfrm>
              <a:off x="7192297" y="2935829"/>
              <a:ext cx="269748" cy="72000"/>
              <a:chOff x="2002193" y="576767"/>
              <a:chExt cx="269748" cy="72000"/>
            </a:xfrm>
            <a:solidFill>
              <a:srgbClr val="EAAB00"/>
            </a:solidFill>
          </p:grpSpPr>
          <p:cxnSp>
            <p:nvCxnSpPr>
              <p:cNvPr id="202" name="Straight Connector 201"/>
              <p:cNvCxnSpPr/>
              <p:nvPr/>
            </p:nvCxnSpPr>
            <p:spPr>
              <a:xfrm>
                <a:off x="2002193" y="612767"/>
                <a:ext cx="269748"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203" name="Oval 202"/>
              <p:cNvSpPr/>
              <p:nvPr/>
            </p:nvSpPr>
            <p:spPr>
              <a:xfrm>
                <a:off x="2091820"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28" name="Group 227">
            <a:extLst>
              <a:ext uri="{FF2B5EF4-FFF2-40B4-BE49-F238E27FC236}">
                <a16:creationId xmlns:a16="http://schemas.microsoft.com/office/drawing/2014/main" id="{9729E008-C87A-4AEA-AFCD-89471BB7F222}"/>
              </a:ext>
            </a:extLst>
          </p:cNvPr>
          <p:cNvGrpSpPr/>
          <p:nvPr/>
        </p:nvGrpSpPr>
        <p:grpSpPr>
          <a:xfrm>
            <a:off x="1837748" y="3679208"/>
            <a:ext cx="7730116" cy="261150"/>
            <a:chOff x="1378310" y="3029346"/>
            <a:chExt cx="5797587" cy="195862"/>
          </a:xfrm>
        </p:grpSpPr>
        <p:sp>
          <p:nvSpPr>
            <p:cNvPr id="89" name="TextBox 88"/>
            <p:cNvSpPr txBox="1"/>
            <p:nvPr/>
          </p:nvSpPr>
          <p:spPr>
            <a:xfrm>
              <a:off x="1378310" y="3029346"/>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rPr>
                <a:t>2</a:t>
              </a:r>
            </a:p>
          </p:txBody>
        </p:sp>
        <p:grpSp>
          <p:nvGrpSpPr>
            <p:cNvPr id="105" name="Group 104"/>
            <p:cNvGrpSpPr/>
            <p:nvPr/>
          </p:nvGrpSpPr>
          <p:grpSpPr>
            <a:xfrm>
              <a:off x="3027847" y="3099459"/>
              <a:ext cx="184024" cy="72000"/>
              <a:chOff x="1468966" y="576767"/>
              <a:chExt cx="184024" cy="72000"/>
            </a:xfrm>
            <a:solidFill>
              <a:srgbClr val="EAAB00"/>
            </a:solidFill>
          </p:grpSpPr>
          <p:cxnSp>
            <p:nvCxnSpPr>
              <p:cNvPr id="118" name="Straight Connector 117"/>
              <p:cNvCxnSpPr/>
              <p:nvPr/>
            </p:nvCxnSpPr>
            <p:spPr>
              <a:xfrm>
                <a:off x="1468966" y="612767"/>
                <a:ext cx="184024"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19" name="Oval 118"/>
              <p:cNvSpPr/>
              <p:nvPr/>
            </p:nvSpPr>
            <p:spPr>
              <a:xfrm>
                <a:off x="1526776"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6" name="Group 145"/>
            <p:cNvGrpSpPr/>
            <p:nvPr/>
          </p:nvGrpSpPr>
          <p:grpSpPr>
            <a:xfrm>
              <a:off x="4950247" y="3084939"/>
              <a:ext cx="275598" cy="72000"/>
              <a:chOff x="1468966" y="576767"/>
              <a:chExt cx="275598" cy="72000"/>
            </a:xfrm>
            <a:solidFill>
              <a:srgbClr val="EAAB00"/>
            </a:solidFill>
          </p:grpSpPr>
          <p:cxnSp>
            <p:nvCxnSpPr>
              <p:cNvPr id="159" name="Straight Connector 158"/>
              <p:cNvCxnSpPr/>
              <p:nvPr/>
            </p:nvCxnSpPr>
            <p:spPr>
              <a:xfrm>
                <a:off x="1468966" y="612767"/>
                <a:ext cx="275598"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1580853"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7" name="Group 186"/>
            <p:cNvGrpSpPr/>
            <p:nvPr/>
          </p:nvGrpSpPr>
          <p:grpSpPr>
            <a:xfrm>
              <a:off x="7030065" y="3113025"/>
              <a:ext cx="145832" cy="72000"/>
              <a:chOff x="1667740" y="576767"/>
              <a:chExt cx="145832" cy="72000"/>
            </a:xfrm>
            <a:solidFill>
              <a:srgbClr val="EAAB00"/>
            </a:solidFill>
          </p:grpSpPr>
          <p:cxnSp>
            <p:nvCxnSpPr>
              <p:cNvPr id="200" name="Straight Connector 199"/>
              <p:cNvCxnSpPr/>
              <p:nvPr/>
            </p:nvCxnSpPr>
            <p:spPr>
              <a:xfrm>
                <a:off x="1667740" y="612767"/>
                <a:ext cx="145832"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201" name="Oval 200"/>
              <p:cNvSpPr/>
              <p:nvPr/>
            </p:nvSpPr>
            <p:spPr>
              <a:xfrm>
                <a:off x="1707035"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4" name="Group 3">
            <a:extLst>
              <a:ext uri="{FF2B5EF4-FFF2-40B4-BE49-F238E27FC236}">
                <a16:creationId xmlns:a16="http://schemas.microsoft.com/office/drawing/2014/main" id="{55A146F7-3F85-4B51-A45F-BE79BDCC95C2}"/>
              </a:ext>
            </a:extLst>
          </p:cNvPr>
          <p:cNvGrpSpPr/>
          <p:nvPr/>
        </p:nvGrpSpPr>
        <p:grpSpPr>
          <a:xfrm>
            <a:off x="1837748" y="2955127"/>
            <a:ext cx="8558228" cy="261150"/>
            <a:chOff x="1378310" y="2406132"/>
            <a:chExt cx="6418671" cy="195862"/>
          </a:xfrm>
          <a:solidFill>
            <a:srgbClr val="D47600"/>
          </a:solidFill>
        </p:grpSpPr>
        <p:sp>
          <p:nvSpPr>
            <p:cNvPr id="92" name="TextBox 91"/>
            <p:cNvSpPr txBox="1"/>
            <p:nvPr/>
          </p:nvSpPr>
          <p:spPr>
            <a:xfrm>
              <a:off x="1378310" y="2406132"/>
              <a:ext cx="131614" cy="195862"/>
            </a:xfrm>
            <a:prstGeom prst="rect">
              <a:avLst/>
            </a:prstGeom>
            <a:noFill/>
            <a:ln>
              <a:noFill/>
            </a:ln>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rPr>
                <a:t>1</a:t>
              </a:r>
            </a:p>
          </p:txBody>
        </p:sp>
        <p:grpSp>
          <p:nvGrpSpPr>
            <p:cNvPr id="107" name="Group 106"/>
            <p:cNvGrpSpPr/>
            <p:nvPr/>
          </p:nvGrpSpPr>
          <p:grpSpPr>
            <a:xfrm>
              <a:off x="3069303" y="2479846"/>
              <a:ext cx="149111" cy="72000"/>
              <a:chOff x="1664461" y="576767"/>
              <a:chExt cx="149111" cy="72000"/>
            </a:xfrm>
            <a:grpFill/>
          </p:grpSpPr>
          <p:cxnSp>
            <p:nvCxnSpPr>
              <p:cNvPr id="114" name="Straight Connector 113"/>
              <p:cNvCxnSpPr/>
              <p:nvPr/>
            </p:nvCxnSpPr>
            <p:spPr>
              <a:xfrm>
                <a:off x="1664461" y="612767"/>
                <a:ext cx="149111"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15" name="Oval 114"/>
              <p:cNvSpPr/>
              <p:nvPr/>
            </p:nvSpPr>
            <p:spPr>
              <a:xfrm>
                <a:off x="1700480"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8" name="Group 147"/>
            <p:cNvGrpSpPr/>
            <p:nvPr/>
          </p:nvGrpSpPr>
          <p:grpSpPr>
            <a:xfrm>
              <a:off x="4951920" y="2468375"/>
              <a:ext cx="247706" cy="72000"/>
              <a:chOff x="1468966" y="576767"/>
              <a:chExt cx="247706" cy="72000"/>
            </a:xfrm>
            <a:grpFill/>
          </p:grpSpPr>
          <p:cxnSp>
            <p:nvCxnSpPr>
              <p:cNvPr id="155" name="Straight Connector 154"/>
              <p:cNvCxnSpPr/>
              <p:nvPr/>
            </p:nvCxnSpPr>
            <p:spPr>
              <a:xfrm>
                <a:off x="1468966" y="612767"/>
                <a:ext cx="247706"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56" name="Oval 155"/>
              <p:cNvSpPr/>
              <p:nvPr/>
            </p:nvSpPr>
            <p:spPr>
              <a:xfrm>
                <a:off x="1559550"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9" name="Group 188"/>
            <p:cNvGrpSpPr/>
            <p:nvPr/>
          </p:nvGrpSpPr>
          <p:grpSpPr>
            <a:xfrm>
              <a:off x="7622100" y="2483122"/>
              <a:ext cx="174881" cy="72000"/>
              <a:chOff x="1468966" y="576767"/>
              <a:chExt cx="174881" cy="72000"/>
            </a:xfrm>
            <a:grpFill/>
          </p:grpSpPr>
          <p:cxnSp>
            <p:nvCxnSpPr>
              <p:cNvPr id="196" name="Straight Connector 195"/>
              <p:cNvCxnSpPr/>
              <p:nvPr/>
            </p:nvCxnSpPr>
            <p:spPr>
              <a:xfrm>
                <a:off x="1468966" y="612767"/>
                <a:ext cx="174881"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97" name="Oval 196"/>
              <p:cNvSpPr/>
              <p:nvPr/>
            </p:nvSpPr>
            <p:spPr>
              <a:xfrm>
                <a:off x="1518581"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22" name="Group 221">
            <a:extLst>
              <a:ext uri="{FF2B5EF4-FFF2-40B4-BE49-F238E27FC236}">
                <a16:creationId xmlns:a16="http://schemas.microsoft.com/office/drawing/2014/main" id="{154AACE1-8942-4727-BB6F-AFE4C3AE0B29}"/>
              </a:ext>
            </a:extLst>
          </p:cNvPr>
          <p:cNvGrpSpPr/>
          <p:nvPr/>
        </p:nvGrpSpPr>
        <p:grpSpPr>
          <a:xfrm>
            <a:off x="1837747" y="2472406"/>
            <a:ext cx="9692629" cy="261150"/>
            <a:chOff x="1378310" y="1996088"/>
            <a:chExt cx="7269472" cy="195862"/>
          </a:xfrm>
          <a:solidFill>
            <a:srgbClr val="D47600"/>
          </a:solidFill>
        </p:grpSpPr>
        <p:sp>
          <p:nvSpPr>
            <p:cNvPr id="94" name="TextBox 93"/>
            <p:cNvSpPr txBox="1"/>
            <p:nvPr/>
          </p:nvSpPr>
          <p:spPr>
            <a:xfrm>
              <a:off x="1378310" y="1996088"/>
              <a:ext cx="131614" cy="195862"/>
            </a:xfrm>
            <a:prstGeom prst="rect">
              <a:avLst/>
            </a:prstGeom>
            <a:noFill/>
            <a:ln>
              <a:noFill/>
            </a:ln>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rPr>
                <a:t>3</a:t>
              </a:r>
            </a:p>
          </p:txBody>
        </p:sp>
        <p:grpSp>
          <p:nvGrpSpPr>
            <p:cNvPr id="108" name="Group 107"/>
            <p:cNvGrpSpPr/>
            <p:nvPr/>
          </p:nvGrpSpPr>
          <p:grpSpPr>
            <a:xfrm>
              <a:off x="3659239" y="2067118"/>
              <a:ext cx="322186" cy="72000"/>
              <a:chOff x="1949755" y="576767"/>
              <a:chExt cx="322186" cy="72000"/>
            </a:xfrm>
            <a:grpFill/>
          </p:grpSpPr>
          <p:cxnSp>
            <p:nvCxnSpPr>
              <p:cNvPr id="112" name="Straight Connector 111"/>
              <p:cNvCxnSpPr/>
              <p:nvPr/>
            </p:nvCxnSpPr>
            <p:spPr>
              <a:xfrm>
                <a:off x="1949755" y="612767"/>
                <a:ext cx="322186"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13" name="Oval 112"/>
              <p:cNvSpPr/>
              <p:nvPr/>
            </p:nvSpPr>
            <p:spPr>
              <a:xfrm>
                <a:off x="2067242"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9" name="Group 148"/>
            <p:cNvGrpSpPr/>
            <p:nvPr/>
          </p:nvGrpSpPr>
          <p:grpSpPr>
            <a:xfrm>
              <a:off x="5488039" y="2062202"/>
              <a:ext cx="517421" cy="72000"/>
              <a:chOff x="1754520" y="576767"/>
              <a:chExt cx="517421" cy="72000"/>
            </a:xfrm>
            <a:grpFill/>
          </p:grpSpPr>
          <p:cxnSp>
            <p:nvCxnSpPr>
              <p:cNvPr id="153" name="Straight Connector 152"/>
              <p:cNvCxnSpPr/>
              <p:nvPr/>
            </p:nvCxnSpPr>
            <p:spPr>
              <a:xfrm>
                <a:off x="1754520" y="612767"/>
                <a:ext cx="517421"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54" name="Oval 153"/>
              <p:cNvSpPr/>
              <p:nvPr/>
            </p:nvSpPr>
            <p:spPr>
              <a:xfrm>
                <a:off x="1964003"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90" name="Group 189"/>
            <p:cNvGrpSpPr/>
            <p:nvPr/>
          </p:nvGrpSpPr>
          <p:grpSpPr>
            <a:xfrm>
              <a:off x="8255819" y="2062202"/>
              <a:ext cx="391963" cy="72000"/>
              <a:chOff x="1879978" y="576767"/>
              <a:chExt cx="391963" cy="72000"/>
            </a:xfrm>
            <a:grpFill/>
          </p:grpSpPr>
          <p:cxnSp>
            <p:nvCxnSpPr>
              <p:cNvPr id="194" name="Straight Connector 193"/>
              <p:cNvCxnSpPr/>
              <p:nvPr/>
            </p:nvCxnSpPr>
            <p:spPr>
              <a:xfrm>
                <a:off x="1879978" y="612767"/>
                <a:ext cx="391963"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95" name="Oval 194"/>
              <p:cNvSpPr/>
              <p:nvPr/>
            </p:nvSpPr>
            <p:spPr>
              <a:xfrm>
                <a:off x="2032828"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5" name="Group 4">
            <a:extLst>
              <a:ext uri="{FF2B5EF4-FFF2-40B4-BE49-F238E27FC236}">
                <a16:creationId xmlns:a16="http://schemas.microsoft.com/office/drawing/2014/main" id="{FE4A5726-DBF8-461D-9DD3-D4625A807884}"/>
              </a:ext>
            </a:extLst>
          </p:cNvPr>
          <p:cNvGrpSpPr/>
          <p:nvPr/>
        </p:nvGrpSpPr>
        <p:grpSpPr>
          <a:xfrm>
            <a:off x="1837747" y="2713766"/>
            <a:ext cx="8970248" cy="261150"/>
            <a:chOff x="1378310" y="2217747"/>
            <a:chExt cx="6727686" cy="195862"/>
          </a:xfrm>
          <a:solidFill>
            <a:srgbClr val="D47600"/>
          </a:solidFill>
        </p:grpSpPr>
        <p:sp>
          <p:nvSpPr>
            <p:cNvPr id="93" name="TextBox 92"/>
            <p:cNvSpPr txBox="1"/>
            <p:nvPr/>
          </p:nvSpPr>
          <p:spPr>
            <a:xfrm>
              <a:off x="1378310" y="2217747"/>
              <a:ext cx="131614" cy="195862"/>
            </a:xfrm>
            <a:prstGeom prst="rect">
              <a:avLst/>
            </a:prstGeom>
            <a:noFill/>
            <a:ln>
              <a:noFill/>
            </a:ln>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rPr>
                <a:t>2</a:t>
              </a:r>
            </a:p>
          </p:txBody>
        </p:sp>
        <p:grpSp>
          <p:nvGrpSpPr>
            <p:cNvPr id="109" name="Group 108"/>
            <p:cNvGrpSpPr/>
            <p:nvPr/>
          </p:nvGrpSpPr>
          <p:grpSpPr>
            <a:xfrm>
              <a:off x="3234813" y="2286497"/>
              <a:ext cx="209742" cy="72000"/>
              <a:chOff x="1603830" y="576767"/>
              <a:chExt cx="209742" cy="72000"/>
            </a:xfrm>
            <a:grpFill/>
          </p:grpSpPr>
          <p:cxnSp>
            <p:nvCxnSpPr>
              <p:cNvPr id="110" name="Straight Connector 109"/>
              <p:cNvCxnSpPr/>
              <p:nvPr/>
            </p:nvCxnSpPr>
            <p:spPr>
              <a:xfrm>
                <a:off x="1603830" y="612767"/>
                <a:ext cx="209742"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11" name="Oval 110"/>
              <p:cNvSpPr/>
              <p:nvPr/>
            </p:nvSpPr>
            <p:spPr>
              <a:xfrm>
                <a:off x="1674262"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50" name="Group 149"/>
            <p:cNvGrpSpPr/>
            <p:nvPr/>
          </p:nvGrpSpPr>
          <p:grpSpPr>
            <a:xfrm>
              <a:off x="5243610" y="2281580"/>
              <a:ext cx="293590" cy="72000"/>
              <a:chOff x="1468966" y="576767"/>
              <a:chExt cx="293590" cy="72000"/>
            </a:xfrm>
            <a:grpFill/>
          </p:grpSpPr>
          <p:cxnSp>
            <p:nvCxnSpPr>
              <p:cNvPr id="151" name="Straight Connector 150"/>
              <p:cNvCxnSpPr/>
              <p:nvPr/>
            </p:nvCxnSpPr>
            <p:spPr>
              <a:xfrm>
                <a:off x="1468966" y="612767"/>
                <a:ext cx="293590"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52" name="Oval 151"/>
              <p:cNvSpPr/>
              <p:nvPr/>
            </p:nvSpPr>
            <p:spPr>
              <a:xfrm>
                <a:off x="1585768"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91" name="Group 190"/>
            <p:cNvGrpSpPr/>
            <p:nvPr/>
          </p:nvGrpSpPr>
          <p:grpSpPr>
            <a:xfrm>
              <a:off x="7846142" y="2290457"/>
              <a:ext cx="259854" cy="72000"/>
              <a:chOff x="1553718" y="576767"/>
              <a:chExt cx="259854" cy="72000"/>
            </a:xfrm>
            <a:grpFill/>
          </p:grpSpPr>
          <p:cxnSp>
            <p:nvCxnSpPr>
              <p:cNvPr id="192" name="Straight Connector 191"/>
              <p:cNvCxnSpPr/>
              <p:nvPr/>
            </p:nvCxnSpPr>
            <p:spPr>
              <a:xfrm>
                <a:off x="1553718" y="612767"/>
                <a:ext cx="259854"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93" name="Oval 192"/>
              <p:cNvSpPr/>
              <p:nvPr/>
            </p:nvSpPr>
            <p:spPr>
              <a:xfrm>
                <a:off x="1639848"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grpSp>
        <p:nvGrpSpPr>
          <p:cNvPr id="234" name="Group 233">
            <a:extLst>
              <a:ext uri="{FF2B5EF4-FFF2-40B4-BE49-F238E27FC236}">
                <a16:creationId xmlns:a16="http://schemas.microsoft.com/office/drawing/2014/main" id="{6A2F937A-8F75-4D18-AA00-99DDED9BBA57}"/>
              </a:ext>
            </a:extLst>
          </p:cNvPr>
          <p:cNvGrpSpPr/>
          <p:nvPr/>
        </p:nvGrpSpPr>
        <p:grpSpPr>
          <a:xfrm>
            <a:off x="1779512" y="5127369"/>
            <a:ext cx="7117153" cy="261150"/>
            <a:chOff x="1334633" y="5335319"/>
            <a:chExt cx="5337865" cy="195862"/>
          </a:xfrm>
        </p:grpSpPr>
        <p:sp>
          <p:nvSpPr>
            <p:cNvPr id="83" name="TextBox 82"/>
            <p:cNvSpPr txBox="1"/>
            <p:nvPr/>
          </p:nvSpPr>
          <p:spPr>
            <a:xfrm>
              <a:off x="1378310" y="5335319"/>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rPr>
                <a:t>0</a:t>
              </a:r>
            </a:p>
          </p:txBody>
        </p:sp>
        <p:sp>
          <p:nvSpPr>
            <p:cNvPr id="98" name="Oval 97"/>
            <p:cNvSpPr/>
            <p:nvPr/>
          </p:nvSpPr>
          <p:spPr>
            <a:xfrm>
              <a:off x="2134629" y="5418060"/>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sp>
          <p:nvSpPr>
            <p:cNvPr id="139" name="Oval 138"/>
            <p:cNvSpPr/>
            <p:nvPr/>
          </p:nvSpPr>
          <p:spPr>
            <a:xfrm>
              <a:off x="4281969" y="5379043"/>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sp>
          <p:nvSpPr>
            <p:cNvPr id="180" name="Oval 179"/>
            <p:cNvSpPr/>
            <p:nvPr/>
          </p:nvSpPr>
          <p:spPr>
            <a:xfrm>
              <a:off x="6600498" y="5434975"/>
              <a:ext cx="72000" cy="72000"/>
            </a:xfrm>
            <a:prstGeom prst="ellipse">
              <a:avLst/>
            </a:prstGeom>
            <a:solidFill>
              <a:srgbClr val="739600"/>
            </a:solidFill>
            <a:ln w="19050">
              <a:solidFill>
                <a:srgbClr val="739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sp>
          <p:nvSpPr>
            <p:cNvPr id="218" name="Rounded Rectangle 217"/>
            <p:cNvSpPr/>
            <p:nvPr/>
          </p:nvSpPr>
          <p:spPr>
            <a:xfrm>
              <a:off x="1334633" y="5369128"/>
              <a:ext cx="216000" cy="126958"/>
            </a:xfrm>
            <a:prstGeom prst="roundRect">
              <a:avLst/>
            </a:prstGeom>
            <a:no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39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230" name="Group 229">
            <a:extLst>
              <a:ext uri="{FF2B5EF4-FFF2-40B4-BE49-F238E27FC236}">
                <a16:creationId xmlns:a16="http://schemas.microsoft.com/office/drawing/2014/main" id="{3F1A6CEA-353D-429F-BF59-BE6A014F883B}"/>
              </a:ext>
            </a:extLst>
          </p:cNvPr>
          <p:cNvGrpSpPr/>
          <p:nvPr/>
        </p:nvGrpSpPr>
        <p:grpSpPr>
          <a:xfrm>
            <a:off x="1779511" y="4161929"/>
            <a:ext cx="7213699" cy="261150"/>
            <a:chOff x="1334633" y="3406118"/>
            <a:chExt cx="5410274" cy="195862"/>
          </a:xfrm>
        </p:grpSpPr>
        <p:sp>
          <p:nvSpPr>
            <p:cNvPr id="87" name="TextBox 86"/>
            <p:cNvSpPr txBox="1"/>
            <p:nvPr/>
          </p:nvSpPr>
          <p:spPr>
            <a:xfrm>
              <a:off x="1378309" y="3406118"/>
              <a:ext cx="131614" cy="195862"/>
            </a:xfrm>
            <a:prstGeom prst="rect">
              <a:avLst/>
            </a:prstGeom>
            <a:noFill/>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rPr>
                <a:t>0</a:t>
              </a:r>
            </a:p>
          </p:txBody>
        </p:sp>
        <p:grpSp>
          <p:nvGrpSpPr>
            <p:cNvPr id="102" name="Group 101"/>
            <p:cNvGrpSpPr/>
            <p:nvPr/>
          </p:nvGrpSpPr>
          <p:grpSpPr>
            <a:xfrm>
              <a:off x="2446669" y="3478182"/>
              <a:ext cx="78583" cy="72000"/>
              <a:chOff x="1460934" y="576767"/>
              <a:chExt cx="78583" cy="72000"/>
            </a:xfrm>
            <a:solidFill>
              <a:srgbClr val="EAAB00"/>
            </a:solidFill>
          </p:grpSpPr>
          <p:cxnSp>
            <p:nvCxnSpPr>
              <p:cNvPr id="124" name="Straight Connector 123"/>
              <p:cNvCxnSpPr/>
              <p:nvPr/>
            </p:nvCxnSpPr>
            <p:spPr>
              <a:xfrm>
                <a:off x="1468966" y="612767"/>
                <a:ext cx="70551"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25" name="Oval 124"/>
              <p:cNvSpPr/>
              <p:nvPr/>
            </p:nvSpPr>
            <p:spPr>
              <a:xfrm>
                <a:off x="1460934"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3" name="Group 142"/>
            <p:cNvGrpSpPr/>
            <p:nvPr/>
          </p:nvGrpSpPr>
          <p:grpSpPr>
            <a:xfrm>
              <a:off x="4250920" y="3463660"/>
              <a:ext cx="145738" cy="72000"/>
              <a:chOff x="1468966" y="576767"/>
              <a:chExt cx="145738" cy="72000"/>
            </a:xfrm>
            <a:solidFill>
              <a:srgbClr val="EAAB00"/>
            </a:solidFill>
          </p:grpSpPr>
          <p:cxnSp>
            <p:nvCxnSpPr>
              <p:cNvPr id="165" name="Straight Connector 164"/>
              <p:cNvCxnSpPr/>
              <p:nvPr/>
            </p:nvCxnSpPr>
            <p:spPr>
              <a:xfrm>
                <a:off x="1468966" y="612767"/>
                <a:ext cx="145738" cy="0"/>
              </a:xfrm>
              <a:prstGeom prst="lin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cxnSp>
          <p:sp>
            <p:nvSpPr>
              <p:cNvPr id="166" name="Oval 165"/>
              <p:cNvSpPr/>
              <p:nvPr/>
            </p:nvSpPr>
            <p:spPr>
              <a:xfrm>
                <a:off x="1496987" y="576767"/>
                <a:ext cx="72000" cy="72000"/>
              </a:xfrm>
              <a:prstGeom prst="ellipse">
                <a:avLst/>
              </a:prstGeom>
              <a:grp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sp>
          <p:nvSpPr>
            <p:cNvPr id="184" name="Oval 183"/>
            <p:cNvSpPr/>
            <p:nvPr/>
          </p:nvSpPr>
          <p:spPr>
            <a:xfrm>
              <a:off x="6672907" y="3495024"/>
              <a:ext cx="72000" cy="72000"/>
            </a:xfrm>
            <a:prstGeom prst="ellipse">
              <a:avLst/>
            </a:prstGeom>
            <a:solidFill>
              <a:srgbClr val="EAAB00"/>
            </a:solidFill>
            <a:ln w="19050">
              <a:solidFill>
                <a:srgbClr val="EAAB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sp>
          <p:nvSpPr>
            <p:cNvPr id="219" name="Rounded Rectangle 218"/>
            <p:cNvSpPr/>
            <p:nvPr/>
          </p:nvSpPr>
          <p:spPr>
            <a:xfrm>
              <a:off x="1334633" y="3437062"/>
              <a:ext cx="216000" cy="126958"/>
            </a:xfrm>
            <a:prstGeom prst="roundRect">
              <a:avLst/>
            </a:prstGeom>
            <a:no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EAAB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223" name="Group 222">
            <a:extLst>
              <a:ext uri="{FF2B5EF4-FFF2-40B4-BE49-F238E27FC236}">
                <a16:creationId xmlns:a16="http://schemas.microsoft.com/office/drawing/2014/main" id="{10B02B24-1434-4858-A768-FC132933492E}"/>
              </a:ext>
            </a:extLst>
          </p:cNvPr>
          <p:cNvGrpSpPr/>
          <p:nvPr/>
        </p:nvGrpSpPr>
        <p:grpSpPr>
          <a:xfrm>
            <a:off x="1779512" y="3196487"/>
            <a:ext cx="7974089" cy="261150"/>
            <a:chOff x="1334633" y="2594518"/>
            <a:chExt cx="5980567" cy="195862"/>
          </a:xfrm>
          <a:solidFill>
            <a:srgbClr val="D47600"/>
          </a:solidFill>
        </p:grpSpPr>
        <p:sp>
          <p:nvSpPr>
            <p:cNvPr id="91" name="TextBox 90"/>
            <p:cNvSpPr txBox="1"/>
            <p:nvPr/>
          </p:nvSpPr>
          <p:spPr>
            <a:xfrm>
              <a:off x="1378310" y="2594518"/>
              <a:ext cx="131614" cy="195862"/>
            </a:xfrm>
            <a:prstGeom prst="rect">
              <a:avLst/>
            </a:prstGeom>
            <a:noFill/>
            <a:ln>
              <a:noFill/>
            </a:ln>
          </p:spPr>
          <p:txBody>
            <a:bodyPr wrap="none" lIns="48000" tIns="48000" rIns="48000" bIns="4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rPr>
                <a:t>0</a:t>
              </a:r>
            </a:p>
          </p:txBody>
        </p:sp>
        <p:grpSp>
          <p:nvGrpSpPr>
            <p:cNvPr id="106" name="Group 105"/>
            <p:cNvGrpSpPr/>
            <p:nvPr/>
          </p:nvGrpSpPr>
          <p:grpSpPr>
            <a:xfrm>
              <a:off x="2625213" y="2665902"/>
              <a:ext cx="111637" cy="72000"/>
              <a:chOff x="1511659" y="576767"/>
              <a:chExt cx="111637" cy="72000"/>
            </a:xfrm>
            <a:grpFill/>
          </p:grpSpPr>
          <p:cxnSp>
            <p:nvCxnSpPr>
              <p:cNvPr id="116" name="Straight Connector 115"/>
              <p:cNvCxnSpPr/>
              <p:nvPr/>
            </p:nvCxnSpPr>
            <p:spPr>
              <a:xfrm>
                <a:off x="1511659" y="612767"/>
                <a:ext cx="111637"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17" name="Oval 116"/>
              <p:cNvSpPr/>
              <p:nvPr/>
            </p:nvSpPr>
            <p:spPr>
              <a:xfrm>
                <a:off x="1528123"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47" name="Group 146"/>
            <p:cNvGrpSpPr/>
            <p:nvPr/>
          </p:nvGrpSpPr>
          <p:grpSpPr>
            <a:xfrm>
              <a:off x="4413185" y="2656068"/>
              <a:ext cx="178480" cy="72000"/>
              <a:chOff x="1468966" y="576767"/>
              <a:chExt cx="178480" cy="72000"/>
            </a:xfrm>
            <a:grpFill/>
          </p:grpSpPr>
          <p:cxnSp>
            <p:nvCxnSpPr>
              <p:cNvPr id="157" name="Straight Connector 156"/>
              <p:cNvCxnSpPr/>
              <p:nvPr/>
            </p:nvCxnSpPr>
            <p:spPr>
              <a:xfrm>
                <a:off x="1468966" y="612767"/>
                <a:ext cx="178480"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1513374"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grpSp>
          <p:nvGrpSpPr>
            <p:cNvPr id="188" name="Group 187"/>
            <p:cNvGrpSpPr/>
            <p:nvPr/>
          </p:nvGrpSpPr>
          <p:grpSpPr>
            <a:xfrm>
              <a:off x="7181689" y="2672456"/>
              <a:ext cx="133511" cy="72000"/>
              <a:chOff x="1468966" y="576767"/>
              <a:chExt cx="133511" cy="72000"/>
            </a:xfrm>
            <a:grpFill/>
          </p:grpSpPr>
          <p:cxnSp>
            <p:nvCxnSpPr>
              <p:cNvPr id="198" name="Straight Connector 197"/>
              <p:cNvCxnSpPr/>
              <p:nvPr/>
            </p:nvCxnSpPr>
            <p:spPr>
              <a:xfrm>
                <a:off x="1468966" y="612767"/>
                <a:ext cx="133511" cy="0"/>
              </a:xfrm>
              <a:prstGeom prst="lin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cxnSp>
          <p:sp>
            <p:nvSpPr>
              <p:cNvPr id="199" name="Oval 198"/>
              <p:cNvSpPr/>
              <p:nvPr/>
            </p:nvSpPr>
            <p:spPr>
              <a:xfrm>
                <a:off x="1498627" y="576767"/>
                <a:ext cx="72000" cy="72000"/>
              </a:xfrm>
              <a:prstGeom prst="ellipse">
                <a:avLst/>
              </a:prstGeom>
              <a:grpFill/>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sp>
          <p:nvSpPr>
            <p:cNvPr id="220" name="Rounded Rectangle 219"/>
            <p:cNvSpPr/>
            <p:nvPr/>
          </p:nvSpPr>
          <p:spPr>
            <a:xfrm>
              <a:off x="1334633" y="2625902"/>
              <a:ext cx="216000" cy="126958"/>
            </a:xfrm>
            <a:prstGeom prst="roundRect">
              <a:avLst/>
            </a:prstGeom>
            <a:no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D47600"/>
                </a:solidFill>
                <a:effectLst/>
                <a:uLnTx/>
                <a:uFillTx/>
                <a:latin typeface="Apis For Office"/>
                <a:ea typeface="Apis For Office" panose="020B0504010101010104" pitchFamily="34" charset="0"/>
                <a:cs typeface="Apis For Office" panose="020B0504010101010104" pitchFamily="34" charset="0"/>
              </a:endParaRPr>
            </a:p>
          </p:txBody>
        </p:sp>
      </p:grpSp>
      <p:sp>
        <p:nvSpPr>
          <p:cNvPr id="217" name="Right Arrow 216"/>
          <p:cNvSpPr/>
          <p:nvPr/>
        </p:nvSpPr>
        <p:spPr>
          <a:xfrm rot="17447951" flipV="1">
            <a:off x="2130157" y="3983454"/>
            <a:ext cx="2327155" cy="596533"/>
          </a:xfrm>
          <a:prstGeom prst="rightArrow">
            <a:avLst/>
          </a:prstGeom>
          <a:solidFill>
            <a:srgbClr val="009FDA">
              <a:alpha val="20000"/>
            </a:srgbClr>
          </a:solidFill>
          <a:ln w="2857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endParaRPr>
          </a:p>
        </p:txBody>
      </p:sp>
      <p:sp>
        <p:nvSpPr>
          <p:cNvPr id="221" name="Right Arrow 220"/>
          <p:cNvSpPr/>
          <p:nvPr/>
        </p:nvSpPr>
        <p:spPr>
          <a:xfrm rot="16718939" flipV="1">
            <a:off x="4696987" y="3989168"/>
            <a:ext cx="2327155" cy="596533"/>
          </a:xfrm>
          <a:prstGeom prst="rightArrow">
            <a:avLst/>
          </a:prstGeom>
          <a:solidFill>
            <a:srgbClr val="009FDA">
              <a:alpha val="20000"/>
            </a:srgbClr>
          </a:solidFill>
          <a:ln w="2857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endParaRPr>
          </a:p>
        </p:txBody>
      </p:sp>
      <p:sp>
        <p:nvSpPr>
          <p:cNvPr id="224" name="Right Arrow 223"/>
          <p:cNvSpPr/>
          <p:nvPr/>
        </p:nvSpPr>
        <p:spPr>
          <a:xfrm rot="17031884" flipV="1">
            <a:off x="8027733" y="3829722"/>
            <a:ext cx="2461592" cy="938388"/>
          </a:xfrm>
          <a:custGeom>
            <a:avLst/>
            <a:gdLst>
              <a:gd name="connsiteX0" fmla="*/ 0 w 1670030"/>
              <a:gd name="connsiteY0" fmla="*/ 111850 h 447400"/>
              <a:gd name="connsiteX1" fmla="*/ 1446330 w 1670030"/>
              <a:gd name="connsiteY1" fmla="*/ 111850 h 447400"/>
              <a:gd name="connsiteX2" fmla="*/ 1446330 w 1670030"/>
              <a:gd name="connsiteY2" fmla="*/ 0 h 447400"/>
              <a:gd name="connsiteX3" fmla="*/ 1670030 w 1670030"/>
              <a:gd name="connsiteY3" fmla="*/ 223700 h 447400"/>
              <a:gd name="connsiteX4" fmla="*/ 1446330 w 1670030"/>
              <a:gd name="connsiteY4" fmla="*/ 447400 h 447400"/>
              <a:gd name="connsiteX5" fmla="*/ 1446330 w 1670030"/>
              <a:gd name="connsiteY5" fmla="*/ 335550 h 447400"/>
              <a:gd name="connsiteX6" fmla="*/ 0 w 1670030"/>
              <a:gd name="connsiteY6" fmla="*/ 335550 h 447400"/>
              <a:gd name="connsiteX7" fmla="*/ 0 w 1670030"/>
              <a:gd name="connsiteY7" fmla="*/ 111850 h 447400"/>
              <a:gd name="connsiteX0" fmla="*/ 0 w 1670030"/>
              <a:gd name="connsiteY0" fmla="*/ 111850 h 447400"/>
              <a:gd name="connsiteX1" fmla="*/ 1025905 w 1670030"/>
              <a:gd name="connsiteY1" fmla="*/ 113431 h 447400"/>
              <a:gd name="connsiteX2" fmla="*/ 1446330 w 1670030"/>
              <a:gd name="connsiteY2" fmla="*/ 111850 h 447400"/>
              <a:gd name="connsiteX3" fmla="*/ 1446330 w 1670030"/>
              <a:gd name="connsiteY3" fmla="*/ 0 h 447400"/>
              <a:gd name="connsiteX4" fmla="*/ 1670030 w 1670030"/>
              <a:gd name="connsiteY4" fmla="*/ 223700 h 447400"/>
              <a:gd name="connsiteX5" fmla="*/ 1446330 w 1670030"/>
              <a:gd name="connsiteY5" fmla="*/ 447400 h 447400"/>
              <a:gd name="connsiteX6" fmla="*/ 1446330 w 1670030"/>
              <a:gd name="connsiteY6" fmla="*/ 335550 h 447400"/>
              <a:gd name="connsiteX7" fmla="*/ 0 w 1670030"/>
              <a:gd name="connsiteY7" fmla="*/ 335550 h 447400"/>
              <a:gd name="connsiteX8" fmla="*/ 0 w 1670030"/>
              <a:gd name="connsiteY8" fmla="*/ 111850 h 447400"/>
              <a:gd name="connsiteX0" fmla="*/ 0 w 1670030"/>
              <a:gd name="connsiteY0" fmla="*/ 111850 h 447400"/>
              <a:gd name="connsiteX1" fmla="*/ 1025905 w 1670030"/>
              <a:gd name="connsiteY1" fmla="*/ 113431 h 447400"/>
              <a:gd name="connsiteX2" fmla="*/ 1446330 w 1670030"/>
              <a:gd name="connsiteY2" fmla="*/ 111850 h 447400"/>
              <a:gd name="connsiteX3" fmla="*/ 1446330 w 1670030"/>
              <a:gd name="connsiteY3" fmla="*/ 0 h 447400"/>
              <a:gd name="connsiteX4" fmla="*/ 1670030 w 1670030"/>
              <a:gd name="connsiteY4" fmla="*/ 223700 h 447400"/>
              <a:gd name="connsiteX5" fmla="*/ 1446330 w 1670030"/>
              <a:gd name="connsiteY5" fmla="*/ 447400 h 447400"/>
              <a:gd name="connsiteX6" fmla="*/ 1446330 w 1670030"/>
              <a:gd name="connsiteY6" fmla="*/ 335550 h 447400"/>
              <a:gd name="connsiteX7" fmla="*/ 1019051 w 1670030"/>
              <a:gd name="connsiteY7" fmla="*/ 335227 h 447400"/>
              <a:gd name="connsiteX8" fmla="*/ 0 w 1670030"/>
              <a:gd name="connsiteY8" fmla="*/ 335550 h 447400"/>
              <a:gd name="connsiteX9" fmla="*/ 0 w 1670030"/>
              <a:gd name="connsiteY9" fmla="*/ 111850 h 447400"/>
              <a:gd name="connsiteX0" fmla="*/ 15628 w 1670030"/>
              <a:gd name="connsiteY0" fmla="*/ 0 h 502936"/>
              <a:gd name="connsiteX1" fmla="*/ 1025905 w 1670030"/>
              <a:gd name="connsiteY1" fmla="*/ 168967 h 502936"/>
              <a:gd name="connsiteX2" fmla="*/ 1446330 w 1670030"/>
              <a:gd name="connsiteY2" fmla="*/ 167386 h 502936"/>
              <a:gd name="connsiteX3" fmla="*/ 1446330 w 1670030"/>
              <a:gd name="connsiteY3" fmla="*/ 55536 h 502936"/>
              <a:gd name="connsiteX4" fmla="*/ 1670030 w 1670030"/>
              <a:gd name="connsiteY4" fmla="*/ 279236 h 502936"/>
              <a:gd name="connsiteX5" fmla="*/ 1446330 w 1670030"/>
              <a:gd name="connsiteY5" fmla="*/ 502936 h 502936"/>
              <a:gd name="connsiteX6" fmla="*/ 1446330 w 1670030"/>
              <a:gd name="connsiteY6" fmla="*/ 391086 h 502936"/>
              <a:gd name="connsiteX7" fmla="*/ 1019051 w 1670030"/>
              <a:gd name="connsiteY7" fmla="*/ 390763 h 502936"/>
              <a:gd name="connsiteX8" fmla="*/ 0 w 1670030"/>
              <a:gd name="connsiteY8" fmla="*/ 391086 h 502936"/>
              <a:gd name="connsiteX9" fmla="*/ 15628 w 1670030"/>
              <a:gd name="connsiteY9" fmla="*/ 0 h 502936"/>
              <a:gd name="connsiteX0" fmla="*/ 0 w 1654402"/>
              <a:gd name="connsiteY0" fmla="*/ 0 h 502936"/>
              <a:gd name="connsiteX1" fmla="*/ 1010277 w 1654402"/>
              <a:gd name="connsiteY1" fmla="*/ 168967 h 502936"/>
              <a:gd name="connsiteX2" fmla="*/ 1430702 w 1654402"/>
              <a:gd name="connsiteY2" fmla="*/ 167386 h 502936"/>
              <a:gd name="connsiteX3" fmla="*/ 1430702 w 1654402"/>
              <a:gd name="connsiteY3" fmla="*/ 55536 h 502936"/>
              <a:gd name="connsiteX4" fmla="*/ 1654402 w 1654402"/>
              <a:gd name="connsiteY4" fmla="*/ 279236 h 502936"/>
              <a:gd name="connsiteX5" fmla="*/ 1430702 w 1654402"/>
              <a:gd name="connsiteY5" fmla="*/ 502936 h 502936"/>
              <a:gd name="connsiteX6" fmla="*/ 1430702 w 1654402"/>
              <a:gd name="connsiteY6" fmla="*/ 391086 h 502936"/>
              <a:gd name="connsiteX7" fmla="*/ 1003423 w 1654402"/>
              <a:gd name="connsiteY7" fmla="*/ 390763 h 502936"/>
              <a:gd name="connsiteX8" fmla="*/ 12157 w 1654402"/>
              <a:gd name="connsiteY8" fmla="*/ 243824 h 502936"/>
              <a:gd name="connsiteX9" fmla="*/ 0 w 1654402"/>
              <a:gd name="connsiteY9" fmla="*/ 0 h 502936"/>
              <a:gd name="connsiteX0" fmla="*/ 0 w 1654402"/>
              <a:gd name="connsiteY0" fmla="*/ 0 h 759327"/>
              <a:gd name="connsiteX1" fmla="*/ 1010277 w 1654402"/>
              <a:gd name="connsiteY1" fmla="*/ 168967 h 759327"/>
              <a:gd name="connsiteX2" fmla="*/ 1430702 w 1654402"/>
              <a:gd name="connsiteY2" fmla="*/ 167386 h 759327"/>
              <a:gd name="connsiteX3" fmla="*/ 1430702 w 1654402"/>
              <a:gd name="connsiteY3" fmla="*/ 55536 h 759327"/>
              <a:gd name="connsiteX4" fmla="*/ 1654402 w 1654402"/>
              <a:gd name="connsiteY4" fmla="*/ 279236 h 759327"/>
              <a:gd name="connsiteX5" fmla="*/ 1430702 w 1654402"/>
              <a:gd name="connsiteY5" fmla="*/ 502936 h 759327"/>
              <a:gd name="connsiteX6" fmla="*/ 1430702 w 1654402"/>
              <a:gd name="connsiteY6" fmla="*/ 391086 h 759327"/>
              <a:gd name="connsiteX7" fmla="*/ 920788 w 1654402"/>
              <a:gd name="connsiteY7" fmla="*/ 759327 h 759327"/>
              <a:gd name="connsiteX8" fmla="*/ 12157 w 1654402"/>
              <a:gd name="connsiteY8" fmla="*/ 243824 h 759327"/>
              <a:gd name="connsiteX9" fmla="*/ 0 w 1654402"/>
              <a:gd name="connsiteY9" fmla="*/ 0 h 759327"/>
              <a:gd name="connsiteX0" fmla="*/ 0 w 1654402"/>
              <a:gd name="connsiteY0" fmla="*/ 0 h 759327"/>
              <a:gd name="connsiteX1" fmla="*/ 927095 w 1654402"/>
              <a:gd name="connsiteY1" fmla="*/ 573515 h 759327"/>
              <a:gd name="connsiteX2" fmla="*/ 1430702 w 1654402"/>
              <a:gd name="connsiteY2" fmla="*/ 167386 h 759327"/>
              <a:gd name="connsiteX3" fmla="*/ 1430702 w 1654402"/>
              <a:gd name="connsiteY3" fmla="*/ 55536 h 759327"/>
              <a:gd name="connsiteX4" fmla="*/ 1654402 w 1654402"/>
              <a:gd name="connsiteY4" fmla="*/ 279236 h 759327"/>
              <a:gd name="connsiteX5" fmla="*/ 1430702 w 1654402"/>
              <a:gd name="connsiteY5" fmla="*/ 502936 h 759327"/>
              <a:gd name="connsiteX6" fmla="*/ 1430702 w 1654402"/>
              <a:gd name="connsiteY6" fmla="*/ 391086 h 759327"/>
              <a:gd name="connsiteX7" fmla="*/ 920788 w 1654402"/>
              <a:gd name="connsiteY7" fmla="*/ 759327 h 759327"/>
              <a:gd name="connsiteX8" fmla="*/ 12157 w 1654402"/>
              <a:gd name="connsiteY8" fmla="*/ 243824 h 759327"/>
              <a:gd name="connsiteX9" fmla="*/ 0 w 1654402"/>
              <a:gd name="connsiteY9" fmla="*/ 0 h 759327"/>
              <a:gd name="connsiteX0" fmla="*/ 70097 w 1724499"/>
              <a:gd name="connsiteY0" fmla="*/ 0 h 759327"/>
              <a:gd name="connsiteX1" fmla="*/ 997192 w 1724499"/>
              <a:gd name="connsiteY1" fmla="*/ 573515 h 759327"/>
              <a:gd name="connsiteX2" fmla="*/ 1500799 w 1724499"/>
              <a:gd name="connsiteY2" fmla="*/ 167386 h 759327"/>
              <a:gd name="connsiteX3" fmla="*/ 1500799 w 1724499"/>
              <a:gd name="connsiteY3" fmla="*/ 55536 h 759327"/>
              <a:gd name="connsiteX4" fmla="*/ 1724499 w 1724499"/>
              <a:gd name="connsiteY4" fmla="*/ 279236 h 759327"/>
              <a:gd name="connsiteX5" fmla="*/ 1500799 w 1724499"/>
              <a:gd name="connsiteY5" fmla="*/ 502936 h 759327"/>
              <a:gd name="connsiteX6" fmla="*/ 1500799 w 1724499"/>
              <a:gd name="connsiteY6" fmla="*/ 391086 h 759327"/>
              <a:gd name="connsiteX7" fmla="*/ 990885 w 1724499"/>
              <a:gd name="connsiteY7" fmla="*/ 759327 h 759327"/>
              <a:gd name="connsiteX8" fmla="*/ 0 w 1724499"/>
              <a:gd name="connsiteY8" fmla="*/ 520799 h 759327"/>
              <a:gd name="connsiteX9" fmla="*/ 70097 w 1724499"/>
              <a:gd name="connsiteY9" fmla="*/ 0 h 759327"/>
              <a:gd name="connsiteX0" fmla="*/ 35759 w 1724499"/>
              <a:gd name="connsiteY0" fmla="*/ 274940 h 703791"/>
              <a:gd name="connsiteX1" fmla="*/ 997192 w 1724499"/>
              <a:gd name="connsiteY1" fmla="*/ 517979 h 703791"/>
              <a:gd name="connsiteX2" fmla="*/ 1500799 w 1724499"/>
              <a:gd name="connsiteY2" fmla="*/ 111850 h 703791"/>
              <a:gd name="connsiteX3" fmla="*/ 1500799 w 1724499"/>
              <a:gd name="connsiteY3" fmla="*/ 0 h 703791"/>
              <a:gd name="connsiteX4" fmla="*/ 1724499 w 1724499"/>
              <a:gd name="connsiteY4" fmla="*/ 223700 h 703791"/>
              <a:gd name="connsiteX5" fmla="*/ 1500799 w 1724499"/>
              <a:gd name="connsiteY5" fmla="*/ 447400 h 703791"/>
              <a:gd name="connsiteX6" fmla="*/ 1500799 w 1724499"/>
              <a:gd name="connsiteY6" fmla="*/ 335550 h 703791"/>
              <a:gd name="connsiteX7" fmla="*/ 990885 w 1724499"/>
              <a:gd name="connsiteY7" fmla="*/ 703791 h 703791"/>
              <a:gd name="connsiteX8" fmla="*/ 0 w 1724499"/>
              <a:gd name="connsiteY8" fmla="*/ 465263 h 703791"/>
              <a:gd name="connsiteX9" fmla="*/ 35759 w 1724499"/>
              <a:gd name="connsiteY9" fmla="*/ 274940 h 703791"/>
              <a:gd name="connsiteX0" fmla="*/ 53857 w 1742597"/>
              <a:gd name="connsiteY0" fmla="*/ 274940 h 703791"/>
              <a:gd name="connsiteX1" fmla="*/ 1015290 w 1742597"/>
              <a:gd name="connsiteY1" fmla="*/ 517979 h 703791"/>
              <a:gd name="connsiteX2" fmla="*/ 1518897 w 1742597"/>
              <a:gd name="connsiteY2" fmla="*/ 111850 h 703791"/>
              <a:gd name="connsiteX3" fmla="*/ 1518897 w 1742597"/>
              <a:gd name="connsiteY3" fmla="*/ 0 h 703791"/>
              <a:gd name="connsiteX4" fmla="*/ 1742597 w 1742597"/>
              <a:gd name="connsiteY4" fmla="*/ 223700 h 703791"/>
              <a:gd name="connsiteX5" fmla="*/ 1518897 w 1742597"/>
              <a:gd name="connsiteY5" fmla="*/ 447400 h 703791"/>
              <a:gd name="connsiteX6" fmla="*/ 1518897 w 1742597"/>
              <a:gd name="connsiteY6" fmla="*/ 335550 h 703791"/>
              <a:gd name="connsiteX7" fmla="*/ 1008983 w 1742597"/>
              <a:gd name="connsiteY7" fmla="*/ 703791 h 703791"/>
              <a:gd name="connsiteX8" fmla="*/ 0 w 1742597"/>
              <a:gd name="connsiteY8" fmla="*/ 538587 h 703791"/>
              <a:gd name="connsiteX9" fmla="*/ 53857 w 1742597"/>
              <a:gd name="connsiteY9" fmla="*/ 274940 h 703791"/>
              <a:gd name="connsiteX0" fmla="*/ 40997 w 1742597"/>
              <a:gd name="connsiteY0" fmla="*/ 349558 h 703791"/>
              <a:gd name="connsiteX1" fmla="*/ 1015290 w 1742597"/>
              <a:gd name="connsiteY1" fmla="*/ 517979 h 703791"/>
              <a:gd name="connsiteX2" fmla="*/ 1518897 w 1742597"/>
              <a:gd name="connsiteY2" fmla="*/ 111850 h 703791"/>
              <a:gd name="connsiteX3" fmla="*/ 1518897 w 1742597"/>
              <a:gd name="connsiteY3" fmla="*/ 0 h 703791"/>
              <a:gd name="connsiteX4" fmla="*/ 1742597 w 1742597"/>
              <a:gd name="connsiteY4" fmla="*/ 223700 h 703791"/>
              <a:gd name="connsiteX5" fmla="*/ 1518897 w 1742597"/>
              <a:gd name="connsiteY5" fmla="*/ 447400 h 703791"/>
              <a:gd name="connsiteX6" fmla="*/ 1518897 w 1742597"/>
              <a:gd name="connsiteY6" fmla="*/ 335550 h 703791"/>
              <a:gd name="connsiteX7" fmla="*/ 1008983 w 1742597"/>
              <a:gd name="connsiteY7" fmla="*/ 703791 h 703791"/>
              <a:gd name="connsiteX8" fmla="*/ 0 w 1742597"/>
              <a:gd name="connsiteY8" fmla="*/ 538587 h 703791"/>
              <a:gd name="connsiteX9" fmla="*/ 40997 w 1742597"/>
              <a:gd name="connsiteY9" fmla="*/ 349558 h 70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2597" h="703791">
                <a:moveTo>
                  <a:pt x="40997" y="349558"/>
                </a:moveTo>
                <a:lnTo>
                  <a:pt x="1015290" y="517979"/>
                </a:lnTo>
                <a:lnTo>
                  <a:pt x="1518897" y="111850"/>
                </a:lnTo>
                <a:lnTo>
                  <a:pt x="1518897" y="0"/>
                </a:lnTo>
                <a:lnTo>
                  <a:pt x="1742597" y="223700"/>
                </a:lnTo>
                <a:lnTo>
                  <a:pt x="1518897" y="447400"/>
                </a:lnTo>
                <a:lnTo>
                  <a:pt x="1518897" y="335550"/>
                </a:lnTo>
                <a:lnTo>
                  <a:pt x="1008983" y="703791"/>
                </a:lnTo>
                <a:lnTo>
                  <a:pt x="0" y="538587"/>
                </a:lnTo>
                <a:lnTo>
                  <a:pt x="40997" y="349558"/>
                </a:lnTo>
                <a:close/>
              </a:path>
            </a:pathLst>
          </a:custGeom>
          <a:solidFill>
            <a:srgbClr val="009FDA">
              <a:alpha val="20000"/>
            </a:srgbClr>
          </a:solidFill>
          <a:ln w="2857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pis For Office"/>
              <a:ea typeface="Apis For Office" panose="020B0504010101010104" pitchFamily="34" charset="0"/>
              <a:cs typeface="Apis For Office" panose="020B0504010101010104" pitchFamily="34" charset="0"/>
            </a:endParaRPr>
          </a:p>
        </p:txBody>
      </p:sp>
      <p:sp>
        <p:nvSpPr>
          <p:cNvPr id="225" name="Title 224"/>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3200">
                <a:latin typeface="+mn-lt"/>
                <a:ea typeface="Apis For Office" panose="020B0504010101010104" pitchFamily="34" charset="0"/>
                <a:cs typeface="Apis For Office" panose="020B0504010101010104" pitchFamily="34" charset="0"/>
              </a:rPr>
              <a:t>Overweight or obesity increases the risk of CV events even in the absence of other metabolic abnormalities </a:t>
            </a:r>
            <a:br>
              <a:rPr lang="en-GB">
                <a:latin typeface="+mn-lt"/>
                <a:ea typeface="Apis For Office" panose="020B0504010101010104" pitchFamily="34" charset="0"/>
                <a:cs typeface="Apis For Office" panose="020B0504010101010104" pitchFamily="34" charset="0"/>
              </a:rPr>
            </a:br>
            <a:r>
              <a:rPr kumimoji="0" lang="en-GB" sz="1800" b="0" i="0" u="none" strike="noStrike" kern="1200" cap="none" spc="0" normalizeH="0" baseline="0">
                <a:ln>
                  <a:noFill/>
                </a:ln>
                <a:solidFill>
                  <a:schemeClr val="accent5"/>
                </a:solidFill>
                <a:effectLst/>
                <a:uLnTx/>
                <a:uFillTx/>
                <a:latin typeface="+mn-lt"/>
                <a:ea typeface="Apis For Office" panose="020B0504010101010104" pitchFamily="34" charset="0"/>
                <a:cs typeface="Apis For Office" panose="020B0504010101010104" pitchFamily="34" charset="0"/>
              </a:rPr>
              <a:t>Body size, metabolic status and CVD events in 3.5 million UK adults</a:t>
            </a:r>
            <a:r>
              <a:rPr kumimoji="0" lang="en-GB" sz="1800" b="0" i="0" u="none" strike="noStrike" kern="1200" cap="none" spc="0" normalizeH="0">
                <a:ln>
                  <a:noFill/>
                </a:ln>
                <a:solidFill>
                  <a:schemeClr val="accent5"/>
                </a:solidFill>
                <a:effectLst/>
                <a:uLnTx/>
                <a:uFillTx/>
                <a:latin typeface="+mn-lt"/>
                <a:ea typeface="Apis For Office" panose="020B0504010101010104" pitchFamily="34" charset="0"/>
                <a:cs typeface="Apis For Office" panose="020B0504010101010104" pitchFamily="34" charset="0"/>
              </a:rPr>
              <a:t>*</a:t>
            </a:r>
            <a:br>
              <a:rPr kumimoji="0" lang="en-GB" sz="1800" b="0" i="0" u="none" strike="noStrike" kern="1200" cap="none" spc="0" normalizeH="0" baseline="30000">
                <a:ln>
                  <a:noFill/>
                </a:ln>
                <a:solidFill>
                  <a:schemeClr val="accent5"/>
                </a:solidFill>
                <a:effectLst/>
                <a:uLnTx/>
                <a:uFillTx/>
                <a:latin typeface="+mn-lt"/>
                <a:ea typeface="Apis For Office" panose="020B0504010101010104" pitchFamily="34" charset="0"/>
                <a:cs typeface="Apis For Office" panose="020B0504010101010104" pitchFamily="34" charset="0"/>
              </a:rPr>
            </a:br>
            <a:endParaRPr lang="en-GB">
              <a:solidFill>
                <a:schemeClr val="accent5"/>
              </a:solidFill>
              <a:latin typeface="+mn-lt"/>
              <a:ea typeface="Apis For Office" panose="020B0504010101010104" pitchFamily="34" charset="0"/>
              <a:cs typeface="Apis For Office" panose="020B0504010101010104" pitchFamily="34" charset="0"/>
            </a:endParaRPr>
          </a:p>
        </p:txBody>
      </p:sp>
      <p:sp>
        <p:nvSpPr>
          <p:cNvPr id="6" name="Text Placeholder 5">
            <a:extLst>
              <a:ext uri="{FF2B5EF4-FFF2-40B4-BE49-F238E27FC236}">
                <a16:creationId xmlns:a16="http://schemas.microsoft.com/office/drawing/2014/main" id="{81664A21-5631-4A32-B404-847246C9B4D2}"/>
              </a:ext>
            </a:extLst>
          </p:cNvPr>
          <p:cNvSpPr>
            <a:spLocks noGrp="1"/>
          </p:cNvSpPr>
          <p:nvPr>
            <p:ph type="body" sz="quarter" idx="13"/>
          </p:nvPr>
        </p:nvSpPr>
        <p:spPr>
          <a:xfrm>
            <a:off x="647998" y="6210000"/>
            <a:ext cx="10747917" cy="324000"/>
          </a:xfrm>
        </p:spPr>
        <p:txBody>
          <a:bodyPr>
            <a:noAutofit/>
          </a:bodyPr>
          <a:lstStyle/>
          <a:p>
            <a:r>
              <a:rPr lang="en-GB">
                <a:ea typeface="Apis For Office" panose="020B0504010101010104" pitchFamily="34" charset="0"/>
                <a:cs typeface="Apis For Office" panose="020B0504010101010104" pitchFamily="34" charset="0"/>
              </a:rPr>
              <a:t>The three metabolic abnormalities (diabetes, hypertension and hyperlipidaemia) were summed to create ametabolic abnormalities score (0, 1, 2, and 3). *Analyses adjusted for age, sex, smoking status, and social deprivation. </a:t>
            </a:r>
            <a:br>
              <a:rPr lang="en-GB">
                <a:ea typeface="Apis For Office" panose="020B0504010101010104" pitchFamily="34" charset="0"/>
                <a:cs typeface="Apis For Office" panose="020B0504010101010104" pitchFamily="34" charset="0"/>
              </a:rPr>
            </a:br>
            <a:r>
              <a:rPr lang="en-GB">
                <a:ea typeface="Apis For Office" panose="020B0504010101010104" pitchFamily="34" charset="0"/>
                <a:cs typeface="Apis For Office" panose="020B0504010101010104" pitchFamily="34" charset="0"/>
              </a:rPr>
              <a:t>The reference category is normal weight, no metabolic abnormalities. </a:t>
            </a:r>
            <a:br>
              <a:rPr lang="en-GB">
                <a:ea typeface="Apis For Office" panose="020B0504010101010104" pitchFamily="34" charset="0"/>
                <a:cs typeface="Apis For Office" panose="020B0504010101010104" pitchFamily="34" charset="0"/>
              </a:rPr>
            </a:br>
            <a:r>
              <a:rPr lang="en-GB">
                <a:ea typeface="Apis For Office" panose="020B0504010101010104" pitchFamily="34" charset="0"/>
                <a:cs typeface="Apis For Office" panose="020B0504010101010104" pitchFamily="34" charset="0"/>
              </a:rPr>
              <a:t>CI, confidence interval; CHD, coronary heart disease; CVD, cardiovascular disease; HR, hazard ratio; PVD, peripheral vascular disease; UK, United Kingdom. </a:t>
            </a:r>
            <a:br>
              <a:rPr lang="en-GB">
                <a:ea typeface="Apis For Office" panose="020B0504010101010104" pitchFamily="34" charset="0"/>
                <a:cs typeface="Apis For Office" panose="020B0504010101010104" pitchFamily="34" charset="0"/>
              </a:rPr>
            </a:br>
            <a:r>
              <a:rPr lang="en-GB">
                <a:ea typeface="Apis For Office" panose="020B0504010101010104" pitchFamily="34" charset="0"/>
                <a:cs typeface="Apis For Office" panose="020B0504010101010104" pitchFamily="34" charset="0"/>
              </a:rPr>
              <a:t>Caleyachetty R et al. J Am Coll Cardiol 2017;70:1429–37.</a:t>
            </a:r>
          </a:p>
        </p:txBody>
      </p:sp>
      <p:sp>
        <p:nvSpPr>
          <p:cNvPr id="226" name="Subtitle 7">
            <a:extLst>
              <a:ext uri="{FF2B5EF4-FFF2-40B4-BE49-F238E27FC236}">
                <a16:creationId xmlns:a16="http://schemas.microsoft.com/office/drawing/2014/main" id="{36A71C6B-2CAA-4A9B-B9DC-5DCC2DDFC36A}"/>
              </a:ext>
            </a:extLst>
          </p:cNvPr>
          <p:cNvSpPr txBox="1">
            <a:spLocks/>
          </p:cNvSpPr>
          <p:nvPr/>
        </p:nvSpPr>
        <p:spPr>
          <a:xfrm>
            <a:off x="648000" y="1661787"/>
            <a:ext cx="9966991" cy="357319"/>
          </a:xfrm>
          <a:prstGeom prst="rect">
            <a:avLst/>
          </a:prstGeom>
        </p:spPr>
        <p:txBody>
          <a:bodyPr vert="horz" lIns="0" tIns="0" rIns="0" bIns="0" rtlCol="0" anchor="ctr">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GB" sz="1800" b="0" i="0" u="none" strike="noStrike" kern="1200" cap="none" spc="0" normalizeH="0" baseline="30000" noProof="0">
              <a:ln>
                <a:noFill/>
              </a:ln>
              <a:solidFill>
                <a:srgbClr val="2A918B"/>
              </a:solidFill>
              <a:effectLst/>
              <a:uLnTx/>
              <a:uFillTx/>
              <a:latin typeface="Apis For Office"/>
              <a:ea typeface="Apis For Office" panose="020B0504010101010104" pitchFamily="34" charset="0"/>
              <a:cs typeface="Apis For Office" panose="020B0504010101010104" pitchFamily="34" charset="0"/>
            </a:endParaRPr>
          </a:p>
        </p:txBody>
      </p:sp>
      <p:grpSp>
        <p:nvGrpSpPr>
          <p:cNvPr id="3" name="Group 2">
            <a:extLst>
              <a:ext uri="{FF2B5EF4-FFF2-40B4-BE49-F238E27FC236}">
                <a16:creationId xmlns:a16="http://schemas.microsoft.com/office/drawing/2014/main" id="{A102FAEA-5FBE-5602-7CF3-6180FFDE2EC2}"/>
              </a:ext>
            </a:extLst>
          </p:cNvPr>
          <p:cNvGrpSpPr/>
          <p:nvPr/>
        </p:nvGrpSpPr>
        <p:grpSpPr>
          <a:xfrm>
            <a:off x="11475104" y="127000"/>
            <a:ext cx="570190" cy="570190"/>
            <a:chOff x="8103321" y="129664"/>
            <a:chExt cx="819600" cy="819600"/>
          </a:xfrm>
        </p:grpSpPr>
        <p:sp>
          <p:nvSpPr>
            <p:cNvPr id="75" name="Oval 74">
              <a:hlinkClick r:id="rId3" action="ppaction://hlinksldjump"/>
              <a:extLst>
                <a:ext uri="{FF2B5EF4-FFF2-40B4-BE49-F238E27FC236}">
                  <a16:creationId xmlns:a16="http://schemas.microsoft.com/office/drawing/2014/main" id="{CD4A3D83-CEAA-7599-A6D1-DEA5CD866C6D}"/>
                </a:ext>
              </a:extLst>
            </p:cNvPr>
            <p:cNvSpPr/>
            <p:nvPr/>
          </p:nvSpPr>
          <p:spPr>
            <a:xfrm>
              <a:off x="8165497" y="191841"/>
              <a:ext cx="695247" cy="6952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V</a:t>
              </a:r>
            </a:p>
          </p:txBody>
        </p:sp>
        <p:pic>
          <p:nvPicPr>
            <p:cNvPr id="81" name="Picture 80" descr="A picture containing building, bridge&#10;&#10;Description automatically generated">
              <a:hlinkClick r:id="rId3" action="ppaction://hlinksldjump"/>
              <a:extLst>
                <a:ext uri="{FF2B5EF4-FFF2-40B4-BE49-F238E27FC236}">
                  <a16:creationId xmlns:a16="http://schemas.microsoft.com/office/drawing/2014/main" id="{833796B2-25BF-036F-5A07-6D2B216658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7975" y="323651"/>
              <a:ext cx="410292" cy="405832"/>
            </a:xfrm>
            <a:prstGeom prst="rect">
              <a:avLst/>
            </a:prstGeom>
          </p:spPr>
        </p:pic>
        <p:sp>
          <p:nvSpPr>
            <p:cNvPr id="82" name="Oval 81">
              <a:extLst>
                <a:ext uri="{FF2B5EF4-FFF2-40B4-BE49-F238E27FC236}">
                  <a16:creationId xmlns:a16="http://schemas.microsoft.com/office/drawing/2014/main" id="{335FE083-0765-BE96-19DE-7019A1B8802C}"/>
                </a:ext>
              </a:extLst>
            </p:cNvPr>
            <p:cNvSpPr/>
            <p:nvPr/>
          </p:nvSpPr>
          <p:spPr>
            <a:xfrm>
              <a:off x="8103321" y="129664"/>
              <a:ext cx="819600" cy="819600"/>
            </a:xfrm>
            <a:prstGeom prst="ellipse">
              <a:avLst/>
            </a:prstGeom>
            <a:noFill/>
            <a:ln w="1905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Tree>
    <p:extLst>
      <p:ext uri="{BB962C8B-B14F-4D97-AF65-F5344CB8AC3E}">
        <p14:creationId xmlns:p14="http://schemas.microsoft.com/office/powerpoint/2010/main" val="1416545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 name="Rectangle 287">
            <a:extLst>
              <a:ext uri="{FF2B5EF4-FFF2-40B4-BE49-F238E27FC236}">
                <a16:creationId xmlns:a16="http://schemas.microsoft.com/office/drawing/2014/main" id="{6688C02E-FB98-A2AA-5526-368BE0217679}"/>
              </a:ext>
            </a:extLst>
          </p:cNvPr>
          <p:cNvSpPr/>
          <p:nvPr/>
        </p:nvSpPr>
        <p:spPr>
          <a:xfrm>
            <a:off x="4507706" y="1323413"/>
            <a:ext cx="6548720" cy="4698770"/>
          </a:xfrm>
          <a:prstGeom prst="rect">
            <a:avLst/>
          </a:prstGeom>
          <a:solidFill>
            <a:schemeClr val="accent5">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1" name="Rounded Rectangle 10"/>
          <p:cNvSpPr/>
          <p:nvPr/>
        </p:nvSpPr>
        <p:spPr>
          <a:xfrm>
            <a:off x="4778928" y="3292884"/>
            <a:ext cx="5983993" cy="7506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32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   </a:t>
            </a:r>
            <a:r>
              <a:rPr kumimoji="0" lang="en-GB" sz="21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Blood glucose</a:t>
            </a:r>
            <a:r>
              <a:rPr kumimoji="0" lang="en-GB" sz="2100" b="0"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mn-cs"/>
              </a:rPr>
              <a:t>1,2</a:t>
            </a:r>
          </a:p>
        </p:txBody>
      </p:sp>
      <p:sp>
        <p:nvSpPr>
          <p:cNvPr id="3" name="Title 2"/>
          <p:cNvSpPr>
            <a:spLocks noGrp="1"/>
          </p:cNvSpPr>
          <p:nvPr>
            <p:ph type="title"/>
          </p:nvPr>
        </p:nvSpPr>
        <p:spPr/>
        <p:txBody>
          <a:bodyPr/>
          <a:lstStyle/>
          <a:p>
            <a:r>
              <a:rPr lang="en-GB"/>
              <a:t>Weight loss improves CV risk factors</a:t>
            </a:r>
            <a:br>
              <a:rPr lang="en-GB"/>
            </a:br>
            <a:endParaRPr lang="en-GB"/>
          </a:p>
        </p:txBody>
      </p:sp>
      <p:sp>
        <p:nvSpPr>
          <p:cNvPr id="2" name="Text Placeholder 1">
            <a:extLst>
              <a:ext uri="{FF2B5EF4-FFF2-40B4-BE49-F238E27FC236}">
                <a16:creationId xmlns:a16="http://schemas.microsoft.com/office/drawing/2014/main" id="{9FC66C18-FCCF-4273-860F-5B2556A62787}"/>
              </a:ext>
            </a:extLst>
          </p:cNvPr>
          <p:cNvSpPr>
            <a:spLocks noGrp="1"/>
          </p:cNvSpPr>
          <p:nvPr>
            <p:ph type="body" sz="quarter" idx="13"/>
          </p:nvPr>
        </p:nvSpPr>
        <p:spPr>
          <a:xfrm>
            <a:off x="647999" y="6210000"/>
            <a:ext cx="8652000" cy="324000"/>
          </a:xfrm>
        </p:spPr>
        <p:txBody>
          <a:bodyPr/>
          <a:lstStyle/>
          <a:p>
            <a:r>
              <a:rPr lang="en-GB"/>
              <a:t>BMI, body mass index; CV, cardiovascular. </a:t>
            </a:r>
            <a:br>
              <a:rPr lang="en-GB"/>
            </a:br>
            <a:r>
              <a:rPr lang="en-GB"/>
              <a:t>1. US National Institutes of Health. Managing Overweight and Obesity in Adults: Systematic Evidence Review From the Obesity Expert Panel, 2013. Available at: https://www.nhlbi.nih.gov/sites/default/files/media/docs/obesity-evidence-review.pdf. Accessed October 2023; 2. Pasanisi F et al. Nutr Metab Cardiovasc Dis 2001;11:401–6; 3. Yokose C et al. Diabetes Care 2020;43:2812–20; 4. Bianchi VE. Clin Nutr ESPEN 2018;28:21–35.</a:t>
            </a:r>
          </a:p>
        </p:txBody>
      </p:sp>
      <p:sp>
        <p:nvSpPr>
          <p:cNvPr id="9" name="Rounded Rectangle 8"/>
          <p:cNvSpPr/>
          <p:nvPr/>
        </p:nvSpPr>
        <p:spPr>
          <a:xfrm>
            <a:off x="4778928" y="1550196"/>
            <a:ext cx="5983993" cy="7506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32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   </a:t>
            </a:r>
            <a:r>
              <a:rPr kumimoji="0" lang="en-GB" sz="21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Blood pressure</a:t>
            </a:r>
            <a:r>
              <a:rPr kumimoji="0" lang="en-GB" sz="2100" b="0"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mn-cs"/>
              </a:rPr>
              <a:t>1,2</a:t>
            </a:r>
          </a:p>
        </p:txBody>
      </p:sp>
      <p:sp>
        <p:nvSpPr>
          <p:cNvPr id="10" name="Up Arrow 9"/>
          <p:cNvSpPr/>
          <p:nvPr/>
        </p:nvSpPr>
        <p:spPr>
          <a:xfrm rot="10800000">
            <a:off x="4885001" y="1790686"/>
            <a:ext cx="342316" cy="320188"/>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2" name="Up Arrow 11"/>
          <p:cNvSpPr/>
          <p:nvPr/>
        </p:nvSpPr>
        <p:spPr>
          <a:xfrm rot="10800000">
            <a:off x="4885001" y="3529318"/>
            <a:ext cx="342316" cy="320188"/>
          </a:xfrm>
          <a:prstGeom prst="upArrow">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3" name="Rounded Rectangle 12"/>
          <p:cNvSpPr/>
          <p:nvPr/>
        </p:nvSpPr>
        <p:spPr>
          <a:xfrm>
            <a:off x="4778928" y="2421540"/>
            <a:ext cx="5983993" cy="7506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32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   </a:t>
            </a:r>
            <a:r>
              <a:rPr kumimoji="0" lang="en-GB" sz="21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Blood lipids</a:t>
            </a:r>
            <a:r>
              <a:rPr kumimoji="0" lang="en-GB" sz="2100" b="0"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mn-cs"/>
              </a:rPr>
              <a:t>1,2</a:t>
            </a:r>
          </a:p>
        </p:txBody>
      </p:sp>
      <p:sp>
        <p:nvSpPr>
          <p:cNvPr id="14" name="Up Arrow 13"/>
          <p:cNvSpPr/>
          <p:nvPr/>
        </p:nvSpPr>
        <p:spPr>
          <a:xfrm rot="10800000">
            <a:off x="4880136" y="2660002"/>
            <a:ext cx="342316" cy="320188"/>
          </a:xfrm>
          <a:prstGeom prst="upArrow">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23" name="Rounded Rectangle 22"/>
          <p:cNvSpPr/>
          <p:nvPr/>
        </p:nvSpPr>
        <p:spPr>
          <a:xfrm>
            <a:off x="4778928" y="4164228"/>
            <a:ext cx="5983993" cy="7506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32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   </a:t>
            </a:r>
            <a:r>
              <a:rPr kumimoji="0" lang="en-GB" sz="21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Insulin resistance</a:t>
            </a:r>
            <a:r>
              <a:rPr kumimoji="0" lang="en-GB" sz="2100" b="0"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mn-cs"/>
              </a:rPr>
              <a:t>1–3</a:t>
            </a:r>
          </a:p>
        </p:txBody>
      </p:sp>
      <p:sp>
        <p:nvSpPr>
          <p:cNvPr id="25" name="Up Arrow 24"/>
          <p:cNvSpPr/>
          <p:nvPr/>
        </p:nvSpPr>
        <p:spPr>
          <a:xfrm rot="10800000">
            <a:off x="4880136" y="4398634"/>
            <a:ext cx="342316" cy="320188"/>
          </a:xfrm>
          <a:prstGeom prst="up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26" name="Rounded Rectangle 25"/>
          <p:cNvSpPr/>
          <p:nvPr/>
        </p:nvSpPr>
        <p:spPr>
          <a:xfrm>
            <a:off x="4778928" y="5035573"/>
            <a:ext cx="5983993" cy="7506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32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   </a:t>
            </a:r>
            <a:r>
              <a:rPr kumimoji="0" lang="en-GB" sz="21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Inflammation</a:t>
            </a:r>
            <a:r>
              <a:rPr kumimoji="0" lang="en-GB" sz="2100" b="0" i="0" u="none" strike="noStrike" kern="1200" cap="none" spc="0" normalizeH="0" baseline="30000" noProof="0">
                <a:ln>
                  <a:noFill/>
                </a:ln>
                <a:solidFill>
                  <a:srgbClr val="001965"/>
                </a:solidFill>
                <a:effectLst/>
                <a:uLnTx/>
                <a:uFillTx/>
                <a:latin typeface="Apis For Office"/>
                <a:ea typeface="Apis For Office" panose="020B0504010101010104" pitchFamily="34" charset="0"/>
                <a:cs typeface="+mn-cs"/>
              </a:rPr>
              <a:t>4</a:t>
            </a:r>
          </a:p>
        </p:txBody>
      </p:sp>
      <p:sp>
        <p:nvSpPr>
          <p:cNvPr id="27" name="Up Arrow 26"/>
          <p:cNvSpPr/>
          <p:nvPr/>
        </p:nvSpPr>
        <p:spPr>
          <a:xfrm rot="10800000">
            <a:off x="4880136" y="5267950"/>
            <a:ext cx="342316" cy="320188"/>
          </a:xfrm>
          <a:prstGeom prst="upArrow">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grpSp>
        <p:nvGrpSpPr>
          <p:cNvPr id="20" name="Group 19">
            <a:extLst>
              <a:ext uri="{FF2B5EF4-FFF2-40B4-BE49-F238E27FC236}">
                <a16:creationId xmlns:a16="http://schemas.microsoft.com/office/drawing/2014/main" id="{FD9E470C-096B-2E9C-E7CF-E35536AAF500}"/>
              </a:ext>
            </a:extLst>
          </p:cNvPr>
          <p:cNvGrpSpPr/>
          <p:nvPr/>
        </p:nvGrpSpPr>
        <p:grpSpPr>
          <a:xfrm>
            <a:off x="9442776" y="1540284"/>
            <a:ext cx="767420" cy="767420"/>
            <a:chOff x="9442776" y="1511708"/>
            <a:chExt cx="767420" cy="767420"/>
          </a:xfrm>
        </p:grpSpPr>
        <p:sp>
          <p:nvSpPr>
            <p:cNvPr id="45" name="Oval 44">
              <a:extLst>
                <a:ext uri="{FF2B5EF4-FFF2-40B4-BE49-F238E27FC236}">
                  <a16:creationId xmlns:a16="http://schemas.microsoft.com/office/drawing/2014/main" id="{3C7E3824-9136-4D1A-8A79-0737C1191D6F}"/>
                </a:ext>
              </a:extLst>
            </p:cNvPr>
            <p:cNvSpPr>
              <a:spLocks/>
            </p:cNvSpPr>
            <p:nvPr/>
          </p:nvSpPr>
          <p:spPr>
            <a:xfrm>
              <a:off x="9442776" y="1511708"/>
              <a:ext cx="767420" cy="767420"/>
            </a:xfrm>
            <a:prstGeom prst="ellipse">
              <a:avLst/>
            </a:prstGeom>
            <a:solidFill>
              <a:schemeClr val="accent5">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5" name="Graphic 27">
              <a:extLst>
                <a:ext uri="{FF2B5EF4-FFF2-40B4-BE49-F238E27FC236}">
                  <a16:creationId xmlns:a16="http://schemas.microsoft.com/office/drawing/2014/main" id="{DED6A0DB-5D36-8F3D-6EB6-66CB77AEA701}"/>
                </a:ext>
              </a:extLst>
            </p:cNvPr>
            <p:cNvSpPr/>
            <p:nvPr/>
          </p:nvSpPr>
          <p:spPr>
            <a:xfrm>
              <a:off x="9575861" y="1677806"/>
              <a:ext cx="539946" cy="507742"/>
            </a:xfrm>
            <a:custGeom>
              <a:avLst/>
              <a:gdLst>
                <a:gd name="connsiteX0" fmla="*/ 233987 w 435959"/>
                <a:gd name="connsiteY0" fmla="*/ 176175 h 409956"/>
                <a:gd name="connsiteX1" fmla="*/ 219700 w 435959"/>
                <a:gd name="connsiteY1" fmla="*/ 161888 h 409956"/>
                <a:gd name="connsiteX2" fmla="*/ 233987 w 435959"/>
                <a:gd name="connsiteY2" fmla="*/ 147600 h 409956"/>
                <a:gd name="connsiteX3" fmla="*/ 234654 w 435959"/>
                <a:gd name="connsiteY3" fmla="*/ 147600 h 409956"/>
                <a:gd name="connsiteX4" fmla="*/ 246275 w 435959"/>
                <a:gd name="connsiteY4" fmla="*/ 135980 h 409956"/>
                <a:gd name="connsiteX5" fmla="*/ 259705 w 435959"/>
                <a:gd name="connsiteY5" fmla="*/ 135980 h 409956"/>
                <a:gd name="connsiteX6" fmla="*/ 259705 w 435959"/>
                <a:gd name="connsiteY6" fmla="*/ 149410 h 409956"/>
                <a:gd name="connsiteX7" fmla="*/ 248180 w 435959"/>
                <a:gd name="connsiteY7" fmla="*/ 160840 h 409956"/>
                <a:gd name="connsiteX8" fmla="*/ 248180 w 435959"/>
                <a:gd name="connsiteY8" fmla="*/ 161602 h 409956"/>
                <a:gd name="connsiteX9" fmla="*/ 234178 w 435959"/>
                <a:gd name="connsiteY9" fmla="*/ 176175 h 409956"/>
                <a:gd name="connsiteX10" fmla="*/ 233987 w 435959"/>
                <a:gd name="connsiteY10" fmla="*/ 176175 h 409956"/>
                <a:gd name="connsiteX11" fmla="*/ 436394 w 435959"/>
                <a:gd name="connsiteY11" fmla="*/ 106453 h 409956"/>
                <a:gd name="connsiteX12" fmla="*/ 319712 w 435959"/>
                <a:gd name="connsiteY12" fmla="*/ 245232 h 409956"/>
                <a:gd name="connsiteX13" fmla="*/ 266182 w 435959"/>
                <a:gd name="connsiteY13" fmla="*/ 209037 h 409956"/>
                <a:gd name="connsiteX14" fmla="*/ 243512 w 435959"/>
                <a:gd name="connsiteY14" fmla="*/ 218562 h 409956"/>
                <a:gd name="connsiteX15" fmla="*/ 243512 w 435959"/>
                <a:gd name="connsiteY15" fmla="*/ 352769 h 409956"/>
                <a:gd name="connsiteX16" fmla="*/ 186362 w 435959"/>
                <a:gd name="connsiteY16" fmla="*/ 409919 h 409956"/>
                <a:gd name="connsiteX17" fmla="*/ 129212 w 435959"/>
                <a:gd name="connsiteY17" fmla="*/ 357532 h 409956"/>
                <a:gd name="connsiteX18" fmla="*/ 123021 w 435959"/>
                <a:gd name="connsiteY18" fmla="*/ 357532 h 409956"/>
                <a:gd name="connsiteX19" fmla="*/ 95684 w 435959"/>
                <a:gd name="connsiteY19" fmla="*/ 330195 h 409956"/>
                <a:gd name="connsiteX20" fmla="*/ 95684 w 435959"/>
                <a:gd name="connsiteY20" fmla="*/ 203512 h 409956"/>
                <a:gd name="connsiteX21" fmla="*/ 123021 w 435959"/>
                <a:gd name="connsiteY21" fmla="*/ 176175 h 409956"/>
                <a:gd name="connsiteX22" fmla="*/ 129022 w 435959"/>
                <a:gd name="connsiteY22" fmla="*/ 176175 h 409956"/>
                <a:gd name="connsiteX23" fmla="*/ 129022 w 435959"/>
                <a:gd name="connsiteY23" fmla="*/ 57113 h 409956"/>
                <a:gd name="connsiteX24" fmla="*/ 90922 w 435959"/>
                <a:gd name="connsiteY24" fmla="*/ 19013 h 409956"/>
                <a:gd name="connsiteX25" fmla="*/ 52822 w 435959"/>
                <a:gd name="connsiteY25" fmla="*/ 57113 h 409956"/>
                <a:gd name="connsiteX26" fmla="*/ 52822 w 435959"/>
                <a:gd name="connsiteY26" fmla="*/ 166650 h 409956"/>
                <a:gd name="connsiteX27" fmla="*/ 52155 w 435959"/>
                <a:gd name="connsiteY27" fmla="*/ 169984 h 409956"/>
                <a:gd name="connsiteX28" fmla="*/ 86159 w 435959"/>
                <a:gd name="connsiteY28" fmla="*/ 211894 h 409956"/>
                <a:gd name="connsiteX29" fmla="*/ 86159 w 435959"/>
                <a:gd name="connsiteY29" fmla="*/ 273807 h 409956"/>
                <a:gd name="connsiteX30" fmla="*/ 43297 w 435959"/>
                <a:gd name="connsiteY30" fmla="*/ 316669 h 409956"/>
                <a:gd name="connsiteX31" fmla="*/ 434 w 435959"/>
                <a:gd name="connsiteY31" fmla="*/ 273807 h 409956"/>
                <a:gd name="connsiteX32" fmla="*/ 434 w 435959"/>
                <a:gd name="connsiteY32" fmla="*/ 211894 h 409956"/>
                <a:gd name="connsiteX33" fmla="*/ 34438 w 435959"/>
                <a:gd name="connsiteY33" fmla="*/ 169984 h 409956"/>
                <a:gd name="connsiteX34" fmla="*/ 33772 w 435959"/>
                <a:gd name="connsiteY34" fmla="*/ 166650 h 409956"/>
                <a:gd name="connsiteX35" fmla="*/ 33772 w 435959"/>
                <a:gd name="connsiteY35" fmla="*/ 57113 h 409956"/>
                <a:gd name="connsiteX36" fmla="*/ 90922 w 435959"/>
                <a:gd name="connsiteY36" fmla="*/ -37 h 409956"/>
                <a:gd name="connsiteX37" fmla="*/ 148072 w 435959"/>
                <a:gd name="connsiteY37" fmla="*/ 57113 h 409956"/>
                <a:gd name="connsiteX38" fmla="*/ 148072 w 435959"/>
                <a:gd name="connsiteY38" fmla="*/ 176175 h 409956"/>
                <a:gd name="connsiteX39" fmla="*/ 153977 w 435959"/>
                <a:gd name="connsiteY39" fmla="*/ 176175 h 409956"/>
                <a:gd name="connsiteX40" fmla="*/ 181409 w 435959"/>
                <a:gd name="connsiteY40" fmla="*/ 203512 h 409956"/>
                <a:gd name="connsiteX41" fmla="*/ 181409 w 435959"/>
                <a:gd name="connsiteY41" fmla="*/ 329814 h 409956"/>
                <a:gd name="connsiteX42" fmla="*/ 153977 w 435959"/>
                <a:gd name="connsiteY42" fmla="*/ 357150 h 409956"/>
                <a:gd name="connsiteX43" fmla="*/ 148548 w 435959"/>
                <a:gd name="connsiteY43" fmla="*/ 357150 h 409956"/>
                <a:gd name="connsiteX44" fmla="*/ 186172 w 435959"/>
                <a:gd name="connsiteY44" fmla="*/ 390488 h 409956"/>
                <a:gd name="connsiteX45" fmla="*/ 224272 w 435959"/>
                <a:gd name="connsiteY45" fmla="*/ 352388 h 409956"/>
                <a:gd name="connsiteX46" fmla="*/ 224272 w 435959"/>
                <a:gd name="connsiteY46" fmla="*/ 217990 h 409956"/>
                <a:gd name="connsiteX47" fmla="*/ 176647 w 435959"/>
                <a:gd name="connsiteY47" fmla="*/ 161698 h 409956"/>
                <a:gd name="connsiteX48" fmla="*/ 203412 w 435959"/>
                <a:gd name="connsiteY48" fmla="*/ 113215 h 409956"/>
                <a:gd name="connsiteX49" fmla="*/ 203412 w 435959"/>
                <a:gd name="connsiteY49" fmla="*/ 106072 h 409956"/>
                <a:gd name="connsiteX50" fmla="*/ 275517 w 435959"/>
                <a:gd name="connsiteY50" fmla="*/ 30538 h 409956"/>
                <a:gd name="connsiteX51" fmla="*/ 320093 w 435959"/>
                <a:gd name="connsiteY51" fmla="*/ 45588 h 409956"/>
                <a:gd name="connsiteX52" fmla="*/ 364575 w 435959"/>
                <a:gd name="connsiteY52" fmla="*/ 30538 h 409956"/>
                <a:gd name="connsiteX53" fmla="*/ 436394 w 435959"/>
                <a:gd name="connsiteY53" fmla="*/ 106453 h 409956"/>
                <a:gd name="connsiteX54" fmla="*/ 43487 w 435959"/>
                <a:gd name="connsiteY54" fmla="*/ 188082 h 409956"/>
                <a:gd name="connsiteX55" fmla="*/ 19675 w 435959"/>
                <a:gd name="connsiteY55" fmla="*/ 211894 h 409956"/>
                <a:gd name="connsiteX56" fmla="*/ 19675 w 435959"/>
                <a:gd name="connsiteY56" fmla="*/ 273807 h 409956"/>
                <a:gd name="connsiteX57" fmla="*/ 43487 w 435959"/>
                <a:gd name="connsiteY57" fmla="*/ 297619 h 409956"/>
                <a:gd name="connsiteX58" fmla="*/ 67300 w 435959"/>
                <a:gd name="connsiteY58" fmla="*/ 273807 h 409956"/>
                <a:gd name="connsiteX59" fmla="*/ 67300 w 435959"/>
                <a:gd name="connsiteY59" fmla="*/ 211894 h 409956"/>
                <a:gd name="connsiteX60" fmla="*/ 43487 w 435959"/>
                <a:gd name="connsiteY60" fmla="*/ 188082 h 409956"/>
                <a:gd name="connsiteX61" fmla="*/ 148262 w 435959"/>
                <a:gd name="connsiteY61" fmla="*/ 195225 h 409956"/>
                <a:gd name="connsiteX62" fmla="*/ 148262 w 435959"/>
                <a:gd name="connsiteY62" fmla="*/ 338100 h 409956"/>
                <a:gd name="connsiteX63" fmla="*/ 154168 w 435959"/>
                <a:gd name="connsiteY63" fmla="*/ 338100 h 409956"/>
                <a:gd name="connsiteX64" fmla="*/ 162550 w 435959"/>
                <a:gd name="connsiteY64" fmla="*/ 329814 h 409956"/>
                <a:gd name="connsiteX65" fmla="*/ 162550 w 435959"/>
                <a:gd name="connsiteY65" fmla="*/ 203512 h 409956"/>
                <a:gd name="connsiteX66" fmla="*/ 154168 w 435959"/>
                <a:gd name="connsiteY66" fmla="*/ 195225 h 409956"/>
                <a:gd name="connsiteX67" fmla="*/ 123212 w 435959"/>
                <a:gd name="connsiteY67" fmla="*/ 338100 h 409956"/>
                <a:gd name="connsiteX68" fmla="*/ 129212 w 435959"/>
                <a:gd name="connsiteY68" fmla="*/ 338100 h 409956"/>
                <a:gd name="connsiteX69" fmla="*/ 129212 w 435959"/>
                <a:gd name="connsiteY69" fmla="*/ 195225 h 409956"/>
                <a:gd name="connsiteX70" fmla="*/ 123212 w 435959"/>
                <a:gd name="connsiteY70" fmla="*/ 195225 h 409956"/>
                <a:gd name="connsiteX71" fmla="*/ 114925 w 435959"/>
                <a:gd name="connsiteY71" fmla="*/ 203512 h 409956"/>
                <a:gd name="connsiteX72" fmla="*/ 114925 w 435959"/>
                <a:gd name="connsiteY72" fmla="*/ 329814 h 409956"/>
                <a:gd name="connsiteX73" fmla="*/ 123212 w 435959"/>
                <a:gd name="connsiteY73" fmla="*/ 338100 h 409956"/>
                <a:gd name="connsiteX74" fmla="*/ 233987 w 435959"/>
                <a:gd name="connsiteY74" fmla="*/ 199988 h 409956"/>
                <a:gd name="connsiteX75" fmla="*/ 272087 w 435959"/>
                <a:gd name="connsiteY75" fmla="*/ 161888 h 409956"/>
                <a:gd name="connsiteX76" fmla="*/ 233987 w 435959"/>
                <a:gd name="connsiteY76" fmla="*/ 123788 h 409956"/>
                <a:gd name="connsiteX77" fmla="*/ 219605 w 435959"/>
                <a:gd name="connsiteY77" fmla="*/ 126646 h 409956"/>
                <a:gd name="connsiteX78" fmla="*/ 218081 w 435959"/>
                <a:gd name="connsiteY78" fmla="*/ 127312 h 409956"/>
                <a:gd name="connsiteX79" fmla="*/ 195887 w 435959"/>
                <a:gd name="connsiteY79" fmla="*/ 161888 h 409956"/>
                <a:gd name="connsiteX80" fmla="*/ 233987 w 435959"/>
                <a:gd name="connsiteY80" fmla="*/ 199988 h 409956"/>
                <a:gd name="connsiteX81" fmla="*/ 417344 w 435959"/>
                <a:gd name="connsiteY81" fmla="*/ 106453 h 409956"/>
                <a:gd name="connsiteX82" fmla="*/ 364194 w 435959"/>
                <a:gd name="connsiteY82" fmla="*/ 49969 h 409956"/>
                <a:gd name="connsiteX83" fmla="*/ 326094 w 435959"/>
                <a:gd name="connsiteY83" fmla="*/ 65305 h 409956"/>
                <a:gd name="connsiteX84" fmla="*/ 312854 w 435959"/>
                <a:gd name="connsiteY84" fmla="*/ 65305 h 409956"/>
                <a:gd name="connsiteX85" fmla="*/ 274754 w 435959"/>
                <a:gd name="connsiteY85" fmla="*/ 49874 h 409956"/>
                <a:gd name="connsiteX86" fmla="*/ 221700 w 435959"/>
                <a:gd name="connsiteY86" fmla="*/ 105881 h 409956"/>
                <a:gd name="connsiteX87" fmla="*/ 233606 w 435959"/>
                <a:gd name="connsiteY87" fmla="*/ 104643 h 409956"/>
                <a:gd name="connsiteX88" fmla="*/ 290756 w 435959"/>
                <a:gd name="connsiteY88" fmla="*/ 161793 h 409956"/>
                <a:gd name="connsiteX89" fmla="*/ 279517 w 435959"/>
                <a:gd name="connsiteY89" fmla="*/ 195702 h 409956"/>
                <a:gd name="connsiteX90" fmla="*/ 319331 w 435959"/>
                <a:gd name="connsiteY90" fmla="*/ 225515 h 409956"/>
                <a:gd name="connsiteX91" fmla="*/ 417344 w 435959"/>
                <a:gd name="connsiteY91" fmla="*/ 106453 h 40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35959" h="409956">
                  <a:moveTo>
                    <a:pt x="233987" y="176175"/>
                  </a:moveTo>
                  <a:cubicBezTo>
                    <a:pt x="226101" y="176175"/>
                    <a:pt x="219700" y="169775"/>
                    <a:pt x="219700" y="161888"/>
                  </a:cubicBezTo>
                  <a:cubicBezTo>
                    <a:pt x="219700" y="154002"/>
                    <a:pt x="226101" y="147600"/>
                    <a:pt x="233987" y="147600"/>
                  </a:cubicBezTo>
                  <a:lnTo>
                    <a:pt x="234654" y="147600"/>
                  </a:lnTo>
                  <a:lnTo>
                    <a:pt x="246275" y="135980"/>
                  </a:lnTo>
                  <a:cubicBezTo>
                    <a:pt x="249989" y="132285"/>
                    <a:pt x="255990" y="132285"/>
                    <a:pt x="259705" y="135980"/>
                  </a:cubicBezTo>
                  <a:cubicBezTo>
                    <a:pt x="263401" y="139695"/>
                    <a:pt x="263401" y="145696"/>
                    <a:pt x="259705" y="149410"/>
                  </a:cubicBezTo>
                  <a:lnTo>
                    <a:pt x="248180" y="160840"/>
                  </a:lnTo>
                  <a:cubicBezTo>
                    <a:pt x="248180" y="160840"/>
                    <a:pt x="248180" y="161317"/>
                    <a:pt x="248180" y="161602"/>
                  </a:cubicBezTo>
                  <a:cubicBezTo>
                    <a:pt x="248341" y="169489"/>
                    <a:pt x="242074" y="176014"/>
                    <a:pt x="234178" y="176175"/>
                  </a:cubicBezTo>
                  <a:cubicBezTo>
                    <a:pt x="234121" y="176175"/>
                    <a:pt x="234054" y="176175"/>
                    <a:pt x="233987" y="176175"/>
                  </a:cubicBezTo>
                  <a:close/>
                  <a:moveTo>
                    <a:pt x="436394" y="106453"/>
                  </a:moveTo>
                  <a:cubicBezTo>
                    <a:pt x="436394" y="167794"/>
                    <a:pt x="335905" y="245232"/>
                    <a:pt x="319712" y="245232"/>
                  </a:cubicBezTo>
                  <a:cubicBezTo>
                    <a:pt x="309616" y="245232"/>
                    <a:pt x="281612" y="223039"/>
                    <a:pt x="266182" y="209037"/>
                  </a:cubicBezTo>
                  <a:cubicBezTo>
                    <a:pt x="259410" y="213819"/>
                    <a:pt x="251675" y="217067"/>
                    <a:pt x="243512" y="218562"/>
                  </a:cubicBezTo>
                  <a:lnTo>
                    <a:pt x="243512" y="352769"/>
                  </a:lnTo>
                  <a:cubicBezTo>
                    <a:pt x="243512" y="384335"/>
                    <a:pt x="217928" y="409919"/>
                    <a:pt x="186362" y="409919"/>
                  </a:cubicBezTo>
                  <a:cubicBezTo>
                    <a:pt x="156568" y="410024"/>
                    <a:pt x="131699" y="387221"/>
                    <a:pt x="129212" y="357532"/>
                  </a:cubicBezTo>
                  <a:lnTo>
                    <a:pt x="123021" y="357532"/>
                  </a:lnTo>
                  <a:cubicBezTo>
                    <a:pt x="107924" y="357532"/>
                    <a:pt x="95684" y="345292"/>
                    <a:pt x="95684" y="330195"/>
                  </a:cubicBezTo>
                  <a:lnTo>
                    <a:pt x="95684" y="203512"/>
                  </a:lnTo>
                  <a:cubicBezTo>
                    <a:pt x="95684" y="188415"/>
                    <a:pt x="107924" y="176175"/>
                    <a:pt x="123021" y="176175"/>
                  </a:cubicBezTo>
                  <a:lnTo>
                    <a:pt x="129022" y="176175"/>
                  </a:lnTo>
                  <a:lnTo>
                    <a:pt x="129022" y="57113"/>
                  </a:lnTo>
                  <a:cubicBezTo>
                    <a:pt x="129022" y="36072"/>
                    <a:pt x="111963" y="19013"/>
                    <a:pt x="90922" y="19013"/>
                  </a:cubicBezTo>
                  <a:cubicBezTo>
                    <a:pt x="69881" y="19013"/>
                    <a:pt x="52822" y="36072"/>
                    <a:pt x="52822" y="57113"/>
                  </a:cubicBezTo>
                  <a:lnTo>
                    <a:pt x="52822" y="166650"/>
                  </a:lnTo>
                  <a:cubicBezTo>
                    <a:pt x="52803" y="167794"/>
                    <a:pt x="52574" y="168918"/>
                    <a:pt x="52155" y="169984"/>
                  </a:cubicBezTo>
                  <a:cubicBezTo>
                    <a:pt x="71948" y="174204"/>
                    <a:pt x="86112" y="191663"/>
                    <a:pt x="86159" y="211894"/>
                  </a:cubicBezTo>
                  <a:lnTo>
                    <a:pt x="86159" y="273807"/>
                  </a:lnTo>
                  <a:cubicBezTo>
                    <a:pt x="86112" y="297457"/>
                    <a:pt x="66948" y="316612"/>
                    <a:pt x="43297" y="316669"/>
                  </a:cubicBezTo>
                  <a:cubicBezTo>
                    <a:pt x="19627" y="316669"/>
                    <a:pt x="434" y="297477"/>
                    <a:pt x="434" y="273807"/>
                  </a:cubicBezTo>
                  <a:lnTo>
                    <a:pt x="434" y="211894"/>
                  </a:lnTo>
                  <a:cubicBezTo>
                    <a:pt x="444" y="191644"/>
                    <a:pt x="14627" y="174166"/>
                    <a:pt x="34438" y="169984"/>
                  </a:cubicBezTo>
                  <a:cubicBezTo>
                    <a:pt x="33982" y="168937"/>
                    <a:pt x="33753" y="167794"/>
                    <a:pt x="33772" y="166650"/>
                  </a:cubicBezTo>
                  <a:lnTo>
                    <a:pt x="33772" y="57113"/>
                  </a:lnTo>
                  <a:cubicBezTo>
                    <a:pt x="33772" y="25547"/>
                    <a:pt x="59356" y="-37"/>
                    <a:pt x="90922" y="-37"/>
                  </a:cubicBezTo>
                  <a:cubicBezTo>
                    <a:pt x="122488" y="-37"/>
                    <a:pt x="148072" y="25547"/>
                    <a:pt x="148072" y="57113"/>
                  </a:cubicBezTo>
                  <a:lnTo>
                    <a:pt x="148072" y="176175"/>
                  </a:lnTo>
                  <a:lnTo>
                    <a:pt x="153977" y="176175"/>
                  </a:lnTo>
                  <a:cubicBezTo>
                    <a:pt x="169094" y="176175"/>
                    <a:pt x="181352" y="188396"/>
                    <a:pt x="181409" y="203512"/>
                  </a:cubicBezTo>
                  <a:lnTo>
                    <a:pt x="181409" y="329814"/>
                  </a:lnTo>
                  <a:cubicBezTo>
                    <a:pt x="181352" y="344930"/>
                    <a:pt x="169094" y="357150"/>
                    <a:pt x="153977" y="357150"/>
                  </a:cubicBezTo>
                  <a:lnTo>
                    <a:pt x="148548" y="357150"/>
                  </a:lnTo>
                  <a:cubicBezTo>
                    <a:pt x="150939" y="376134"/>
                    <a:pt x="167036" y="390403"/>
                    <a:pt x="186172" y="390488"/>
                  </a:cubicBezTo>
                  <a:cubicBezTo>
                    <a:pt x="207213" y="390488"/>
                    <a:pt x="224272" y="373429"/>
                    <a:pt x="224272" y="352388"/>
                  </a:cubicBezTo>
                  <a:lnTo>
                    <a:pt x="224272" y="217990"/>
                  </a:lnTo>
                  <a:cubicBezTo>
                    <a:pt x="196792" y="213342"/>
                    <a:pt x="176675" y="189568"/>
                    <a:pt x="176647" y="161698"/>
                  </a:cubicBezTo>
                  <a:cubicBezTo>
                    <a:pt x="176618" y="142010"/>
                    <a:pt x="186734" y="123683"/>
                    <a:pt x="203412" y="113215"/>
                  </a:cubicBezTo>
                  <a:cubicBezTo>
                    <a:pt x="203279" y="110834"/>
                    <a:pt x="203279" y="108453"/>
                    <a:pt x="203412" y="106072"/>
                  </a:cubicBezTo>
                  <a:cubicBezTo>
                    <a:pt x="203412" y="60828"/>
                    <a:pt x="231987" y="30538"/>
                    <a:pt x="275517" y="30538"/>
                  </a:cubicBezTo>
                  <a:cubicBezTo>
                    <a:pt x="291623" y="30510"/>
                    <a:pt x="307301" y="35796"/>
                    <a:pt x="320093" y="45588"/>
                  </a:cubicBezTo>
                  <a:cubicBezTo>
                    <a:pt x="332847" y="35787"/>
                    <a:pt x="348487" y="30491"/>
                    <a:pt x="364575" y="30538"/>
                  </a:cubicBezTo>
                  <a:cubicBezTo>
                    <a:pt x="407342" y="30919"/>
                    <a:pt x="436394" y="61209"/>
                    <a:pt x="436394" y="106453"/>
                  </a:cubicBezTo>
                  <a:close/>
                  <a:moveTo>
                    <a:pt x="43487" y="188082"/>
                  </a:moveTo>
                  <a:cubicBezTo>
                    <a:pt x="30333" y="188082"/>
                    <a:pt x="19675" y="198740"/>
                    <a:pt x="19675" y="211894"/>
                  </a:cubicBezTo>
                  <a:lnTo>
                    <a:pt x="19675" y="273807"/>
                  </a:lnTo>
                  <a:cubicBezTo>
                    <a:pt x="19675" y="286961"/>
                    <a:pt x="30333" y="297619"/>
                    <a:pt x="43487" y="297619"/>
                  </a:cubicBezTo>
                  <a:cubicBezTo>
                    <a:pt x="56613" y="297562"/>
                    <a:pt x="67252" y="286932"/>
                    <a:pt x="67300" y="273807"/>
                  </a:cubicBezTo>
                  <a:lnTo>
                    <a:pt x="67300" y="211894"/>
                  </a:lnTo>
                  <a:cubicBezTo>
                    <a:pt x="67252" y="198769"/>
                    <a:pt x="56613" y="188129"/>
                    <a:pt x="43487" y="188082"/>
                  </a:cubicBezTo>
                  <a:close/>
                  <a:moveTo>
                    <a:pt x="148262" y="195225"/>
                  </a:moveTo>
                  <a:lnTo>
                    <a:pt x="148262" y="338100"/>
                  </a:lnTo>
                  <a:lnTo>
                    <a:pt x="154168" y="338100"/>
                  </a:lnTo>
                  <a:cubicBezTo>
                    <a:pt x="158759" y="338100"/>
                    <a:pt x="162502" y="334405"/>
                    <a:pt x="162550" y="329814"/>
                  </a:cubicBezTo>
                  <a:lnTo>
                    <a:pt x="162550" y="203512"/>
                  </a:lnTo>
                  <a:cubicBezTo>
                    <a:pt x="162502" y="198921"/>
                    <a:pt x="158759" y="195225"/>
                    <a:pt x="154168" y="195225"/>
                  </a:cubicBezTo>
                  <a:close/>
                  <a:moveTo>
                    <a:pt x="123212" y="338100"/>
                  </a:moveTo>
                  <a:lnTo>
                    <a:pt x="129212" y="338100"/>
                  </a:lnTo>
                  <a:lnTo>
                    <a:pt x="129212" y="195225"/>
                  </a:lnTo>
                  <a:lnTo>
                    <a:pt x="123212" y="195225"/>
                  </a:lnTo>
                  <a:cubicBezTo>
                    <a:pt x="118630" y="195225"/>
                    <a:pt x="114925" y="198940"/>
                    <a:pt x="114925" y="203512"/>
                  </a:cubicBezTo>
                  <a:lnTo>
                    <a:pt x="114925" y="329814"/>
                  </a:lnTo>
                  <a:cubicBezTo>
                    <a:pt x="114925" y="334386"/>
                    <a:pt x="118640" y="338100"/>
                    <a:pt x="123212" y="338100"/>
                  </a:cubicBezTo>
                  <a:close/>
                  <a:moveTo>
                    <a:pt x="233987" y="199988"/>
                  </a:moveTo>
                  <a:cubicBezTo>
                    <a:pt x="255028" y="199988"/>
                    <a:pt x="272087" y="182929"/>
                    <a:pt x="272087" y="161888"/>
                  </a:cubicBezTo>
                  <a:cubicBezTo>
                    <a:pt x="272087" y="140847"/>
                    <a:pt x="255028" y="123788"/>
                    <a:pt x="233987" y="123788"/>
                  </a:cubicBezTo>
                  <a:cubicBezTo>
                    <a:pt x="229053" y="123798"/>
                    <a:pt x="224167" y="124769"/>
                    <a:pt x="219605" y="126646"/>
                  </a:cubicBezTo>
                  <a:lnTo>
                    <a:pt x="218081" y="127312"/>
                  </a:lnTo>
                  <a:cubicBezTo>
                    <a:pt x="204574" y="133523"/>
                    <a:pt x="195907" y="147020"/>
                    <a:pt x="195887" y="161888"/>
                  </a:cubicBezTo>
                  <a:cubicBezTo>
                    <a:pt x="195887" y="182929"/>
                    <a:pt x="212947" y="199988"/>
                    <a:pt x="233987" y="199988"/>
                  </a:cubicBezTo>
                  <a:close/>
                  <a:moveTo>
                    <a:pt x="417344" y="106453"/>
                  </a:moveTo>
                  <a:cubicBezTo>
                    <a:pt x="417344" y="71591"/>
                    <a:pt x="396960" y="49969"/>
                    <a:pt x="364194" y="49969"/>
                  </a:cubicBezTo>
                  <a:cubicBezTo>
                    <a:pt x="349983" y="49903"/>
                    <a:pt x="336305" y="55408"/>
                    <a:pt x="326094" y="65305"/>
                  </a:cubicBezTo>
                  <a:cubicBezTo>
                    <a:pt x="322399" y="68877"/>
                    <a:pt x="316550" y="68877"/>
                    <a:pt x="312854" y="65305"/>
                  </a:cubicBezTo>
                  <a:cubicBezTo>
                    <a:pt x="302682" y="55342"/>
                    <a:pt x="288994" y="49798"/>
                    <a:pt x="274754" y="49874"/>
                  </a:cubicBezTo>
                  <a:cubicBezTo>
                    <a:pt x="242179" y="49874"/>
                    <a:pt x="221891" y="71305"/>
                    <a:pt x="221700" y="105881"/>
                  </a:cubicBezTo>
                  <a:cubicBezTo>
                    <a:pt x="225615" y="105081"/>
                    <a:pt x="229606" y="104662"/>
                    <a:pt x="233606" y="104643"/>
                  </a:cubicBezTo>
                  <a:cubicBezTo>
                    <a:pt x="265172" y="104643"/>
                    <a:pt x="290756" y="130227"/>
                    <a:pt x="290756" y="161793"/>
                  </a:cubicBezTo>
                  <a:cubicBezTo>
                    <a:pt x="290728" y="174004"/>
                    <a:pt x="286794" y="185891"/>
                    <a:pt x="279517" y="195702"/>
                  </a:cubicBezTo>
                  <a:cubicBezTo>
                    <a:pt x="291690" y="207027"/>
                    <a:pt x="305034" y="217019"/>
                    <a:pt x="319331" y="225515"/>
                  </a:cubicBezTo>
                  <a:cubicBezTo>
                    <a:pt x="336762" y="217229"/>
                    <a:pt x="417344" y="155030"/>
                    <a:pt x="417344" y="106453"/>
                  </a:cubicBezTo>
                  <a:close/>
                </a:path>
              </a:pathLst>
            </a:custGeom>
            <a:solidFill>
              <a:schemeClr val="accent1"/>
            </a:solidFill>
            <a:ln w="9525"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nvGrpSpPr>
          <p:cNvPr id="4" name="Group 3">
            <a:extLst>
              <a:ext uri="{FF2B5EF4-FFF2-40B4-BE49-F238E27FC236}">
                <a16:creationId xmlns:a16="http://schemas.microsoft.com/office/drawing/2014/main" id="{B9752E3D-8787-4FB2-D7E0-D2B42ADC130E}"/>
              </a:ext>
            </a:extLst>
          </p:cNvPr>
          <p:cNvGrpSpPr/>
          <p:nvPr/>
        </p:nvGrpSpPr>
        <p:grpSpPr>
          <a:xfrm>
            <a:off x="973225" y="2540461"/>
            <a:ext cx="3608095" cy="2727489"/>
            <a:chOff x="977415" y="2186512"/>
            <a:chExt cx="3608095" cy="2727489"/>
          </a:xfrm>
        </p:grpSpPr>
        <p:sp>
          <p:nvSpPr>
            <p:cNvPr id="168" name="Rectangle: Rounded Corners 167">
              <a:extLst>
                <a:ext uri="{FF2B5EF4-FFF2-40B4-BE49-F238E27FC236}">
                  <a16:creationId xmlns:a16="http://schemas.microsoft.com/office/drawing/2014/main" id="{5EC223D4-61BA-4F22-F7CC-886D54D16BC8}"/>
                </a:ext>
              </a:extLst>
            </p:cNvPr>
            <p:cNvSpPr/>
            <p:nvPr/>
          </p:nvSpPr>
          <p:spPr>
            <a:xfrm>
              <a:off x="977415" y="2186512"/>
              <a:ext cx="2105144" cy="2727489"/>
            </a:xfrm>
            <a:prstGeom prst="roundRect">
              <a:avLst>
                <a:gd name="adj" fmla="val 5129"/>
              </a:avLst>
            </a:prstGeom>
            <a:noFill/>
            <a:ln w="2857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69" name="Freeform: Shape 168">
              <a:extLst>
                <a:ext uri="{FF2B5EF4-FFF2-40B4-BE49-F238E27FC236}">
                  <a16:creationId xmlns:a16="http://schemas.microsoft.com/office/drawing/2014/main" id="{4DB090D3-3992-2E6E-CDB4-58E4EE50B46E}"/>
                </a:ext>
              </a:extLst>
            </p:cNvPr>
            <p:cNvSpPr/>
            <p:nvPr/>
          </p:nvSpPr>
          <p:spPr>
            <a:xfrm>
              <a:off x="1715475" y="2706651"/>
              <a:ext cx="2870035" cy="1105610"/>
            </a:xfrm>
            <a:custGeom>
              <a:avLst/>
              <a:gdLst>
                <a:gd name="connsiteX0" fmla="*/ 712289 w 998420"/>
                <a:gd name="connsiteY0" fmla="*/ 0 h 714089"/>
                <a:gd name="connsiteX1" fmla="*/ 998420 w 998420"/>
                <a:gd name="connsiteY1" fmla="*/ 353378 h 714089"/>
                <a:gd name="connsiteX2" fmla="*/ 998420 w 998420"/>
                <a:gd name="connsiteY2" fmla="*/ 360712 h 714089"/>
                <a:gd name="connsiteX3" fmla="*/ 712289 w 998420"/>
                <a:gd name="connsiteY3" fmla="*/ 714089 h 714089"/>
                <a:gd name="connsiteX4" fmla="*/ 712289 w 998420"/>
                <a:gd name="connsiteY4" fmla="*/ 504457 h 714089"/>
                <a:gd name="connsiteX5" fmla="*/ 51901 w 998420"/>
                <a:gd name="connsiteY5" fmla="*/ 504457 h 714089"/>
                <a:gd name="connsiteX6" fmla="*/ 0 w 998420"/>
                <a:gd name="connsiteY6" fmla="*/ 452556 h 714089"/>
                <a:gd name="connsiteX7" fmla="*/ 0 w 998420"/>
                <a:gd name="connsiteY7" fmla="*/ 244958 h 714089"/>
                <a:gd name="connsiteX8" fmla="*/ 51901 w 998420"/>
                <a:gd name="connsiteY8" fmla="*/ 193057 h 714089"/>
                <a:gd name="connsiteX9" fmla="*/ 712289 w 998420"/>
                <a:gd name="connsiteY9" fmla="*/ 193057 h 71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8420" h="714089">
                  <a:moveTo>
                    <a:pt x="712289" y="0"/>
                  </a:moveTo>
                  <a:lnTo>
                    <a:pt x="998420" y="353378"/>
                  </a:lnTo>
                  <a:lnTo>
                    <a:pt x="998420" y="360712"/>
                  </a:lnTo>
                  <a:lnTo>
                    <a:pt x="712289" y="714089"/>
                  </a:lnTo>
                  <a:lnTo>
                    <a:pt x="712289" y="504457"/>
                  </a:lnTo>
                  <a:lnTo>
                    <a:pt x="51901" y="504457"/>
                  </a:lnTo>
                  <a:cubicBezTo>
                    <a:pt x="23237" y="504457"/>
                    <a:pt x="0" y="481220"/>
                    <a:pt x="0" y="452556"/>
                  </a:cubicBezTo>
                  <a:lnTo>
                    <a:pt x="0" y="244958"/>
                  </a:lnTo>
                  <a:cubicBezTo>
                    <a:pt x="0" y="216294"/>
                    <a:pt x="23237" y="193057"/>
                    <a:pt x="51901" y="193057"/>
                  </a:cubicBezTo>
                  <a:lnTo>
                    <a:pt x="712289" y="193057"/>
                  </a:lnTo>
                  <a:close/>
                </a:path>
              </a:pathLst>
            </a:custGeom>
            <a:solidFill>
              <a:schemeClr val="tx2">
                <a:lumMod val="10000"/>
                <a:lumOff val="90000"/>
              </a:schemeClr>
            </a:solidFill>
            <a:ln w="2857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284" name="Oval 283">
              <a:extLst>
                <a:ext uri="{FF2B5EF4-FFF2-40B4-BE49-F238E27FC236}">
                  <a16:creationId xmlns:a16="http://schemas.microsoft.com/office/drawing/2014/main" id="{970ECB5E-3AF5-843D-58FA-921E31E84FFC}"/>
                </a:ext>
              </a:extLst>
            </p:cNvPr>
            <p:cNvSpPr/>
            <p:nvPr/>
          </p:nvSpPr>
          <p:spPr>
            <a:xfrm>
              <a:off x="1546508" y="2695907"/>
              <a:ext cx="1048625" cy="104862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285" name="Rounded Rectangle 10">
              <a:extLst>
                <a:ext uri="{FF2B5EF4-FFF2-40B4-BE49-F238E27FC236}">
                  <a16:creationId xmlns:a16="http://schemas.microsoft.com/office/drawing/2014/main" id="{096596D3-9BA0-2C47-075B-6128FE9592F7}"/>
                </a:ext>
              </a:extLst>
            </p:cNvPr>
            <p:cNvSpPr/>
            <p:nvPr/>
          </p:nvSpPr>
          <p:spPr>
            <a:xfrm>
              <a:off x="1667219" y="3960536"/>
              <a:ext cx="1160708" cy="4780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Body</a:t>
              </a:r>
              <a:br>
                <a:rPr kumimoji="0" lang="en-GB" sz="20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br>
              <a:r>
                <a:rPr kumimoji="0" lang="en-GB" sz="20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rPr>
                <a:t>weight</a:t>
              </a:r>
              <a:endParaRPr kumimoji="0" lang="en-GB" sz="20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mn-cs"/>
              </a:endParaRPr>
            </a:p>
          </p:txBody>
        </p:sp>
        <p:sp>
          <p:nvSpPr>
            <p:cNvPr id="286" name="Up Arrow 7">
              <a:extLst>
                <a:ext uri="{FF2B5EF4-FFF2-40B4-BE49-F238E27FC236}">
                  <a16:creationId xmlns:a16="http://schemas.microsoft.com/office/drawing/2014/main" id="{6A196184-2B01-BAE1-3C0C-CD8BE0B08B09}"/>
                </a:ext>
              </a:extLst>
            </p:cNvPr>
            <p:cNvSpPr/>
            <p:nvPr/>
          </p:nvSpPr>
          <p:spPr>
            <a:xfrm flipV="1">
              <a:off x="1179645" y="3883254"/>
              <a:ext cx="406194" cy="598395"/>
            </a:xfrm>
            <a:prstGeom prst="upArrow">
              <a:avLst>
                <a:gd name="adj1" fmla="val 61474"/>
                <a:gd name="adj2" fmla="val 59168"/>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pis For Office"/>
                <a:ea typeface="+mn-ea"/>
                <a:cs typeface="+mn-cs"/>
              </a:endParaRPr>
            </a:p>
          </p:txBody>
        </p:sp>
        <p:grpSp>
          <p:nvGrpSpPr>
            <p:cNvPr id="279" name="Group 278">
              <a:extLst>
                <a:ext uri="{FF2B5EF4-FFF2-40B4-BE49-F238E27FC236}">
                  <a16:creationId xmlns:a16="http://schemas.microsoft.com/office/drawing/2014/main" id="{0296E003-7B6D-3565-6F22-313753F1D3F3}"/>
                </a:ext>
              </a:extLst>
            </p:cNvPr>
            <p:cNvGrpSpPr/>
            <p:nvPr/>
          </p:nvGrpSpPr>
          <p:grpSpPr>
            <a:xfrm>
              <a:off x="1709641" y="2913358"/>
              <a:ext cx="722358" cy="613724"/>
              <a:chOff x="10266264" y="1895657"/>
              <a:chExt cx="842004" cy="715378"/>
            </a:xfrm>
            <a:solidFill>
              <a:schemeClr val="bg1"/>
            </a:solidFill>
            <a:effectLst/>
          </p:grpSpPr>
          <p:sp>
            <p:nvSpPr>
              <p:cNvPr id="280" name="Freeform: Shape 279">
                <a:extLst>
                  <a:ext uri="{FF2B5EF4-FFF2-40B4-BE49-F238E27FC236}">
                    <a16:creationId xmlns:a16="http://schemas.microsoft.com/office/drawing/2014/main" id="{924A481F-806D-8160-9666-D726C06AC62C}"/>
                  </a:ext>
                </a:extLst>
              </p:cNvPr>
              <p:cNvSpPr/>
              <p:nvPr/>
            </p:nvSpPr>
            <p:spPr>
              <a:xfrm>
                <a:off x="10266264" y="1895657"/>
                <a:ext cx="842004" cy="715378"/>
              </a:xfrm>
              <a:custGeom>
                <a:avLst/>
                <a:gdLst>
                  <a:gd name="connsiteX0" fmla="*/ 748169 w 842004"/>
                  <a:gd name="connsiteY0" fmla="*/ 715379 h 715378"/>
                  <a:gd name="connsiteX1" fmla="*/ 93836 w 842004"/>
                  <a:gd name="connsiteY1" fmla="*/ 715379 h 715378"/>
                  <a:gd name="connsiteX2" fmla="*/ 64267 w 842004"/>
                  <a:gd name="connsiteY2" fmla="*/ 688671 h 715378"/>
                  <a:gd name="connsiteX3" fmla="*/ 360 w 842004"/>
                  <a:gd name="connsiteY3" fmla="*/ 71538 h 715378"/>
                  <a:gd name="connsiteX4" fmla="*/ 16575 w 842004"/>
                  <a:gd name="connsiteY4" fmla="*/ 22892 h 715378"/>
                  <a:gd name="connsiteX5" fmla="*/ 68082 w 842004"/>
                  <a:gd name="connsiteY5" fmla="*/ 0 h 715378"/>
                  <a:gd name="connsiteX6" fmla="*/ 773922 w 842004"/>
                  <a:gd name="connsiteY6" fmla="*/ 0 h 715378"/>
                  <a:gd name="connsiteX7" fmla="*/ 825429 w 842004"/>
                  <a:gd name="connsiteY7" fmla="*/ 22892 h 715378"/>
                  <a:gd name="connsiteX8" fmla="*/ 841645 w 842004"/>
                  <a:gd name="connsiteY8" fmla="*/ 71538 h 715378"/>
                  <a:gd name="connsiteX9" fmla="*/ 776784 w 842004"/>
                  <a:gd name="connsiteY9" fmla="*/ 687717 h 715378"/>
                  <a:gd name="connsiteX10" fmla="*/ 776784 w 842004"/>
                  <a:gd name="connsiteY10" fmla="*/ 687717 h 715378"/>
                  <a:gd name="connsiteX11" fmla="*/ 748169 w 842004"/>
                  <a:gd name="connsiteY11" fmla="*/ 715379 h 715378"/>
                  <a:gd name="connsiteX12" fmla="*/ 739584 w 842004"/>
                  <a:gd name="connsiteY12" fmla="*/ 684856 h 715378"/>
                  <a:gd name="connsiteX13" fmla="*/ 739584 w 842004"/>
                  <a:gd name="connsiteY13" fmla="*/ 684856 h 715378"/>
                  <a:gd name="connsiteX14" fmla="*/ 739584 w 842004"/>
                  <a:gd name="connsiteY14" fmla="*/ 684856 h 715378"/>
                  <a:gd name="connsiteX15" fmla="*/ 101466 w 842004"/>
                  <a:gd name="connsiteY15" fmla="*/ 677225 h 715378"/>
                  <a:gd name="connsiteX16" fmla="*/ 739584 w 842004"/>
                  <a:gd name="connsiteY16" fmla="*/ 677225 h 715378"/>
                  <a:gd name="connsiteX17" fmla="*/ 803491 w 842004"/>
                  <a:gd name="connsiteY17" fmla="*/ 68676 h 715378"/>
                  <a:gd name="connsiteX18" fmla="*/ 796814 w 842004"/>
                  <a:gd name="connsiteY18" fmla="*/ 49600 h 715378"/>
                  <a:gd name="connsiteX19" fmla="*/ 773922 w 842004"/>
                  <a:gd name="connsiteY19" fmla="*/ 40061 h 715378"/>
                  <a:gd name="connsiteX20" fmla="*/ 68082 w 842004"/>
                  <a:gd name="connsiteY20" fmla="*/ 40061 h 715378"/>
                  <a:gd name="connsiteX21" fmla="*/ 45190 w 842004"/>
                  <a:gd name="connsiteY21" fmla="*/ 49600 h 715378"/>
                  <a:gd name="connsiteX22" fmla="*/ 38513 w 842004"/>
                  <a:gd name="connsiteY22" fmla="*/ 68676 h 715378"/>
                  <a:gd name="connsiteX23" fmla="*/ 101466 w 842004"/>
                  <a:gd name="connsiteY23" fmla="*/ 677225 h 7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004" h="715378">
                    <a:moveTo>
                      <a:pt x="748169" y="715379"/>
                    </a:moveTo>
                    <a:lnTo>
                      <a:pt x="93836" y="715379"/>
                    </a:lnTo>
                    <a:cubicBezTo>
                      <a:pt x="78574" y="715379"/>
                      <a:pt x="66174" y="703933"/>
                      <a:pt x="64267" y="688671"/>
                    </a:cubicBezTo>
                    <a:lnTo>
                      <a:pt x="360" y="71538"/>
                    </a:lnTo>
                    <a:cubicBezTo>
                      <a:pt x="-1548" y="53415"/>
                      <a:pt x="4175" y="36246"/>
                      <a:pt x="16575" y="22892"/>
                    </a:cubicBezTo>
                    <a:cubicBezTo>
                      <a:pt x="29929" y="8585"/>
                      <a:pt x="48051" y="0"/>
                      <a:pt x="68082" y="0"/>
                    </a:cubicBezTo>
                    <a:lnTo>
                      <a:pt x="773922" y="0"/>
                    </a:lnTo>
                    <a:cubicBezTo>
                      <a:pt x="793953" y="0"/>
                      <a:pt x="812076" y="8585"/>
                      <a:pt x="825429" y="22892"/>
                    </a:cubicBezTo>
                    <a:cubicBezTo>
                      <a:pt x="837829" y="36246"/>
                      <a:pt x="843552" y="54369"/>
                      <a:pt x="841645" y="71538"/>
                    </a:cubicBezTo>
                    <a:lnTo>
                      <a:pt x="776784" y="687717"/>
                    </a:lnTo>
                    <a:lnTo>
                      <a:pt x="776784" y="687717"/>
                    </a:lnTo>
                    <a:cubicBezTo>
                      <a:pt x="775830" y="702979"/>
                      <a:pt x="762476" y="715379"/>
                      <a:pt x="748169" y="715379"/>
                    </a:cubicBezTo>
                    <a:close/>
                    <a:moveTo>
                      <a:pt x="739584" y="684856"/>
                    </a:moveTo>
                    <a:cubicBezTo>
                      <a:pt x="739584" y="684856"/>
                      <a:pt x="739584" y="684856"/>
                      <a:pt x="739584" y="684856"/>
                    </a:cubicBezTo>
                    <a:lnTo>
                      <a:pt x="739584" y="684856"/>
                    </a:lnTo>
                    <a:close/>
                    <a:moveTo>
                      <a:pt x="101466" y="677225"/>
                    </a:moveTo>
                    <a:lnTo>
                      <a:pt x="739584" y="677225"/>
                    </a:lnTo>
                    <a:lnTo>
                      <a:pt x="803491" y="68676"/>
                    </a:lnTo>
                    <a:cubicBezTo>
                      <a:pt x="804445" y="61999"/>
                      <a:pt x="801584" y="54369"/>
                      <a:pt x="796814" y="49600"/>
                    </a:cubicBezTo>
                    <a:cubicBezTo>
                      <a:pt x="791091" y="42923"/>
                      <a:pt x="782507" y="40061"/>
                      <a:pt x="773922" y="40061"/>
                    </a:cubicBezTo>
                    <a:lnTo>
                      <a:pt x="68082" y="40061"/>
                    </a:lnTo>
                    <a:cubicBezTo>
                      <a:pt x="59498" y="40061"/>
                      <a:pt x="50913" y="43877"/>
                      <a:pt x="45190" y="49600"/>
                    </a:cubicBezTo>
                    <a:cubicBezTo>
                      <a:pt x="40421" y="55323"/>
                      <a:pt x="37559" y="61999"/>
                      <a:pt x="38513" y="68676"/>
                    </a:cubicBezTo>
                    <a:lnTo>
                      <a:pt x="101466" y="6772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281" name="Freeform: Shape 280">
                <a:extLst>
                  <a:ext uri="{FF2B5EF4-FFF2-40B4-BE49-F238E27FC236}">
                    <a16:creationId xmlns:a16="http://schemas.microsoft.com/office/drawing/2014/main" id="{0FD08891-0CD0-94F7-7145-8CF31F43FEBE}"/>
                  </a:ext>
                </a:extLst>
              </p:cNvPr>
              <p:cNvSpPr/>
              <p:nvPr/>
            </p:nvSpPr>
            <p:spPr>
              <a:xfrm>
                <a:off x="10506037" y="1981503"/>
                <a:ext cx="387258" cy="177413"/>
              </a:xfrm>
              <a:custGeom>
                <a:avLst/>
                <a:gdLst>
                  <a:gd name="connsiteX0" fmla="*/ 387258 w 387258"/>
                  <a:gd name="connsiteY0" fmla="*/ 177414 h 177413"/>
                  <a:gd name="connsiteX1" fmla="*/ 0 w 387258"/>
                  <a:gd name="connsiteY1" fmla="*/ 177414 h 177413"/>
                  <a:gd name="connsiteX2" fmla="*/ 0 w 387258"/>
                  <a:gd name="connsiteY2" fmla="*/ 158337 h 177413"/>
                  <a:gd name="connsiteX3" fmla="*/ 193629 w 387258"/>
                  <a:gd name="connsiteY3" fmla="*/ 0 h 177413"/>
                  <a:gd name="connsiteX4" fmla="*/ 387258 w 387258"/>
                  <a:gd name="connsiteY4" fmla="*/ 158337 h 177413"/>
                  <a:gd name="connsiteX5" fmla="*/ 387258 w 387258"/>
                  <a:gd name="connsiteY5" fmla="*/ 177414 h 177413"/>
                  <a:gd name="connsiteX6" fmla="*/ 40061 w 387258"/>
                  <a:gd name="connsiteY6" fmla="*/ 139260 h 177413"/>
                  <a:gd name="connsiteX7" fmla="*/ 347197 w 387258"/>
                  <a:gd name="connsiteY7" fmla="*/ 139260 h 177413"/>
                  <a:gd name="connsiteX8" fmla="*/ 193629 w 387258"/>
                  <a:gd name="connsiteY8" fmla="*/ 38154 h 177413"/>
                  <a:gd name="connsiteX9" fmla="*/ 40061 w 387258"/>
                  <a:gd name="connsiteY9" fmla="*/ 139260 h 17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258" h="177413">
                    <a:moveTo>
                      <a:pt x="387258" y="177414"/>
                    </a:moveTo>
                    <a:lnTo>
                      <a:pt x="0" y="177414"/>
                    </a:lnTo>
                    <a:lnTo>
                      <a:pt x="0" y="158337"/>
                    </a:lnTo>
                    <a:cubicBezTo>
                      <a:pt x="0" y="70584"/>
                      <a:pt x="86799" y="0"/>
                      <a:pt x="193629" y="0"/>
                    </a:cubicBezTo>
                    <a:cubicBezTo>
                      <a:pt x="300459" y="0"/>
                      <a:pt x="387258" y="71538"/>
                      <a:pt x="387258" y="158337"/>
                    </a:cubicBezTo>
                    <a:lnTo>
                      <a:pt x="387258" y="177414"/>
                    </a:lnTo>
                    <a:close/>
                    <a:moveTo>
                      <a:pt x="40061" y="139260"/>
                    </a:moveTo>
                    <a:lnTo>
                      <a:pt x="347197" y="139260"/>
                    </a:lnTo>
                    <a:cubicBezTo>
                      <a:pt x="335751" y="82030"/>
                      <a:pt x="270890" y="38154"/>
                      <a:pt x="193629" y="38154"/>
                    </a:cubicBezTo>
                    <a:cubicBezTo>
                      <a:pt x="116368" y="38154"/>
                      <a:pt x="51507" y="82030"/>
                      <a:pt x="40061" y="1392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282" name="Freeform: Shape 281">
                <a:extLst>
                  <a:ext uri="{FF2B5EF4-FFF2-40B4-BE49-F238E27FC236}">
                    <a16:creationId xmlns:a16="http://schemas.microsoft.com/office/drawing/2014/main" id="{82937132-FBE3-69E5-3E3C-8478DF2C2BA6}"/>
                  </a:ext>
                </a:extLst>
              </p:cNvPr>
              <p:cNvSpPr/>
              <p:nvPr/>
            </p:nvSpPr>
            <p:spPr>
              <a:xfrm>
                <a:off x="10645438" y="2042689"/>
                <a:ext cx="83657" cy="116227"/>
              </a:xfrm>
              <a:custGeom>
                <a:avLst/>
                <a:gdLst>
                  <a:gd name="connsiteX0" fmla="*/ 64721 w 83657"/>
                  <a:gd name="connsiteY0" fmla="*/ 116228 h 116227"/>
                  <a:gd name="connsiteX1" fmla="*/ 48505 w 83657"/>
                  <a:gd name="connsiteY1" fmla="*/ 106690 h 116227"/>
                  <a:gd name="connsiteX2" fmla="*/ 2721 w 83657"/>
                  <a:gd name="connsiteY2" fmla="*/ 28475 h 116227"/>
                  <a:gd name="connsiteX3" fmla="*/ 9398 w 83657"/>
                  <a:gd name="connsiteY3" fmla="*/ 2721 h 116227"/>
                  <a:gd name="connsiteX4" fmla="*/ 35152 w 83657"/>
                  <a:gd name="connsiteY4" fmla="*/ 9398 h 116227"/>
                  <a:gd name="connsiteX5" fmla="*/ 80936 w 83657"/>
                  <a:gd name="connsiteY5" fmla="*/ 87613 h 116227"/>
                  <a:gd name="connsiteX6" fmla="*/ 74259 w 83657"/>
                  <a:gd name="connsiteY6" fmla="*/ 113366 h 116227"/>
                  <a:gd name="connsiteX7" fmla="*/ 64721 w 83657"/>
                  <a:gd name="connsiteY7" fmla="*/ 116228 h 11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657" h="116227">
                    <a:moveTo>
                      <a:pt x="64721" y="116228"/>
                    </a:moveTo>
                    <a:cubicBezTo>
                      <a:pt x="58044" y="116228"/>
                      <a:pt x="51367" y="112413"/>
                      <a:pt x="48505" y="106690"/>
                    </a:cubicBezTo>
                    <a:lnTo>
                      <a:pt x="2721" y="28475"/>
                    </a:lnTo>
                    <a:cubicBezTo>
                      <a:pt x="-3002" y="18937"/>
                      <a:pt x="814" y="7490"/>
                      <a:pt x="9398" y="2721"/>
                    </a:cubicBezTo>
                    <a:cubicBezTo>
                      <a:pt x="18936" y="-3002"/>
                      <a:pt x="30383" y="814"/>
                      <a:pt x="35152" y="9398"/>
                    </a:cubicBezTo>
                    <a:lnTo>
                      <a:pt x="80936" y="87613"/>
                    </a:lnTo>
                    <a:cubicBezTo>
                      <a:pt x="86659" y="97151"/>
                      <a:pt x="82844" y="108597"/>
                      <a:pt x="74259" y="113366"/>
                    </a:cubicBezTo>
                    <a:cubicBezTo>
                      <a:pt x="71398" y="116228"/>
                      <a:pt x="67582" y="116228"/>
                      <a:pt x="64721" y="1162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grpSp>
        <p:nvGrpSpPr>
          <p:cNvPr id="22" name="Group 21">
            <a:extLst>
              <a:ext uri="{FF2B5EF4-FFF2-40B4-BE49-F238E27FC236}">
                <a16:creationId xmlns:a16="http://schemas.microsoft.com/office/drawing/2014/main" id="{12A693C6-1636-FDF1-C683-2A4A49AB253D}"/>
              </a:ext>
            </a:extLst>
          </p:cNvPr>
          <p:cNvGrpSpPr/>
          <p:nvPr/>
        </p:nvGrpSpPr>
        <p:grpSpPr>
          <a:xfrm>
            <a:off x="9442776" y="2412524"/>
            <a:ext cx="767420" cy="767420"/>
            <a:chOff x="9442776" y="2391093"/>
            <a:chExt cx="767420" cy="767420"/>
          </a:xfrm>
        </p:grpSpPr>
        <p:sp>
          <p:nvSpPr>
            <p:cNvPr id="52" name="Oval 51">
              <a:extLst>
                <a:ext uri="{FF2B5EF4-FFF2-40B4-BE49-F238E27FC236}">
                  <a16:creationId xmlns:a16="http://schemas.microsoft.com/office/drawing/2014/main" id="{37500C01-D2CA-499A-8365-37A652B5036F}"/>
                </a:ext>
              </a:extLst>
            </p:cNvPr>
            <p:cNvSpPr>
              <a:spLocks/>
            </p:cNvSpPr>
            <p:nvPr/>
          </p:nvSpPr>
          <p:spPr>
            <a:xfrm>
              <a:off x="9442776" y="2391093"/>
              <a:ext cx="767420" cy="767420"/>
            </a:xfrm>
            <a:prstGeom prst="ellipse">
              <a:avLst/>
            </a:prstGeom>
            <a:solidFill>
              <a:schemeClr val="accent5">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17" name="Graphic 27">
              <a:extLst>
                <a:ext uri="{FF2B5EF4-FFF2-40B4-BE49-F238E27FC236}">
                  <a16:creationId xmlns:a16="http://schemas.microsoft.com/office/drawing/2014/main" id="{9F887D20-A189-1836-3E00-341159F09A3E}"/>
                </a:ext>
              </a:extLst>
            </p:cNvPr>
            <p:cNvSpPr/>
            <p:nvPr/>
          </p:nvSpPr>
          <p:spPr>
            <a:xfrm>
              <a:off x="9535655" y="2568077"/>
              <a:ext cx="581661" cy="408150"/>
            </a:xfrm>
            <a:custGeom>
              <a:avLst/>
              <a:gdLst>
                <a:gd name="connsiteX0" fmla="*/ 438112 w 447675"/>
                <a:gd name="connsiteY0" fmla="*/ 295046 h 314134"/>
                <a:gd name="connsiteX1" fmla="*/ 409537 w 447675"/>
                <a:gd name="connsiteY1" fmla="*/ 295046 h 314134"/>
                <a:gd name="connsiteX2" fmla="*/ 409537 w 447675"/>
                <a:gd name="connsiteY2" fmla="*/ 137884 h 314134"/>
                <a:gd name="connsiteX3" fmla="*/ 414300 w 447675"/>
                <a:gd name="connsiteY3" fmla="*/ 137884 h 314134"/>
                <a:gd name="connsiteX4" fmla="*/ 423825 w 447675"/>
                <a:gd name="connsiteY4" fmla="*/ 128359 h 314134"/>
                <a:gd name="connsiteX5" fmla="*/ 414300 w 447675"/>
                <a:gd name="connsiteY5" fmla="*/ 118834 h 314134"/>
                <a:gd name="connsiteX6" fmla="*/ 409537 w 447675"/>
                <a:gd name="connsiteY6" fmla="*/ 118834 h 314134"/>
                <a:gd name="connsiteX7" fmla="*/ 409537 w 447675"/>
                <a:gd name="connsiteY7" fmla="*/ 90259 h 314134"/>
                <a:gd name="connsiteX8" fmla="*/ 400012 w 447675"/>
                <a:gd name="connsiteY8" fmla="*/ 80734 h 314134"/>
                <a:gd name="connsiteX9" fmla="*/ 390487 w 447675"/>
                <a:gd name="connsiteY9" fmla="*/ 90259 h 314134"/>
                <a:gd name="connsiteX10" fmla="*/ 390487 w 447675"/>
                <a:gd name="connsiteY10" fmla="*/ 118834 h 314134"/>
                <a:gd name="connsiteX11" fmla="*/ 366675 w 447675"/>
                <a:gd name="connsiteY11" fmla="*/ 118834 h 314134"/>
                <a:gd name="connsiteX12" fmla="*/ 366675 w 447675"/>
                <a:gd name="connsiteY12" fmla="*/ 52159 h 314134"/>
                <a:gd name="connsiteX13" fmla="*/ 389611 w 447675"/>
                <a:gd name="connsiteY13" fmla="*/ 23070 h 314134"/>
                <a:gd name="connsiteX14" fmla="*/ 364294 w 447675"/>
                <a:gd name="connsiteY14" fmla="*/ -38 h 314134"/>
                <a:gd name="connsiteX15" fmla="*/ 307144 w 447675"/>
                <a:gd name="connsiteY15" fmla="*/ -38 h 314134"/>
                <a:gd name="connsiteX16" fmla="*/ 281655 w 447675"/>
                <a:gd name="connsiteY16" fmla="*/ 26842 h 314134"/>
                <a:gd name="connsiteX17" fmla="*/ 304762 w 447675"/>
                <a:gd name="connsiteY17" fmla="*/ 52159 h 314134"/>
                <a:gd name="connsiteX18" fmla="*/ 304762 w 447675"/>
                <a:gd name="connsiteY18" fmla="*/ 118834 h 314134"/>
                <a:gd name="connsiteX19" fmla="*/ 252375 w 447675"/>
                <a:gd name="connsiteY19" fmla="*/ 118834 h 314134"/>
                <a:gd name="connsiteX20" fmla="*/ 252375 w 447675"/>
                <a:gd name="connsiteY20" fmla="*/ 52159 h 314134"/>
                <a:gd name="connsiteX21" fmla="*/ 275311 w 447675"/>
                <a:gd name="connsiteY21" fmla="*/ 23070 h 314134"/>
                <a:gd name="connsiteX22" fmla="*/ 249994 w 447675"/>
                <a:gd name="connsiteY22" fmla="*/ -38 h 314134"/>
                <a:gd name="connsiteX23" fmla="*/ 192844 w 447675"/>
                <a:gd name="connsiteY23" fmla="*/ -38 h 314134"/>
                <a:gd name="connsiteX24" fmla="*/ 167355 w 447675"/>
                <a:gd name="connsiteY24" fmla="*/ 26842 h 314134"/>
                <a:gd name="connsiteX25" fmla="*/ 190462 w 447675"/>
                <a:gd name="connsiteY25" fmla="*/ 52159 h 314134"/>
                <a:gd name="connsiteX26" fmla="*/ 190462 w 447675"/>
                <a:gd name="connsiteY26" fmla="*/ 118834 h 314134"/>
                <a:gd name="connsiteX27" fmla="*/ 138075 w 447675"/>
                <a:gd name="connsiteY27" fmla="*/ 118834 h 314134"/>
                <a:gd name="connsiteX28" fmla="*/ 138075 w 447675"/>
                <a:gd name="connsiteY28" fmla="*/ 52159 h 314134"/>
                <a:gd name="connsiteX29" fmla="*/ 161011 w 447675"/>
                <a:gd name="connsiteY29" fmla="*/ 23070 h 314134"/>
                <a:gd name="connsiteX30" fmla="*/ 135694 w 447675"/>
                <a:gd name="connsiteY30" fmla="*/ -38 h 314134"/>
                <a:gd name="connsiteX31" fmla="*/ 78544 w 447675"/>
                <a:gd name="connsiteY31" fmla="*/ -38 h 314134"/>
                <a:gd name="connsiteX32" fmla="*/ 53055 w 447675"/>
                <a:gd name="connsiteY32" fmla="*/ 26842 h 314134"/>
                <a:gd name="connsiteX33" fmla="*/ 76162 w 447675"/>
                <a:gd name="connsiteY33" fmla="*/ 52159 h 314134"/>
                <a:gd name="connsiteX34" fmla="*/ 76162 w 447675"/>
                <a:gd name="connsiteY34" fmla="*/ 118834 h 314134"/>
                <a:gd name="connsiteX35" fmla="*/ 57112 w 447675"/>
                <a:gd name="connsiteY35" fmla="*/ 118834 h 314134"/>
                <a:gd name="connsiteX36" fmla="*/ 57112 w 447675"/>
                <a:gd name="connsiteY36" fmla="*/ 90259 h 314134"/>
                <a:gd name="connsiteX37" fmla="*/ 47587 w 447675"/>
                <a:gd name="connsiteY37" fmla="*/ 80734 h 314134"/>
                <a:gd name="connsiteX38" fmla="*/ 38062 w 447675"/>
                <a:gd name="connsiteY38" fmla="*/ 90259 h 314134"/>
                <a:gd name="connsiteX39" fmla="*/ 38062 w 447675"/>
                <a:gd name="connsiteY39" fmla="*/ 118834 h 314134"/>
                <a:gd name="connsiteX40" fmla="*/ 33300 w 447675"/>
                <a:gd name="connsiteY40" fmla="*/ 118834 h 314134"/>
                <a:gd name="connsiteX41" fmla="*/ 23775 w 447675"/>
                <a:gd name="connsiteY41" fmla="*/ 128359 h 314134"/>
                <a:gd name="connsiteX42" fmla="*/ 33300 w 447675"/>
                <a:gd name="connsiteY42" fmla="*/ 137884 h 314134"/>
                <a:gd name="connsiteX43" fmla="*/ 38062 w 447675"/>
                <a:gd name="connsiteY43" fmla="*/ 137884 h 314134"/>
                <a:gd name="connsiteX44" fmla="*/ 38062 w 447675"/>
                <a:gd name="connsiteY44" fmla="*/ 295046 h 314134"/>
                <a:gd name="connsiteX45" fmla="*/ 9487 w 447675"/>
                <a:gd name="connsiteY45" fmla="*/ 295046 h 314134"/>
                <a:gd name="connsiteX46" fmla="*/ -38 w 447675"/>
                <a:gd name="connsiteY46" fmla="*/ 304571 h 314134"/>
                <a:gd name="connsiteX47" fmla="*/ 9487 w 447675"/>
                <a:gd name="connsiteY47" fmla="*/ 314096 h 314134"/>
                <a:gd name="connsiteX48" fmla="*/ 438112 w 447675"/>
                <a:gd name="connsiteY48" fmla="*/ 314096 h 314134"/>
                <a:gd name="connsiteX49" fmla="*/ 447637 w 447675"/>
                <a:gd name="connsiteY49" fmla="*/ 304571 h 314134"/>
                <a:gd name="connsiteX50" fmla="*/ 438112 w 447675"/>
                <a:gd name="connsiteY50" fmla="*/ 295046 h 314134"/>
                <a:gd name="connsiteX51" fmla="*/ 300000 w 447675"/>
                <a:gd name="connsiteY51" fmla="*/ 25965 h 314134"/>
                <a:gd name="connsiteX52" fmla="*/ 307144 w 447675"/>
                <a:gd name="connsiteY52" fmla="*/ 18821 h 314134"/>
                <a:gd name="connsiteX53" fmla="*/ 364294 w 447675"/>
                <a:gd name="connsiteY53" fmla="*/ 18821 h 314134"/>
                <a:gd name="connsiteX54" fmla="*/ 371437 w 447675"/>
                <a:gd name="connsiteY54" fmla="*/ 25965 h 314134"/>
                <a:gd name="connsiteX55" fmla="*/ 364294 w 447675"/>
                <a:gd name="connsiteY55" fmla="*/ 33109 h 314134"/>
                <a:gd name="connsiteX56" fmla="*/ 357150 w 447675"/>
                <a:gd name="connsiteY56" fmla="*/ 33109 h 314134"/>
                <a:gd name="connsiteX57" fmla="*/ 347625 w 447675"/>
                <a:gd name="connsiteY57" fmla="*/ 42634 h 314134"/>
                <a:gd name="connsiteX58" fmla="*/ 347625 w 447675"/>
                <a:gd name="connsiteY58" fmla="*/ 87973 h 314134"/>
                <a:gd name="connsiteX59" fmla="*/ 323812 w 447675"/>
                <a:gd name="connsiteY59" fmla="*/ 82639 h 314134"/>
                <a:gd name="connsiteX60" fmla="*/ 323812 w 447675"/>
                <a:gd name="connsiteY60" fmla="*/ 52159 h 314134"/>
                <a:gd name="connsiteX61" fmla="*/ 328575 w 447675"/>
                <a:gd name="connsiteY61" fmla="*/ 52159 h 314134"/>
                <a:gd name="connsiteX62" fmla="*/ 338100 w 447675"/>
                <a:gd name="connsiteY62" fmla="*/ 42634 h 314134"/>
                <a:gd name="connsiteX63" fmla="*/ 328575 w 447675"/>
                <a:gd name="connsiteY63" fmla="*/ 33109 h 314134"/>
                <a:gd name="connsiteX64" fmla="*/ 307144 w 447675"/>
                <a:gd name="connsiteY64" fmla="*/ 33109 h 314134"/>
                <a:gd name="connsiteX65" fmla="*/ 300000 w 447675"/>
                <a:gd name="connsiteY65" fmla="*/ 25965 h 314134"/>
                <a:gd name="connsiteX66" fmla="*/ 323812 w 447675"/>
                <a:gd name="connsiteY66" fmla="*/ 102165 h 314134"/>
                <a:gd name="connsiteX67" fmla="*/ 347625 w 447675"/>
                <a:gd name="connsiteY67" fmla="*/ 107404 h 314134"/>
                <a:gd name="connsiteX68" fmla="*/ 347625 w 447675"/>
                <a:gd name="connsiteY68" fmla="*/ 118834 h 314134"/>
                <a:gd name="connsiteX69" fmla="*/ 323812 w 447675"/>
                <a:gd name="connsiteY69" fmla="*/ 118834 h 314134"/>
                <a:gd name="connsiteX70" fmla="*/ 323812 w 447675"/>
                <a:gd name="connsiteY70" fmla="*/ 137884 h 314134"/>
                <a:gd name="connsiteX71" fmla="*/ 347625 w 447675"/>
                <a:gd name="connsiteY71" fmla="*/ 137884 h 314134"/>
                <a:gd name="connsiteX72" fmla="*/ 347625 w 447675"/>
                <a:gd name="connsiteY72" fmla="*/ 192653 h 314134"/>
                <a:gd name="connsiteX73" fmla="*/ 335719 w 447675"/>
                <a:gd name="connsiteY73" fmla="*/ 204559 h 314134"/>
                <a:gd name="connsiteX74" fmla="*/ 323812 w 447675"/>
                <a:gd name="connsiteY74" fmla="*/ 192653 h 314134"/>
                <a:gd name="connsiteX75" fmla="*/ 185700 w 447675"/>
                <a:gd name="connsiteY75" fmla="*/ 25965 h 314134"/>
                <a:gd name="connsiteX76" fmla="*/ 192844 w 447675"/>
                <a:gd name="connsiteY76" fmla="*/ 18821 h 314134"/>
                <a:gd name="connsiteX77" fmla="*/ 249994 w 447675"/>
                <a:gd name="connsiteY77" fmla="*/ 18821 h 314134"/>
                <a:gd name="connsiteX78" fmla="*/ 257137 w 447675"/>
                <a:gd name="connsiteY78" fmla="*/ 25965 h 314134"/>
                <a:gd name="connsiteX79" fmla="*/ 249994 w 447675"/>
                <a:gd name="connsiteY79" fmla="*/ 33109 h 314134"/>
                <a:gd name="connsiteX80" fmla="*/ 242850 w 447675"/>
                <a:gd name="connsiteY80" fmla="*/ 33109 h 314134"/>
                <a:gd name="connsiteX81" fmla="*/ 233325 w 447675"/>
                <a:gd name="connsiteY81" fmla="*/ 42634 h 314134"/>
                <a:gd name="connsiteX82" fmla="*/ 233325 w 447675"/>
                <a:gd name="connsiteY82" fmla="*/ 87973 h 314134"/>
                <a:gd name="connsiteX83" fmla="*/ 209512 w 447675"/>
                <a:gd name="connsiteY83" fmla="*/ 82639 h 314134"/>
                <a:gd name="connsiteX84" fmla="*/ 209512 w 447675"/>
                <a:gd name="connsiteY84" fmla="*/ 52159 h 314134"/>
                <a:gd name="connsiteX85" fmla="*/ 214275 w 447675"/>
                <a:gd name="connsiteY85" fmla="*/ 52159 h 314134"/>
                <a:gd name="connsiteX86" fmla="*/ 223800 w 447675"/>
                <a:gd name="connsiteY86" fmla="*/ 42634 h 314134"/>
                <a:gd name="connsiteX87" fmla="*/ 214275 w 447675"/>
                <a:gd name="connsiteY87" fmla="*/ 33109 h 314134"/>
                <a:gd name="connsiteX88" fmla="*/ 192844 w 447675"/>
                <a:gd name="connsiteY88" fmla="*/ 33109 h 314134"/>
                <a:gd name="connsiteX89" fmla="*/ 185700 w 447675"/>
                <a:gd name="connsiteY89" fmla="*/ 25965 h 314134"/>
                <a:gd name="connsiteX90" fmla="*/ 209512 w 447675"/>
                <a:gd name="connsiteY90" fmla="*/ 102165 h 314134"/>
                <a:gd name="connsiteX91" fmla="*/ 233325 w 447675"/>
                <a:gd name="connsiteY91" fmla="*/ 107404 h 314134"/>
                <a:gd name="connsiteX92" fmla="*/ 233325 w 447675"/>
                <a:gd name="connsiteY92" fmla="*/ 118834 h 314134"/>
                <a:gd name="connsiteX93" fmla="*/ 209512 w 447675"/>
                <a:gd name="connsiteY93" fmla="*/ 118834 h 314134"/>
                <a:gd name="connsiteX94" fmla="*/ 209512 w 447675"/>
                <a:gd name="connsiteY94" fmla="*/ 137884 h 314134"/>
                <a:gd name="connsiteX95" fmla="*/ 233325 w 447675"/>
                <a:gd name="connsiteY95" fmla="*/ 137884 h 314134"/>
                <a:gd name="connsiteX96" fmla="*/ 233325 w 447675"/>
                <a:gd name="connsiteY96" fmla="*/ 192653 h 314134"/>
                <a:gd name="connsiteX97" fmla="*/ 221419 w 447675"/>
                <a:gd name="connsiteY97" fmla="*/ 204559 h 314134"/>
                <a:gd name="connsiteX98" fmla="*/ 209512 w 447675"/>
                <a:gd name="connsiteY98" fmla="*/ 192653 h 314134"/>
                <a:gd name="connsiteX99" fmla="*/ 71400 w 447675"/>
                <a:gd name="connsiteY99" fmla="*/ 25965 h 314134"/>
                <a:gd name="connsiteX100" fmla="*/ 78544 w 447675"/>
                <a:gd name="connsiteY100" fmla="*/ 18821 h 314134"/>
                <a:gd name="connsiteX101" fmla="*/ 135694 w 447675"/>
                <a:gd name="connsiteY101" fmla="*/ 18821 h 314134"/>
                <a:gd name="connsiteX102" fmla="*/ 142837 w 447675"/>
                <a:gd name="connsiteY102" fmla="*/ 25965 h 314134"/>
                <a:gd name="connsiteX103" fmla="*/ 135694 w 447675"/>
                <a:gd name="connsiteY103" fmla="*/ 33109 h 314134"/>
                <a:gd name="connsiteX104" fmla="*/ 128550 w 447675"/>
                <a:gd name="connsiteY104" fmla="*/ 33109 h 314134"/>
                <a:gd name="connsiteX105" fmla="*/ 119025 w 447675"/>
                <a:gd name="connsiteY105" fmla="*/ 42634 h 314134"/>
                <a:gd name="connsiteX106" fmla="*/ 119025 w 447675"/>
                <a:gd name="connsiteY106" fmla="*/ 87973 h 314134"/>
                <a:gd name="connsiteX107" fmla="*/ 95212 w 447675"/>
                <a:gd name="connsiteY107" fmla="*/ 82639 h 314134"/>
                <a:gd name="connsiteX108" fmla="*/ 95212 w 447675"/>
                <a:gd name="connsiteY108" fmla="*/ 52159 h 314134"/>
                <a:gd name="connsiteX109" fmla="*/ 99975 w 447675"/>
                <a:gd name="connsiteY109" fmla="*/ 52159 h 314134"/>
                <a:gd name="connsiteX110" fmla="*/ 109500 w 447675"/>
                <a:gd name="connsiteY110" fmla="*/ 42634 h 314134"/>
                <a:gd name="connsiteX111" fmla="*/ 99975 w 447675"/>
                <a:gd name="connsiteY111" fmla="*/ 33109 h 314134"/>
                <a:gd name="connsiteX112" fmla="*/ 78544 w 447675"/>
                <a:gd name="connsiteY112" fmla="*/ 33109 h 314134"/>
                <a:gd name="connsiteX113" fmla="*/ 71400 w 447675"/>
                <a:gd name="connsiteY113" fmla="*/ 25965 h 314134"/>
                <a:gd name="connsiteX114" fmla="*/ 95212 w 447675"/>
                <a:gd name="connsiteY114" fmla="*/ 102165 h 314134"/>
                <a:gd name="connsiteX115" fmla="*/ 119025 w 447675"/>
                <a:gd name="connsiteY115" fmla="*/ 107404 h 314134"/>
                <a:gd name="connsiteX116" fmla="*/ 119025 w 447675"/>
                <a:gd name="connsiteY116" fmla="*/ 118834 h 314134"/>
                <a:gd name="connsiteX117" fmla="*/ 95212 w 447675"/>
                <a:gd name="connsiteY117" fmla="*/ 118834 h 314134"/>
                <a:gd name="connsiteX118" fmla="*/ 95212 w 447675"/>
                <a:gd name="connsiteY118" fmla="*/ 137884 h 314134"/>
                <a:gd name="connsiteX119" fmla="*/ 119025 w 447675"/>
                <a:gd name="connsiteY119" fmla="*/ 137884 h 314134"/>
                <a:gd name="connsiteX120" fmla="*/ 119025 w 447675"/>
                <a:gd name="connsiteY120" fmla="*/ 192653 h 314134"/>
                <a:gd name="connsiteX121" fmla="*/ 107119 w 447675"/>
                <a:gd name="connsiteY121" fmla="*/ 204559 h 314134"/>
                <a:gd name="connsiteX122" fmla="*/ 95212 w 447675"/>
                <a:gd name="connsiteY122" fmla="*/ 192653 h 314134"/>
                <a:gd name="connsiteX123" fmla="*/ 57112 w 447675"/>
                <a:gd name="connsiteY123" fmla="*/ 137884 h 314134"/>
                <a:gd name="connsiteX124" fmla="*/ 76162 w 447675"/>
                <a:gd name="connsiteY124" fmla="*/ 137884 h 314134"/>
                <a:gd name="connsiteX125" fmla="*/ 76162 w 447675"/>
                <a:gd name="connsiteY125" fmla="*/ 192653 h 314134"/>
                <a:gd name="connsiteX126" fmla="*/ 107119 w 447675"/>
                <a:gd name="connsiteY126" fmla="*/ 223609 h 314134"/>
                <a:gd name="connsiteX127" fmla="*/ 138075 w 447675"/>
                <a:gd name="connsiteY127" fmla="*/ 192653 h 314134"/>
                <a:gd name="connsiteX128" fmla="*/ 138075 w 447675"/>
                <a:gd name="connsiteY128" fmla="*/ 137884 h 314134"/>
                <a:gd name="connsiteX129" fmla="*/ 190462 w 447675"/>
                <a:gd name="connsiteY129" fmla="*/ 137884 h 314134"/>
                <a:gd name="connsiteX130" fmla="*/ 190462 w 447675"/>
                <a:gd name="connsiteY130" fmla="*/ 192653 h 314134"/>
                <a:gd name="connsiteX131" fmla="*/ 221419 w 447675"/>
                <a:gd name="connsiteY131" fmla="*/ 223609 h 314134"/>
                <a:gd name="connsiteX132" fmla="*/ 252375 w 447675"/>
                <a:gd name="connsiteY132" fmla="*/ 192653 h 314134"/>
                <a:gd name="connsiteX133" fmla="*/ 252375 w 447675"/>
                <a:gd name="connsiteY133" fmla="*/ 137884 h 314134"/>
                <a:gd name="connsiteX134" fmla="*/ 304762 w 447675"/>
                <a:gd name="connsiteY134" fmla="*/ 137884 h 314134"/>
                <a:gd name="connsiteX135" fmla="*/ 304762 w 447675"/>
                <a:gd name="connsiteY135" fmla="*/ 192653 h 314134"/>
                <a:gd name="connsiteX136" fmla="*/ 335719 w 447675"/>
                <a:gd name="connsiteY136" fmla="*/ 223609 h 314134"/>
                <a:gd name="connsiteX137" fmla="*/ 366675 w 447675"/>
                <a:gd name="connsiteY137" fmla="*/ 192653 h 314134"/>
                <a:gd name="connsiteX138" fmla="*/ 366675 w 447675"/>
                <a:gd name="connsiteY138" fmla="*/ 137884 h 314134"/>
                <a:gd name="connsiteX139" fmla="*/ 390487 w 447675"/>
                <a:gd name="connsiteY139" fmla="*/ 137884 h 314134"/>
                <a:gd name="connsiteX140" fmla="*/ 390487 w 447675"/>
                <a:gd name="connsiteY140" fmla="*/ 295046 h 314134"/>
                <a:gd name="connsiteX141" fmla="*/ 57112 w 447675"/>
                <a:gd name="connsiteY141" fmla="*/ 295046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447675" h="314134">
                  <a:moveTo>
                    <a:pt x="438112" y="295046"/>
                  </a:moveTo>
                  <a:lnTo>
                    <a:pt x="409537" y="295046"/>
                  </a:lnTo>
                  <a:lnTo>
                    <a:pt x="409537" y="137884"/>
                  </a:lnTo>
                  <a:lnTo>
                    <a:pt x="414300" y="137884"/>
                  </a:lnTo>
                  <a:cubicBezTo>
                    <a:pt x="419558" y="137884"/>
                    <a:pt x="423825" y="133617"/>
                    <a:pt x="423825" y="128359"/>
                  </a:cubicBezTo>
                  <a:cubicBezTo>
                    <a:pt x="423825" y="123101"/>
                    <a:pt x="419558" y="118834"/>
                    <a:pt x="414300" y="118834"/>
                  </a:cubicBezTo>
                  <a:lnTo>
                    <a:pt x="409537" y="118834"/>
                  </a:lnTo>
                  <a:lnTo>
                    <a:pt x="409537" y="90259"/>
                  </a:lnTo>
                  <a:cubicBezTo>
                    <a:pt x="409537" y="85001"/>
                    <a:pt x="405270" y="80734"/>
                    <a:pt x="400012" y="80734"/>
                  </a:cubicBezTo>
                  <a:cubicBezTo>
                    <a:pt x="394755" y="80734"/>
                    <a:pt x="390487" y="85001"/>
                    <a:pt x="390487" y="90259"/>
                  </a:cubicBezTo>
                  <a:lnTo>
                    <a:pt x="390487" y="118834"/>
                  </a:lnTo>
                  <a:lnTo>
                    <a:pt x="366675" y="118834"/>
                  </a:lnTo>
                  <a:lnTo>
                    <a:pt x="366675" y="52159"/>
                  </a:lnTo>
                  <a:cubicBezTo>
                    <a:pt x="381039" y="50464"/>
                    <a:pt x="391307" y="37433"/>
                    <a:pt x="389611" y="23070"/>
                  </a:cubicBezTo>
                  <a:cubicBezTo>
                    <a:pt x="388087" y="10144"/>
                    <a:pt x="377305" y="305"/>
                    <a:pt x="364294" y="-38"/>
                  </a:cubicBezTo>
                  <a:lnTo>
                    <a:pt x="307144" y="-38"/>
                  </a:lnTo>
                  <a:cubicBezTo>
                    <a:pt x="292685" y="343"/>
                    <a:pt x="281274" y="12383"/>
                    <a:pt x="281655" y="26842"/>
                  </a:cubicBezTo>
                  <a:cubicBezTo>
                    <a:pt x="281998" y="39853"/>
                    <a:pt x="291837" y="50635"/>
                    <a:pt x="304762" y="52159"/>
                  </a:cubicBezTo>
                  <a:lnTo>
                    <a:pt x="304762" y="118834"/>
                  </a:lnTo>
                  <a:lnTo>
                    <a:pt x="252375" y="118834"/>
                  </a:lnTo>
                  <a:lnTo>
                    <a:pt x="252375" y="52159"/>
                  </a:lnTo>
                  <a:cubicBezTo>
                    <a:pt x="266739" y="50464"/>
                    <a:pt x="277007" y="37433"/>
                    <a:pt x="275311" y="23070"/>
                  </a:cubicBezTo>
                  <a:cubicBezTo>
                    <a:pt x="273787" y="10144"/>
                    <a:pt x="263005" y="305"/>
                    <a:pt x="249994" y="-38"/>
                  </a:cubicBezTo>
                  <a:lnTo>
                    <a:pt x="192844" y="-38"/>
                  </a:lnTo>
                  <a:cubicBezTo>
                    <a:pt x="178385" y="343"/>
                    <a:pt x="166974" y="12383"/>
                    <a:pt x="167355" y="26842"/>
                  </a:cubicBezTo>
                  <a:cubicBezTo>
                    <a:pt x="167698" y="39853"/>
                    <a:pt x="177537" y="50635"/>
                    <a:pt x="190462" y="52159"/>
                  </a:cubicBezTo>
                  <a:lnTo>
                    <a:pt x="190462" y="118834"/>
                  </a:lnTo>
                  <a:lnTo>
                    <a:pt x="138075" y="118834"/>
                  </a:lnTo>
                  <a:lnTo>
                    <a:pt x="138075" y="52159"/>
                  </a:lnTo>
                  <a:cubicBezTo>
                    <a:pt x="152439" y="50464"/>
                    <a:pt x="162707" y="37433"/>
                    <a:pt x="161011" y="23070"/>
                  </a:cubicBezTo>
                  <a:cubicBezTo>
                    <a:pt x="159487" y="10144"/>
                    <a:pt x="148705" y="305"/>
                    <a:pt x="135694" y="-38"/>
                  </a:cubicBezTo>
                  <a:lnTo>
                    <a:pt x="78544" y="-38"/>
                  </a:lnTo>
                  <a:cubicBezTo>
                    <a:pt x="64085" y="343"/>
                    <a:pt x="52674" y="12383"/>
                    <a:pt x="53055" y="26842"/>
                  </a:cubicBezTo>
                  <a:cubicBezTo>
                    <a:pt x="53398" y="39853"/>
                    <a:pt x="63237" y="50635"/>
                    <a:pt x="76162" y="52159"/>
                  </a:cubicBezTo>
                  <a:lnTo>
                    <a:pt x="76162" y="118834"/>
                  </a:lnTo>
                  <a:lnTo>
                    <a:pt x="57112" y="118834"/>
                  </a:lnTo>
                  <a:lnTo>
                    <a:pt x="57112" y="90259"/>
                  </a:lnTo>
                  <a:cubicBezTo>
                    <a:pt x="57112" y="85001"/>
                    <a:pt x="52845" y="80734"/>
                    <a:pt x="47587" y="80734"/>
                  </a:cubicBezTo>
                  <a:cubicBezTo>
                    <a:pt x="42330" y="80734"/>
                    <a:pt x="38062" y="85001"/>
                    <a:pt x="38062" y="90259"/>
                  </a:cubicBezTo>
                  <a:lnTo>
                    <a:pt x="38062" y="118834"/>
                  </a:lnTo>
                  <a:lnTo>
                    <a:pt x="33300" y="118834"/>
                  </a:lnTo>
                  <a:cubicBezTo>
                    <a:pt x="28042" y="118834"/>
                    <a:pt x="23775" y="123101"/>
                    <a:pt x="23775" y="128359"/>
                  </a:cubicBezTo>
                  <a:cubicBezTo>
                    <a:pt x="23775" y="133617"/>
                    <a:pt x="28042" y="137884"/>
                    <a:pt x="33300" y="137884"/>
                  </a:cubicBezTo>
                  <a:lnTo>
                    <a:pt x="38062" y="137884"/>
                  </a:lnTo>
                  <a:lnTo>
                    <a:pt x="38062" y="295046"/>
                  </a:lnTo>
                  <a:lnTo>
                    <a:pt x="9487" y="295046"/>
                  </a:lnTo>
                  <a:cubicBezTo>
                    <a:pt x="4230" y="295046"/>
                    <a:pt x="-38" y="299314"/>
                    <a:pt x="-38" y="304571"/>
                  </a:cubicBezTo>
                  <a:cubicBezTo>
                    <a:pt x="-38" y="309829"/>
                    <a:pt x="4230" y="314096"/>
                    <a:pt x="9487" y="314096"/>
                  </a:cubicBezTo>
                  <a:lnTo>
                    <a:pt x="438112" y="314096"/>
                  </a:lnTo>
                  <a:cubicBezTo>
                    <a:pt x="443370" y="314096"/>
                    <a:pt x="447637" y="309829"/>
                    <a:pt x="447637" y="304571"/>
                  </a:cubicBezTo>
                  <a:cubicBezTo>
                    <a:pt x="447637" y="299314"/>
                    <a:pt x="443370" y="295046"/>
                    <a:pt x="438112" y="295046"/>
                  </a:cubicBezTo>
                  <a:close/>
                  <a:moveTo>
                    <a:pt x="300000" y="25965"/>
                  </a:moveTo>
                  <a:cubicBezTo>
                    <a:pt x="300048" y="22041"/>
                    <a:pt x="303220" y="18869"/>
                    <a:pt x="307144" y="18821"/>
                  </a:cubicBezTo>
                  <a:lnTo>
                    <a:pt x="364294" y="18821"/>
                  </a:lnTo>
                  <a:cubicBezTo>
                    <a:pt x="368237" y="18821"/>
                    <a:pt x="371437" y="22022"/>
                    <a:pt x="371437" y="25965"/>
                  </a:cubicBezTo>
                  <a:cubicBezTo>
                    <a:pt x="371437" y="29909"/>
                    <a:pt x="368237" y="33109"/>
                    <a:pt x="364294" y="33109"/>
                  </a:cubicBezTo>
                  <a:lnTo>
                    <a:pt x="357150" y="33109"/>
                  </a:lnTo>
                  <a:cubicBezTo>
                    <a:pt x="351892" y="33109"/>
                    <a:pt x="347625" y="37376"/>
                    <a:pt x="347625" y="42634"/>
                  </a:cubicBezTo>
                  <a:lnTo>
                    <a:pt x="347625" y="87973"/>
                  </a:lnTo>
                  <a:lnTo>
                    <a:pt x="323812" y="82639"/>
                  </a:lnTo>
                  <a:lnTo>
                    <a:pt x="323812" y="52159"/>
                  </a:lnTo>
                  <a:lnTo>
                    <a:pt x="328575" y="52159"/>
                  </a:lnTo>
                  <a:cubicBezTo>
                    <a:pt x="333833" y="52159"/>
                    <a:pt x="338100" y="47892"/>
                    <a:pt x="338100" y="42634"/>
                  </a:cubicBezTo>
                  <a:cubicBezTo>
                    <a:pt x="338100" y="37376"/>
                    <a:pt x="333833" y="33109"/>
                    <a:pt x="328575" y="33109"/>
                  </a:cubicBezTo>
                  <a:lnTo>
                    <a:pt x="307144" y="33109"/>
                  </a:lnTo>
                  <a:cubicBezTo>
                    <a:pt x="303200" y="33109"/>
                    <a:pt x="300000" y="29909"/>
                    <a:pt x="300000" y="25965"/>
                  </a:cubicBezTo>
                  <a:close/>
                  <a:moveTo>
                    <a:pt x="323812" y="102165"/>
                  </a:moveTo>
                  <a:lnTo>
                    <a:pt x="347625" y="107404"/>
                  </a:lnTo>
                  <a:lnTo>
                    <a:pt x="347625" y="118834"/>
                  </a:lnTo>
                  <a:lnTo>
                    <a:pt x="323812" y="118834"/>
                  </a:lnTo>
                  <a:close/>
                  <a:moveTo>
                    <a:pt x="323812" y="137884"/>
                  </a:moveTo>
                  <a:lnTo>
                    <a:pt x="347625" y="137884"/>
                  </a:lnTo>
                  <a:lnTo>
                    <a:pt x="347625" y="192653"/>
                  </a:lnTo>
                  <a:cubicBezTo>
                    <a:pt x="347625" y="199225"/>
                    <a:pt x="342291" y="204559"/>
                    <a:pt x="335719" y="204559"/>
                  </a:cubicBezTo>
                  <a:cubicBezTo>
                    <a:pt x="329146" y="204559"/>
                    <a:pt x="323812" y="199225"/>
                    <a:pt x="323812" y="192653"/>
                  </a:cubicBezTo>
                  <a:close/>
                  <a:moveTo>
                    <a:pt x="185700" y="25965"/>
                  </a:moveTo>
                  <a:cubicBezTo>
                    <a:pt x="185748" y="22041"/>
                    <a:pt x="188920" y="18869"/>
                    <a:pt x="192844" y="18821"/>
                  </a:cubicBezTo>
                  <a:lnTo>
                    <a:pt x="249994" y="18821"/>
                  </a:lnTo>
                  <a:cubicBezTo>
                    <a:pt x="253937" y="18821"/>
                    <a:pt x="257137" y="22022"/>
                    <a:pt x="257137" y="25965"/>
                  </a:cubicBezTo>
                  <a:cubicBezTo>
                    <a:pt x="257137" y="29909"/>
                    <a:pt x="253937" y="33109"/>
                    <a:pt x="249994" y="33109"/>
                  </a:cubicBezTo>
                  <a:lnTo>
                    <a:pt x="242850" y="33109"/>
                  </a:lnTo>
                  <a:cubicBezTo>
                    <a:pt x="237592" y="33109"/>
                    <a:pt x="233325" y="37376"/>
                    <a:pt x="233325" y="42634"/>
                  </a:cubicBezTo>
                  <a:lnTo>
                    <a:pt x="233325" y="87973"/>
                  </a:lnTo>
                  <a:lnTo>
                    <a:pt x="209512" y="82639"/>
                  </a:lnTo>
                  <a:lnTo>
                    <a:pt x="209512" y="52159"/>
                  </a:lnTo>
                  <a:lnTo>
                    <a:pt x="214275" y="52159"/>
                  </a:lnTo>
                  <a:cubicBezTo>
                    <a:pt x="219533" y="52159"/>
                    <a:pt x="223800" y="47892"/>
                    <a:pt x="223800" y="42634"/>
                  </a:cubicBezTo>
                  <a:cubicBezTo>
                    <a:pt x="223800" y="37376"/>
                    <a:pt x="219533" y="33109"/>
                    <a:pt x="214275" y="33109"/>
                  </a:cubicBezTo>
                  <a:lnTo>
                    <a:pt x="192844" y="33109"/>
                  </a:lnTo>
                  <a:cubicBezTo>
                    <a:pt x="188900" y="33109"/>
                    <a:pt x="185700" y="29909"/>
                    <a:pt x="185700" y="25965"/>
                  </a:cubicBezTo>
                  <a:close/>
                  <a:moveTo>
                    <a:pt x="209512" y="102165"/>
                  </a:moveTo>
                  <a:lnTo>
                    <a:pt x="233325" y="107404"/>
                  </a:lnTo>
                  <a:lnTo>
                    <a:pt x="233325" y="118834"/>
                  </a:lnTo>
                  <a:lnTo>
                    <a:pt x="209512" y="118834"/>
                  </a:lnTo>
                  <a:close/>
                  <a:moveTo>
                    <a:pt x="209512" y="137884"/>
                  </a:moveTo>
                  <a:lnTo>
                    <a:pt x="233325" y="137884"/>
                  </a:lnTo>
                  <a:lnTo>
                    <a:pt x="233325" y="192653"/>
                  </a:lnTo>
                  <a:cubicBezTo>
                    <a:pt x="233325" y="199225"/>
                    <a:pt x="227991" y="204559"/>
                    <a:pt x="221419" y="204559"/>
                  </a:cubicBezTo>
                  <a:cubicBezTo>
                    <a:pt x="214847" y="204559"/>
                    <a:pt x="209512" y="199225"/>
                    <a:pt x="209512" y="192653"/>
                  </a:cubicBezTo>
                  <a:close/>
                  <a:moveTo>
                    <a:pt x="71400" y="25965"/>
                  </a:moveTo>
                  <a:cubicBezTo>
                    <a:pt x="71448" y="22041"/>
                    <a:pt x="74620" y="18869"/>
                    <a:pt x="78544" y="18821"/>
                  </a:cubicBezTo>
                  <a:lnTo>
                    <a:pt x="135694" y="18821"/>
                  </a:lnTo>
                  <a:cubicBezTo>
                    <a:pt x="139637" y="18821"/>
                    <a:pt x="142837" y="22022"/>
                    <a:pt x="142837" y="25965"/>
                  </a:cubicBezTo>
                  <a:cubicBezTo>
                    <a:pt x="142837" y="29909"/>
                    <a:pt x="139637" y="33109"/>
                    <a:pt x="135694" y="33109"/>
                  </a:cubicBezTo>
                  <a:lnTo>
                    <a:pt x="128550" y="33109"/>
                  </a:lnTo>
                  <a:cubicBezTo>
                    <a:pt x="123292" y="33109"/>
                    <a:pt x="119025" y="37376"/>
                    <a:pt x="119025" y="42634"/>
                  </a:cubicBezTo>
                  <a:lnTo>
                    <a:pt x="119025" y="87973"/>
                  </a:lnTo>
                  <a:lnTo>
                    <a:pt x="95212" y="82639"/>
                  </a:lnTo>
                  <a:lnTo>
                    <a:pt x="95212" y="52159"/>
                  </a:lnTo>
                  <a:lnTo>
                    <a:pt x="99975" y="52159"/>
                  </a:lnTo>
                  <a:cubicBezTo>
                    <a:pt x="105233" y="52159"/>
                    <a:pt x="109500" y="47892"/>
                    <a:pt x="109500" y="42634"/>
                  </a:cubicBezTo>
                  <a:cubicBezTo>
                    <a:pt x="109500" y="37376"/>
                    <a:pt x="105233" y="33109"/>
                    <a:pt x="99975" y="33109"/>
                  </a:cubicBezTo>
                  <a:lnTo>
                    <a:pt x="78544" y="33109"/>
                  </a:lnTo>
                  <a:cubicBezTo>
                    <a:pt x="74600" y="33109"/>
                    <a:pt x="71400" y="29909"/>
                    <a:pt x="71400" y="25965"/>
                  </a:cubicBezTo>
                  <a:close/>
                  <a:moveTo>
                    <a:pt x="95212" y="102165"/>
                  </a:moveTo>
                  <a:lnTo>
                    <a:pt x="119025" y="107404"/>
                  </a:lnTo>
                  <a:lnTo>
                    <a:pt x="119025" y="118834"/>
                  </a:lnTo>
                  <a:lnTo>
                    <a:pt x="95212" y="118834"/>
                  </a:lnTo>
                  <a:close/>
                  <a:moveTo>
                    <a:pt x="95212" y="137884"/>
                  </a:moveTo>
                  <a:lnTo>
                    <a:pt x="119025" y="137884"/>
                  </a:lnTo>
                  <a:lnTo>
                    <a:pt x="119025" y="192653"/>
                  </a:lnTo>
                  <a:cubicBezTo>
                    <a:pt x="119025" y="199225"/>
                    <a:pt x="113691" y="204559"/>
                    <a:pt x="107119" y="204559"/>
                  </a:cubicBezTo>
                  <a:cubicBezTo>
                    <a:pt x="100547" y="204559"/>
                    <a:pt x="95212" y="199225"/>
                    <a:pt x="95212" y="192653"/>
                  </a:cubicBezTo>
                  <a:close/>
                  <a:moveTo>
                    <a:pt x="57112" y="137884"/>
                  </a:moveTo>
                  <a:lnTo>
                    <a:pt x="76162" y="137884"/>
                  </a:lnTo>
                  <a:lnTo>
                    <a:pt x="76162" y="192653"/>
                  </a:lnTo>
                  <a:cubicBezTo>
                    <a:pt x="76162" y="209750"/>
                    <a:pt x="90021" y="223609"/>
                    <a:pt x="107119" y="223609"/>
                  </a:cubicBezTo>
                  <a:cubicBezTo>
                    <a:pt x="124216" y="223609"/>
                    <a:pt x="138075" y="209750"/>
                    <a:pt x="138075" y="192653"/>
                  </a:cubicBezTo>
                  <a:lnTo>
                    <a:pt x="138075" y="137884"/>
                  </a:lnTo>
                  <a:lnTo>
                    <a:pt x="190462" y="137884"/>
                  </a:lnTo>
                  <a:lnTo>
                    <a:pt x="190462" y="192653"/>
                  </a:lnTo>
                  <a:cubicBezTo>
                    <a:pt x="190462" y="209750"/>
                    <a:pt x="204321" y="223609"/>
                    <a:pt x="221419" y="223609"/>
                  </a:cubicBezTo>
                  <a:cubicBezTo>
                    <a:pt x="238516" y="223609"/>
                    <a:pt x="252375" y="209750"/>
                    <a:pt x="252375" y="192653"/>
                  </a:cubicBezTo>
                  <a:lnTo>
                    <a:pt x="252375" y="137884"/>
                  </a:lnTo>
                  <a:lnTo>
                    <a:pt x="304762" y="137884"/>
                  </a:lnTo>
                  <a:lnTo>
                    <a:pt x="304762" y="192653"/>
                  </a:lnTo>
                  <a:cubicBezTo>
                    <a:pt x="304762" y="209750"/>
                    <a:pt x="318621" y="223609"/>
                    <a:pt x="335719" y="223609"/>
                  </a:cubicBezTo>
                  <a:cubicBezTo>
                    <a:pt x="352816" y="223609"/>
                    <a:pt x="366675" y="209750"/>
                    <a:pt x="366675" y="192653"/>
                  </a:cubicBezTo>
                  <a:lnTo>
                    <a:pt x="366675" y="137884"/>
                  </a:lnTo>
                  <a:lnTo>
                    <a:pt x="390487" y="137884"/>
                  </a:lnTo>
                  <a:lnTo>
                    <a:pt x="390487" y="295046"/>
                  </a:lnTo>
                  <a:lnTo>
                    <a:pt x="57112" y="295046"/>
                  </a:lnTo>
                  <a:close/>
                </a:path>
              </a:pathLst>
            </a:custGeom>
            <a:solidFill>
              <a:schemeClr val="accent1"/>
            </a:solidFill>
            <a:ln w="9525"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nvGrpSpPr>
          <p:cNvPr id="29" name="Group 28">
            <a:extLst>
              <a:ext uri="{FF2B5EF4-FFF2-40B4-BE49-F238E27FC236}">
                <a16:creationId xmlns:a16="http://schemas.microsoft.com/office/drawing/2014/main" id="{E594A2A1-787D-4F96-4032-E2676436ED81}"/>
              </a:ext>
            </a:extLst>
          </p:cNvPr>
          <p:cNvGrpSpPr/>
          <p:nvPr/>
        </p:nvGrpSpPr>
        <p:grpSpPr>
          <a:xfrm>
            <a:off x="9442776" y="5029246"/>
            <a:ext cx="767420" cy="767420"/>
            <a:chOff x="9442776" y="5029246"/>
            <a:chExt cx="767420" cy="767420"/>
          </a:xfrm>
        </p:grpSpPr>
        <p:sp>
          <p:nvSpPr>
            <p:cNvPr id="53" name="Oval 52">
              <a:extLst>
                <a:ext uri="{FF2B5EF4-FFF2-40B4-BE49-F238E27FC236}">
                  <a16:creationId xmlns:a16="http://schemas.microsoft.com/office/drawing/2014/main" id="{49015B64-D4E0-4540-83AA-DE5E24BF39A7}"/>
                </a:ext>
              </a:extLst>
            </p:cNvPr>
            <p:cNvSpPr/>
            <p:nvPr/>
          </p:nvSpPr>
          <p:spPr>
            <a:xfrm>
              <a:off x="9442776" y="5029246"/>
              <a:ext cx="767420" cy="767420"/>
            </a:xfrm>
            <a:prstGeom prst="ellipse">
              <a:avLst/>
            </a:prstGeom>
            <a:solidFill>
              <a:schemeClr val="accent5">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37" name="Freeform: Shape 36">
              <a:extLst>
                <a:ext uri="{FF2B5EF4-FFF2-40B4-BE49-F238E27FC236}">
                  <a16:creationId xmlns:a16="http://schemas.microsoft.com/office/drawing/2014/main" id="{74D19C74-14FF-DE46-E206-3BEAA434C83D}"/>
                </a:ext>
              </a:extLst>
            </p:cNvPr>
            <p:cNvSpPr/>
            <p:nvPr/>
          </p:nvSpPr>
          <p:spPr>
            <a:xfrm>
              <a:off x="9598937" y="5138950"/>
              <a:ext cx="435632" cy="520395"/>
            </a:xfrm>
            <a:custGeom>
              <a:avLst/>
              <a:gdLst>
                <a:gd name="connsiteX0" fmla="*/ 57617 w 199833"/>
                <a:gd name="connsiteY0" fmla="*/ 171803 h 238715"/>
                <a:gd name="connsiteX1" fmla="*/ 56379 w 199833"/>
                <a:gd name="connsiteY1" fmla="*/ 218761 h 238715"/>
                <a:gd name="connsiteX2" fmla="*/ 58474 w 199833"/>
                <a:gd name="connsiteY2" fmla="*/ 221333 h 238715"/>
                <a:gd name="connsiteX3" fmla="*/ 58474 w 199833"/>
                <a:gd name="connsiteY3" fmla="*/ 234954 h 238715"/>
                <a:gd name="connsiteX4" fmla="*/ 45425 w 199833"/>
                <a:gd name="connsiteY4" fmla="*/ 236668 h 238715"/>
                <a:gd name="connsiteX5" fmla="*/ 848 w 199833"/>
                <a:gd name="connsiteY5" fmla="*/ 169993 h 238715"/>
                <a:gd name="connsiteX6" fmla="*/ 21232 w 199833"/>
                <a:gd name="connsiteY6" fmla="*/ 99604 h 238715"/>
                <a:gd name="connsiteX7" fmla="*/ 38186 w 199833"/>
                <a:gd name="connsiteY7" fmla="*/ 102366 h 238715"/>
                <a:gd name="connsiteX8" fmla="*/ 38853 w 199833"/>
                <a:gd name="connsiteY8" fmla="*/ 103985 h 238715"/>
                <a:gd name="connsiteX9" fmla="*/ 60037 w 199833"/>
                <a:gd name="connsiteY9" fmla="*/ 116320 h 238715"/>
                <a:gd name="connsiteX10" fmla="*/ 65904 w 199833"/>
                <a:gd name="connsiteY10" fmla="*/ 113510 h 238715"/>
                <a:gd name="connsiteX11" fmla="*/ 72952 w 199833"/>
                <a:gd name="connsiteY11" fmla="*/ 99222 h 238715"/>
                <a:gd name="connsiteX12" fmla="*/ 65904 w 199833"/>
                <a:gd name="connsiteY12" fmla="*/ 80172 h 238715"/>
                <a:gd name="connsiteX13" fmla="*/ 65904 w 199833"/>
                <a:gd name="connsiteY13" fmla="*/ 35500 h 238715"/>
                <a:gd name="connsiteX14" fmla="*/ 91812 w 199833"/>
                <a:gd name="connsiteY14" fmla="*/ 4925 h 238715"/>
                <a:gd name="connsiteX15" fmla="*/ 100861 w 199833"/>
                <a:gd name="connsiteY15" fmla="*/ 353 h 238715"/>
                <a:gd name="connsiteX16" fmla="*/ 112024 w 199833"/>
                <a:gd name="connsiteY16" fmla="*/ 5411 h 238715"/>
                <a:gd name="connsiteX17" fmla="*/ 112576 w 199833"/>
                <a:gd name="connsiteY17" fmla="*/ 8735 h 238715"/>
                <a:gd name="connsiteX18" fmla="*/ 112576 w 199833"/>
                <a:gd name="connsiteY18" fmla="*/ 15117 h 238715"/>
                <a:gd name="connsiteX19" fmla="*/ 123625 w 199833"/>
                <a:gd name="connsiteY19" fmla="*/ 42835 h 238715"/>
                <a:gd name="connsiteX20" fmla="*/ 143723 w 199833"/>
                <a:gd name="connsiteY20" fmla="*/ 58265 h 238715"/>
                <a:gd name="connsiteX21" fmla="*/ 172298 w 199833"/>
                <a:gd name="connsiteY21" fmla="*/ 97318 h 238715"/>
                <a:gd name="connsiteX22" fmla="*/ 168583 w 199833"/>
                <a:gd name="connsiteY22" fmla="*/ 131608 h 238715"/>
                <a:gd name="connsiteX23" fmla="*/ 163154 w 199833"/>
                <a:gd name="connsiteY23" fmla="*/ 148276 h 238715"/>
                <a:gd name="connsiteX24" fmla="*/ 168393 w 199833"/>
                <a:gd name="connsiteY24" fmla="*/ 146371 h 238715"/>
                <a:gd name="connsiteX25" fmla="*/ 181347 w 199833"/>
                <a:gd name="connsiteY25" fmla="*/ 136370 h 238715"/>
                <a:gd name="connsiteX26" fmla="*/ 185633 w 199833"/>
                <a:gd name="connsiteY26" fmla="*/ 132941 h 238715"/>
                <a:gd name="connsiteX27" fmla="*/ 197063 w 199833"/>
                <a:gd name="connsiteY27" fmla="*/ 137227 h 238715"/>
                <a:gd name="connsiteX28" fmla="*/ 185633 w 199833"/>
                <a:gd name="connsiteY28" fmla="*/ 205998 h 238715"/>
                <a:gd name="connsiteX29" fmla="*/ 160678 w 199833"/>
                <a:gd name="connsiteY29" fmla="*/ 232763 h 238715"/>
                <a:gd name="connsiteX30" fmla="*/ 143209 w 199833"/>
                <a:gd name="connsiteY30" fmla="*/ 231496 h 238715"/>
                <a:gd name="connsiteX31" fmla="*/ 141628 w 199833"/>
                <a:gd name="connsiteY31" fmla="*/ 217618 h 238715"/>
                <a:gd name="connsiteX32" fmla="*/ 137056 w 199833"/>
                <a:gd name="connsiteY32" fmla="*/ 167898 h 238715"/>
                <a:gd name="connsiteX33" fmla="*/ 120863 w 199833"/>
                <a:gd name="connsiteY33" fmla="*/ 141609 h 238715"/>
                <a:gd name="connsiteX34" fmla="*/ 107623 w 199833"/>
                <a:gd name="connsiteY34" fmla="*/ 106462 h 238715"/>
                <a:gd name="connsiteX35" fmla="*/ 105528 w 199833"/>
                <a:gd name="connsiteY35" fmla="*/ 109224 h 238715"/>
                <a:gd name="connsiteX36" fmla="*/ 92383 w 199833"/>
                <a:gd name="connsiteY36" fmla="*/ 147324 h 238715"/>
                <a:gd name="connsiteX37" fmla="*/ 96956 w 199833"/>
                <a:gd name="connsiteY37" fmla="*/ 168945 h 238715"/>
                <a:gd name="connsiteX38" fmla="*/ 97432 w 199833"/>
                <a:gd name="connsiteY38" fmla="*/ 169803 h 238715"/>
                <a:gd name="connsiteX39" fmla="*/ 95050 w 199833"/>
                <a:gd name="connsiteY39" fmla="*/ 194282 h 238715"/>
                <a:gd name="connsiteX40" fmla="*/ 67714 w 199833"/>
                <a:gd name="connsiteY40" fmla="*/ 192187 h 238715"/>
                <a:gd name="connsiteX41" fmla="*/ 58189 w 199833"/>
                <a:gd name="connsiteY41" fmla="*/ 171994 h 238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833" h="238715">
                  <a:moveTo>
                    <a:pt x="57617" y="171803"/>
                  </a:moveTo>
                  <a:cubicBezTo>
                    <a:pt x="45844" y="185071"/>
                    <a:pt x="45321" y="204893"/>
                    <a:pt x="56379" y="218761"/>
                  </a:cubicBezTo>
                  <a:lnTo>
                    <a:pt x="58474" y="221333"/>
                  </a:lnTo>
                  <a:cubicBezTo>
                    <a:pt x="61951" y="225210"/>
                    <a:pt x="61951" y="231077"/>
                    <a:pt x="58474" y="234954"/>
                  </a:cubicBezTo>
                  <a:cubicBezTo>
                    <a:pt x="55284" y="238926"/>
                    <a:pt x="49531" y="239678"/>
                    <a:pt x="45425" y="236668"/>
                  </a:cubicBezTo>
                  <a:cubicBezTo>
                    <a:pt x="20984" y="222609"/>
                    <a:pt x="4496" y="197959"/>
                    <a:pt x="848" y="169993"/>
                  </a:cubicBezTo>
                  <a:cubicBezTo>
                    <a:pt x="-3333" y="144657"/>
                    <a:pt x="4163" y="118787"/>
                    <a:pt x="21232" y="99604"/>
                  </a:cubicBezTo>
                  <a:cubicBezTo>
                    <a:pt x="29042" y="90650"/>
                    <a:pt x="33424" y="91412"/>
                    <a:pt x="38186" y="102366"/>
                  </a:cubicBezTo>
                  <a:cubicBezTo>
                    <a:pt x="38186" y="102937"/>
                    <a:pt x="38663" y="103413"/>
                    <a:pt x="38853" y="103985"/>
                  </a:cubicBezTo>
                  <a:cubicBezTo>
                    <a:pt x="41301" y="113243"/>
                    <a:pt x="50788" y="118768"/>
                    <a:pt x="60037" y="116320"/>
                  </a:cubicBezTo>
                  <a:cubicBezTo>
                    <a:pt x="62151" y="115758"/>
                    <a:pt x="64142" y="114805"/>
                    <a:pt x="65904" y="113510"/>
                  </a:cubicBezTo>
                  <a:cubicBezTo>
                    <a:pt x="71629" y="111319"/>
                    <a:pt x="74705" y="105099"/>
                    <a:pt x="72952" y="99222"/>
                  </a:cubicBezTo>
                  <a:cubicBezTo>
                    <a:pt x="71286" y="92641"/>
                    <a:pt x="68924" y="86249"/>
                    <a:pt x="65904" y="80172"/>
                  </a:cubicBezTo>
                  <a:cubicBezTo>
                    <a:pt x="58284" y="66256"/>
                    <a:pt x="58284" y="49416"/>
                    <a:pt x="65904" y="35500"/>
                  </a:cubicBezTo>
                  <a:cubicBezTo>
                    <a:pt x="71791" y="23270"/>
                    <a:pt x="80706" y="12745"/>
                    <a:pt x="91812" y="4925"/>
                  </a:cubicBezTo>
                  <a:cubicBezTo>
                    <a:pt x="94603" y="2991"/>
                    <a:pt x="97651" y="1448"/>
                    <a:pt x="100861" y="353"/>
                  </a:cubicBezTo>
                  <a:cubicBezTo>
                    <a:pt x="105338" y="-1333"/>
                    <a:pt x="110338" y="934"/>
                    <a:pt x="112024" y="5411"/>
                  </a:cubicBezTo>
                  <a:cubicBezTo>
                    <a:pt x="112424" y="6477"/>
                    <a:pt x="112614" y="7602"/>
                    <a:pt x="112576" y="8735"/>
                  </a:cubicBezTo>
                  <a:cubicBezTo>
                    <a:pt x="112576" y="10926"/>
                    <a:pt x="112576" y="12926"/>
                    <a:pt x="112576" y="15117"/>
                  </a:cubicBezTo>
                  <a:cubicBezTo>
                    <a:pt x="111748" y="25575"/>
                    <a:pt x="115834" y="35815"/>
                    <a:pt x="123625" y="42835"/>
                  </a:cubicBezTo>
                  <a:cubicBezTo>
                    <a:pt x="129902" y="48502"/>
                    <a:pt x="136627" y="53664"/>
                    <a:pt x="143723" y="58265"/>
                  </a:cubicBezTo>
                  <a:cubicBezTo>
                    <a:pt x="158649" y="66304"/>
                    <a:pt x="169155" y="80658"/>
                    <a:pt x="172298" y="97318"/>
                  </a:cubicBezTo>
                  <a:cubicBezTo>
                    <a:pt x="173784" y="108881"/>
                    <a:pt x="172508" y="120635"/>
                    <a:pt x="168583" y="131608"/>
                  </a:cubicBezTo>
                  <a:cubicBezTo>
                    <a:pt x="166869" y="136751"/>
                    <a:pt x="165250" y="141990"/>
                    <a:pt x="163154" y="148276"/>
                  </a:cubicBezTo>
                  <a:cubicBezTo>
                    <a:pt x="164993" y="147933"/>
                    <a:pt x="166764" y="147295"/>
                    <a:pt x="168393" y="146371"/>
                  </a:cubicBezTo>
                  <a:cubicBezTo>
                    <a:pt x="172774" y="143133"/>
                    <a:pt x="177061" y="139704"/>
                    <a:pt x="181347" y="136370"/>
                  </a:cubicBezTo>
                  <a:lnTo>
                    <a:pt x="185633" y="132941"/>
                  </a:lnTo>
                  <a:cubicBezTo>
                    <a:pt x="191348" y="128845"/>
                    <a:pt x="195158" y="130369"/>
                    <a:pt x="197063" y="137227"/>
                  </a:cubicBezTo>
                  <a:cubicBezTo>
                    <a:pt x="202730" y="160754"/>
                    <a:pt x="198606" y="185576"/>
                    <a:pt x="185633" y="205998"/>
                  </a:cubicBezTo>
                  <a:cubicBezTo>
                    <a:pt x="179175" y="216485"/>
                    <a:pt x="170689" y="225581"/>
                    <a:pt x="160678" y="232763"/>
                  </a:cubicBezTo>
                  <a:cubicBezTo>
                    <a:pt x="155506" y="237240"/>
                    <a:pt x="147686" y="236668"/>
                    <a:pt x="143209" y="231496"/>
                  </a:cubicBezTo>
                  <a:cubicBezTo>
                    <a:pt x="139875" y="227638"/>
                    <a:pt x="139247" y="222133"/>
                    <a:pt x="141628" y="217618"/>
                  </a:cubicBezTo>
                  <a:cubicBezTo>
                    <a:pt x="148676" y="201350"/>
                    <a:pt x="146952" y="182604"/>
                    <a:pt x="137056" y="167898"/>
                  </a:cubicBezTo>
                  <a:cubicBezTo>
                    <a:pt x="131122" y="159478"/>
                    <a:pt x="125711" y="150696"/>
                    <a:pt x="120863" y="141609"/>
                  </a:cubicBezTo>
                  <a:cubicBezTo>
                    <a:pt x="115529" y="130369"/>
                    <a:pt x="112100" y="118368"/>
                    <a:pt x="107623" y="106462"/>
                  </a:cubicBezTo>
                  <a:cubicBezTo>
                    <a:pt x="107623" y="106938"/>
                    <a:pt x="106290" y="108081"/>
                    <a:pt x="105528" y="109224"/>
                  </a:cubicBezTo>
                  <a:cubicBezTo>
                    <a:pt x="97917" y="120568"/>
                    <a:pt x="93384" y="133703"/>
                    <a:pt x="92383" y="147324"/>
                  </a:cubicBezTo>
                  <a:cubicBezTo>
                    <a:pt x="91736" y="154820"/>
                    <a:pt x="93326" y="162345"/>
                    <a:pt x="96956" y="168945"/>
                  </a:cubicBezTo>
                  <a:cubicBezTo>
                    <a:pt x="97060" y="169260"/>
                    <a:pt x="97222" y="169545"/>
                    <a:pt x="97432" y="169803"/>
                  </a:cubicBezTo>
                  <a:cubicBezTo>
                    <a:pt x="103109" y="177346"/>
                    <a:pt x="102070" y="187977"/>
                    <a:pt x="95050" y="194282"/>
                  </a:cubicBezTo>
                  <a:cubicBezTo>
                    <a:pt x="86554" y="200007"/>
                    <a:pt x="75239" y="199140"/>
                    <a:pt x="67714" y="192187"/>
                  </a:cubicBezTo>
                  <a:cubicBezTo>
                    <a:pt x="62504" y="186614"/>
                    <a:pt x="59179" y="179556"/>
                    <a:pt x="58189" y="171994"/>
                  </a:cubicBezTo>
                  <a:close/>
                </a:path>
              </a:pathLst>
            </a:custGeom>
            <a:noFill/>
            <a:ln w="222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nvGrpSpPr>
          <p:cNvPr id="28" name="Group 27">
            <a:extLst>
              <a:ext uri="{FF2B5EF4-FFF2-40B4-BE49-F238E27FC236}">
                <a16:creationId xmlns:a16="http://schemas.microsoft.com/office/drawing/2014/main" id="{2C550EEE-739C-F7EC-62D8-946B697F8EBA}"/>
              </a:ext>
            </a:extLst>
          </p:cNvPr>
          <p:cNvGrpSpPr/>
          <p:nvPr/>
        </p:nvGrpSpPr>
        <p:grpSpPr>
          <a:xfrm>
            <a:off x="9442776" y="4157004"/>
            <a:ext cx="767420" cy="767420"/>
            <a:chOff x="9442776" y="4149862"/>
            <a:chExt cx="767420" cy="767420"/>
          </a:xfrm>
        </p:grpSpPr>
        <p:sp>
          <p:nvSpPr>
            <p:cNvPr id="51" name="Oval 50">
              <a:extLst>
                <a:ext uri="{FF2B5EF4-FFF2-40B4-BE49-F238E27FC236}">
                  <a16:creationId xmlns:a16="http://schemas.microsoft.com/office/drawing/2014/main" id="{0B946BD6-7BFE-4676-8AAF-5E9145E9212A}"/>
                </a:ext>
              </a:extLst>
            </p:cNvPr>
            <p:cNvSpPr>
              <a:spLocks/>
            </p:cNvSpPr>
            <p:nvPr/>
          </p:nvSpPr>
          <p:spPr>
            <a:xfrm>
              <a:off x="9442776" y="4149862"/>
              <a:ext cx="767420" cy="767420"/>
            </a:xfrm>
            <a:prstGeom prst="ellipse">
              <a:avLst/>
            </a:prstGeom>
            <a:solidFill>
              <a:schemeClr val="accent5">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38" name="Freeform: Shape 37">
              <a:extLst>
                <a:ext uri="{FF2B5EF4-FFF2-40B4-BE49-F238E27FC236}">
                  <a16:creationId xmlns:a16="http://schemas.microsoft.com/office/drawing/2014/main" id="{D19E0A49-BC4E-E5AD-118F-47093AE72EAB}"/>
                </a:ext>
              </a:extLst>
            </p:cNvPr>
            <p:cNvSpPr/>
            <p:nvPr/>
          </p:nvSpPr>
          <p:spPr>
            <a:xfrm>
              <a:off x="9598937" y="4292566"/>
              <a:ext cx="455095" cy="455096"/>
            </a:xfrm>
            <a:custGeom>
              <a:avLst/>
              <a:gdLst>
                <a:gd name="connsiteX0" fmla="*/ 2562331 w 2571518"/>
                <a:gd name="connsiteY0" fmla="*/ 367026 h 2571532"/>
                <a:gd name="connsiteX1" fmla="*/ 2443459 w 2571518"/>
                <a:gd name="connsiteY1" fmla="*/ 247678 h 2571532"/>
                <a:gd name="connsiteX2" fmla="*/ 2323539 w 2571518"/>
                <a:gd name="connsiteY2" fmla="*/ 128330 h 2571532"/>
                <a:gd name="connsiteX3" fmla="*/ 2204095 w 2571518"/>
                <a:gd name="connsiteY3" fmla="*/ 9077 h 2571532"/>
                <a:gd name="connsiteX4" fmla="*/ 2157899 w 2571518"/>
                <a:gd name="connsiteY4" fmla="*/ 9077 h 2571532"/>
                <a:gd name="connsiteX5" fmla="*/ 1905963 w 2571518"/>
                <a:gd name="connsiteY5" fmla="*/ 190814 h 2571532"/>
                <a:gd name="connsiteX6" fmla="*/ 1829191 w 2571518"/>
                <a:gd name="connsiteY6" fmla="*/ 218912 h 2571532"/>
                <a:gd name="connsiteX7" fmla="*/ 1804426 w 2571518"/>
                <a:gd name="connsiteY7" fmla="*/ 224627 h 2571532"/>
                <a:gd name="connsiteX8" fmla="*/ 1803188 w 2571518"/>
                <a:gd name="connsiteY8" fmla="*/ 224627 h 2571532"/>
                <a:gd name="connsiteX9" fmla="*/ 1802617 w 2571518"/>
                <a:gd name="connsiteY9" fmla="*/ 224627 h 2571532"/>
                <a:gd name="connsiteX10" fmla="*/ 1793092 w 2571518"/>
                <a:gd name="connsiteY10" fmla="*/ 225580 h 2571532"/>
                <a:gd name="connsiteX11" fmla="*/ 547984 w 2571518"/>
                <a:gd name="connsiteY11" fmla="*/ 1068923 h 2571532"/>
                <a:gd name="connsiteX12" fmla="*/ 279379 w 2571518"/>
                <a:gd name="connsiteY12" fmla="*/ 1604133 h 2571532"/>
                <a:gd name="connsiteX13" fmla="*/ 190415 w 2571518"/>
                <a:gd name="connsiteY13" fmla="*/ 1906837 h 2571532"/>
                <a:gd name="connsiteX14" fmla="*/ 9440 w 2571518"/>
                <a:gd name="connsiteY14" fmla="*/ 2157441 h 2571532"/>
                <a:gd name="connsiteX15" fmla="*/ 9440 w 2571518"/>
                <a:gd name="connsiteY15" fmla="*/ 2203637 h 2571532"/>
                <a:gd name="connsiteX16" fmla="*/ 128883 w 2571518"/>
                <a:gd name="connsiteY16" fmla="*/ 2322985 h 2571532"/>
                <a:gd name="connsiteX17" fmla="*/ 248136 w 2571518"/>
                <a:gd name="connsiteY17" fmla="*/ 2442238 h 2571532"/>
                <a:gd name="connsiteX18" fmla="*/ 367580 w 2571518"/>
                <a:gd name="connsiteY18" fmla="*/ 2561586 h 2571532"/>
                <a:gd name="connsiteX19" fmla="*/ 391488 w 2571518"/>
                <a:gd name="connsiteY19" fmla="*/ 2571111 h 2571532"/>
                <a:gd name="connsiteX20" fmla="*/ 413967 w 2571518"/>
                <a:gd name="connsiteY20" fmla="*/ 2561586 h 2571532"/>
                <a:gd name="connsiteX21" fmla="*/ 743341 w 2571518"/>
                <a:gd name="connsiteY21" fmla="*/ 2353751 h 2571532"/>
                <a:gd name="connsiteX22" fmla="*/ 958035 w 2571518"/>
                <a:gd name="connsiteY22" fmla="*/ 2294696 h 2571532"/>
                <a:gd name="connsiteX23" fmla="*/ 1165680 w 2571518"/>
                <a:gd name="connsiteY23" fmla="*/ 2214305 h 2571532"/>
                <a:gd name="connsiteX24" fmla="*/ 1895200 w 2571518"/>
                <a:gd name="connsiteY24" fmla="*/ 1668141 h 2571532"/>
                <a:gd name="connsiteX25" fmla="*/ 2280295 w 2571518"/>
                <a:gd name="connsiteY25" fmla="*/ 1012249 h 2571532"/>
                <a:gd name="connsiteX26" fmla="*/ 2343827 w 2571518"/>
                <a:gd name="connsiteY26" fmla="*/ 807367 h 2571532"/>
                <a:gd name="connsiteX27" fmla="*/ 2353352 w 2571518"/>
                <a:gd name="connsiteY27" fmla="*/ 754122 h 2571532"/>
                <a:gd name="connsiteX28" fmla="*/ 2353352 w 2571518"/>
                <a:gd name="connsiteY28" fmla="*/ 747264 h 2571532"/>
                <a:gd name="connsiteX29" fmla="*/ 2428028 w 2571518"/>
                <a:gd name="connsiteY29" fmla="*/ 574862 h 2571532"/>
                <a:gd name="connsiteX30" fmla="*/ 2562140 w 2571518"/>
                <a:gd name="connsiteY30" fmla="*/ 413413 h 2571532"/>
                <a:gd name="connsiteX31" fmla="*/ 2562140 w 2571518"/>
                <a:gd name="connsiteY31" fmla="*/ 367216 h 2571532"/>
                <a:gd name="connsiteX32" fmla="*/ 1561253 w 2571518"/>
                <a:gd name="connsiteY32" fmla="*/ 1560604 h 2571532"/>
                <a:gd name="connsiteX33" fmla="*/ 1265026 w 2571518"/>
                <a:gd name="connsiteY33" fmla="*/ 1773487 h 2571532"/>
                <a:gd name="connsiteX34" fmla="*/ 975370 w 2571518"/>
                <a:gd name="connsiteY34" fmla="*/ 1889121 h 2571532"/>
                <a:gd name="connsiteX35" fmla="*/ 609610 w 2571518"/>
                <a:gd name="connsiteY35" fmla="*/ 2096385 h 2571532"/>
                <a:gd name="connsiteX36" fmla="*/ 565128 w 2571518"/>
                <a:gd name="connsiteY36" fmla="*/ 2128294 h 2571532"/>
                <a:gd name="connsiteX37" fmla="*/ 711528 w 2571518"/>
                <a:gd name="connsiteY37" fmla="*/ 1907600 h 2571532"/>
                <a:gd name="connsiteX38" fmla="*/ 923650 w 2571518"/>
                <a:gd name="connsiteY38" fmla="*/ 1798348 h 2571532"/>
                <a:gd name="connsiteX39" fmla="*/ 939080 w 2571518"/>
                <a:gd name="connsiteY39" fmla="*/ 1791680 h 2571532"/>
                <a:gd name="connsiteX40" fmla="*/ 947557 w 2571518"/>
                <a:gd name="connsiteY40" fmla="*/ 1787966 h 2571532"/>
                <a:gd name="connsiteX41" fmla="*/ 1285981 w 2571518"/>
                <a:gd name="connsiteY41" fmla="*/ 1643091 h 2571532"/>
                <a:gd name="connsiteX42" fmla="*/ 1584970 w 2571518"/>
                <a:gd name="connsiteY42" fmla="*/ 1372390 h 2571532"/>
                <a:gd name="connsiteX43" fmla="*/ 1732513 w 2571518"/>
                <a:gd name="connsiteY43" fmla="*/ 1094355 h 2571532"/>
                <a:gd name="connsiteX44" fmla="*/ 1880722 w 2571518"/>
                <a:gd name="connsiteY44" fmla="*/ 756980 h 2571532"/>
                <a:gd name="connsiteX45" fmla="*/ 1905105 w 2571518"/>
                <a:gd name="connsiteY45" fmla="*/ 713736 h 2571532"/>
                <a:gd name="connsiteX46" fmla="*/ 2117227 w 2571518"/>
                <a:gd name="connsiteY46" fmla="*/ 574099 h 2571532"/>
                <a:gd name="connsiteX47" fmla="*/ 1932633 w 2571518"/>
                <a:gd name="connsiteY47" fmla="*/ 886234 h 2571532"/>
                <a:gd name="connsiteX48" fmla="*/ 1715368 w 2571518"/>
                <a:gd name="connsiteY48" fmla="*/ 1366484 h 2571532"/>
                <a:gd name="connsiteX49" fmla="*/ 1561253 w 2571518"/>
                <a:gd name="connsiteY49" fmla="*/ 1560508 h 2571532"/>
                <a:gd name="connsiteX50" fmla="*/ 2373545 w 2571518"/>
                <a:gd name="connsiteY50" fmla="*/ 271205 h 2571532"/>
                <a:gd name="connsiteX51" fmla="*/ 1983592 w 2571518"/>
                <a:gd name="connsiteY51" fmla="*/ 588197 h 2571532"/>
                <a:gd name="connsiteX52" fmla="*/ 2300584 w 2571518"/>
                <a:gd name="connsiteY52" fmla="*/ 197957 h 2571532"/>
                <a:gd name="connsiteX53" fmla="*/ 2373259 w 2571518"/>
                <a:gd name="connsiteY53" fmla="*/ 270728 h 2571532"/>
                <a:gd name="connsiteX54" fmla="*/ 1857862 w 2571518"/>
                <a:gd name="connsiteY54" fmla="*/ 666206 h 2571532"/>
                <a:gd name="connsiteX55" fmla="*/ 1632691 w 2571518"/>
                <a:gd name="connsiteY55" fmla="*/ 780030 h 2571532"/>
                <a:gd name="connsiteX56" fmla="*/ 1623166 w 2571518"/>
                <a:gd name="connsiteY56" fmla="*/ 784221 h 2571532"/>
                <a:gd name="connsiteX57" fmla="*/ 1423903 w 2571518"/>
                <a:gd name="connsiteY57" fmla="*/ 859088 h 2571532"/>
                <a:gd name="connsiteX58" fmla="*/ 1245023 w 2571518"/>
                <a:gd name="connsiteY58" fmla="*/ 953861 h 2571532"/>
                <a:gd name="connsiteX59" fmla="*/ 958702 w 2571518"/>
                <a:gd name="connsiteY59" fmla="*/ 1237897 h 2571532"/>
                <a:gd name="connsiteX60" fmla="*/ 824685 w 2571518"/>
                <a:gd name="connsiteY60" fmla="*/ 1519075 h 2571532"/>
                <a:gd name="connsiteX61" fmla="*/ 783537 w 2571518"/>
                <a:gd name="connsiteY61" fmla="*/ 1623850 h 2571532"/>
                <a:gd name="connsiteX62" fmla="*/ 779632 w 2571518"/>
                <a:gd name="connsiteY62" fmla="*/ 1632804 h 2571532"/>
                <a:gd name="connsiteX63" fmla="*/ 695716 w 2571518"/>
                <a:gd name="connsiteY63" fmla="*/ 1802920 h 2571532"/>
                <a:gd name="connsiteX64" fmla="*/ 663617 w 2571518"/>
                <a:gd name="connsiteY64" fmla="*/ 1860070 h 2571532"/>
                <a:gd name="connsiteX65" fmla="*/ 449495 w 2571518"/>
                <a:gd name="connsiteY65" fmla="*/ 2001230 h 2571532"/>
                <a:gd name="connsiteX66" fmla="*/ 697907 w 2571518"/>
                <a:gd name="connsiteY66" fmla="*/ 1559937 h 2571532"/>
                <a:gd name="connsiteX67" fmla="*/ 774107 w 2571518"/>
                <a:gd name="connsiteY67" fmla="*/ 1358007 h 2571532"/>
                <a:gd name="connsiteX68" fmla="*/ 1149773 w 2571518"/>
                <a:gd name="connsiteY68" fmla="*/ 893854 h 2571532"/>
                <a:gd name="connsiteX69" fmla="*/ 1433809 w 2571518"/>
                <a:gd name="connsiteY69" fmla="*/ 744121 h 2571532"/>
                <a:gd name="connsiteX70" fmla="*/ 1719559 w 2571518"/>
                <a:gd name="connsiteY70" fmla="*/ 622868 h 2571532"/>
                <a:gd name="connsiteX71" fmla="*/ 2001403 w 2571518"/>
                <a:gd name="connsiteY71" fmla="*/ 449227 h 2571532"/>
                <a:gd name="connsiteX72" fmla="*/ 1858528 w 2571518"/>
                <a:gd name="connsiteY72" fmla="*/ 665730 h 2571532"/>
                <a:gd name="connsiteX73" fmla="*/ 1745943 w 2571518"/>
                <a:gd name="connsiteY73" fmla="*/ 882138 h 2571532"/>
                <a:gd name="connsiteX74" fmla="*/ 1732893 w 2571518"/>
                <a:gd name="connsiteY74" fmla="*/ 912237 h 2571532"/>
                <a:gd name="connsiteX75" fmla="*/ 1176634 w 2571518"/>
                <a:gd name="connsiteY75" fmla="*/ 1467735 h 2571532"/>
                <a:gd name="connsiteX76" fmla="*/ 911838 w 2571518"/>
                <a:gd name="connsiteY76" fmla="*/ 1732721 h 2571532"/>
                <a:gd name="connsiteX77" fmla="*/ 771249 w 2571518"/>
                <a:gd name="connsiteY77" fmla="*/ 1800253 h 2571532"/>
                <a:gd name="connsiteX78" fmla="*/ 822875 w 2571518"/>
                <a:gd name="connsiteY78" fmla="*/ 1694906 h 2571532"/>
                <a:gd name="connsiteX79" fmla="*/ 838210 w 2571518"/>
                <a:gd name="connsiteY79" fmla="*/ 1659950 h 2571532"/>
                <a:gd name="connsiteX80" fmla="*/ 1394566 w 2571518"/>
                <a:gd name="connsiteY80" fmla="*/ 1103595 h 2571532"/>
                <a:gd name="connsiteX81" fmla="*/ 1659265 w 2571518"/>
                <a:gd name="connsiteY81" fmla="*/ 838704 h 2571532"/>
                <a:gd name="connsiteX82" fmla="*/ 1798711 w 2571518"/>
                <a:gd name="connsiteY82" fmla="*/ 772505 h 2571532"/>
                <a:gd name="connsiteX83" fmla="*/ 1745943 w 2571518"/>
                <a:gd name="connsiteY83" fmla="*/ 881662 h 2571532"/>
                <a:gd name="connsiteX84" fmla="*/ 1673648 w 2571518"/>
                <a:gd name="connsiteY84" fmla="*/ 1063780 h 2571532"/>
                <a:gd name="connsiteX85" fmla="*/ 1574683 w 2571518"/>
                <a:gd name="connsiteY85" fmla="*/ 1273330 h 2571532"/>
                <a:gd name="connsiteX86" fmla="*/ 1294077 w 2571518"/>
                <a:gd name="connsiteY86" fmla="*/ 1560985 h 2571532"/>
                <a:gd name="connsiteX87" fmla="*/ 1064334 w 2571518"/>
                <a:gd name="connsiteY87" fmla="*/ 1672809 h 2571532"/>
                <a:gd name="connsiteX88" fmla="*/ 1513723 w 2571518"/>
                <a:gd name="connsiteY88" fmla="*/ 1223419 h 2571532"/>
                <a:gd name="connsiteX89" fmla="*/ 1673743 w 2571518"/>
                <a:gd name="connsiteY89" fmla="*/ 1063589 h 2571532"/>
                <a:gd name="connsiteX90" fmla="*/ 896598 w 2571518"/>
                <a:gd name="connsiteY90" fmla="*/ 1509455 h 2571532"/>
                <a:gd name="connsiteX91" fmla="*/ 976609 w 2571518"/>
                <a:gd name="connsiteY91" fmla="*/ 1332195 h 2571532"/>
                <a:gd name="connsiteX92" fmla="*/ 1244928 w 2571518"/>
                <a:gd name="connsiteY92" fmla="*/ 1033205 h 2571532"/>
                <a:gd name="connsiteX93" fmla="*/ 1508866 w 2571518"/>
                <a:gd name="connsiteY93" fmla="*/ 897188 h 2571532"/>
                <a:gd name="connsiteX94" fmla="*/ 1057571 w 2571518"/>
                <a:gd name="connsiteY94" fmla="*/ 1348292 h 2571532"/>
                <a:gd name="connsiteX95" fmla="*/ 896598 w 2571518"/>
                <a:gd name="connsiteY95" fmla="*/ 1509455 h 2571532"/>
                <a:gd name="connsiteX96" fmla="*/ 271758 w 2571518"/>
                <a:gd name="connsiteY96" fmla="*/ 2372705 h 2571532"/>
                <a:gd name="connsiteX97" fmla="*/ 198511 w 2571518"/>
                <a:gd name="connsiteY97" fmla="*/ 2300030 h 2571532"/>
                <a:gd name="connsiteX98" fmla="*/ 584845 w 2571518"/>
                <a:gd name="connsiteY98" fmla="*/ 1986467 h 2571532"/>
                <a:gd name="connsiteX99" fmla="*/ 271758 w 2571518"/>
                <a:gd name="connsiteY99" fmla="*/ 2372705 h 2571532"/>
                <a:gd name="connsiteX100" fmla="*/ 1833859 w 2571518"/>
                <a:gd name="connsiteY100" fmla="*/ 257965 h 2571532"/>
                <a:gd name="connsiteX101" fmla="*/ 1833859 w 2571518"/>
                <a:gd name="connsiteY101" fmla="*/ 257203 h 2571532"/>
                <a:gd name="connsiteX102" fmla="*/ 1833859 w 2571518"/>
                <a:gd name="connsiteY102" fmla="*/ 257203 h 2571532"/>
                <a:gd name="connsiteX103" fmla="*/ 1833859 w 2571518"/>
                <a:gd name="connsiteY103" fmla="*/ 257965 h 2571532"/>
                <a:gd name="connsiteX104" fmla="*/ 1803474 w 2571518"/>
                <a:gd name="connsiteY104" fmla="*/ 224913 h 2571532"/>
                <a:gd name="connsiteX105" fmla="*/ 1803474 w 2571518"/>
                <a:gd name="connsiteY105" fmla="*/ 224913 h 2571532"/>
                <a:gd name="connsiteX106" fmla="*/ 270711 w 2571518"/>
                <a:gd name="connsiteY106" fmla="*/ 1877786 h 2571532"/>
                <a:gd name="connsiteX107" fmla="*/ 323765 w 2571518"/>
                <a:gd name="connsiteY107" fmla="*/ 1681000 h 2571532"/>
                <a:gd name="connsiteX108" fmla="*/ 388249 w 2571518"/>
                <a:gd name="connsiteY108" fmla="*/ 1497739 h 2571532"/>
                <a:gd name="connsiteX109" fmla="*/ 1805284 w 2571518"/>
                <a:gd name="connsiteY109" fmla="*/ 290255 h 2571532"/>
                <a:gd name="connsiteX110" fmla="*/ 1924251 w 2571518"/>
                <a:gd name="connsiteY110" fmla="*/ 253964 h 2571532"/>
                <a:gd name="connsiteX111" fmla="*/ 2181426 w 2571518"/>
                <a:gd name="connsiteY111" fmla="*/ 77847 h 2571532"/>
                <a:gd name="connsiteX112" fmla="*/ 2254768 w 2571518"/>
                <a:gd name="connsiteY112" fmla="*/ 151094 h 2571532"/>
                <a:gd name="connsiteX113" fmla="*/ 1535345 w 2571518"/>
                <a:gd name="connsiteY113" fmla="*/ 636869 h 2571532"/>
                <a:gd name="connsiteX114" fmla="*/ 1356370 w 2571518"/>
                <a:gd name="connsiteY114" fmla="*/ 703544 h 2571532"/>
                <a:gd name="connsiteX115" fmla="*/ 1176634 w 2571518"/>
                <a:gd name="connsiteY115" fmla="*/ 796604 h 2571532"/>
                <a:gd name="connsiteX116" fmla="*/ 877548 w 2571518"/>
                <a:gd name="connsiteY116" fmla="*/ 1064447 h 2571532"/>
                <a:gd name="connsiteX117" fmla="*/ 711433 w 2571518"/>
                <a:gd name="connsiteY117" fmla="*/ 1339719 h 2571532"/>
                <a:gd name="connsiteX118" fmla="*/ 651901 w 2571518"/>
                <a:gd name="connsiteY118" fmla="*/ 1499644 h 2571532"/>
                <a:gd name="connsiteX119" fmla="*/ 576559 w 2571518"/>
                <a:gd name="connsiteY119" fmla="*/ 1669570 h 2571532"/>
                <a:gd name="connsiteX120" fmla="*/ 151934 w 2571518"/>
                <a:gd name="connsiteY120" fmla="*/ 2253452 h 2571532"/>
                <a:gd name="connsiteX121" fmla="*/ 78782 w 2571518"/>
                <a:gd name="connsiteY121" fmla="*/ 2180205 h 2571532"/>
                <a:gd name="connsiteX122" fmla="*/ 270711 w 2571518"/>
                <a:gd name="connsiteY122" fmla="*/ 1877786 h 2571532"/>
                <a:gd name="connsiteX123" fmla="*/ 2371735 w 2571518"/>
                <a:gd name="connsiteY123" fmla="*/ 541715 h 2571532"/>
                <a:gd name="connsiteX124" fmla="*/ 2287153 w 2571518"/>
                <a:gd name="connsiteY124" fmla="*/ 741740 h 2571532"/>
                <a:gd name="connsiteX125" fmla="*/ 2282486 w 2571518"/>
                <a:gd name="connsiteY125" fmla="*/ 760790 h 2571532"/>
                <a:gd name="connsiteX126" fmla="*/ 2283153 w 2571518"/>
                <a:gd name="connsiteY126" fmla="*/ 778982 h 2571532"/>
                <a:gd name="connsiteX127" fmla="*/ 2265722 w 2571518"/>
                <a:gd name="connsiteY127" fmla="*/ 848324 h 2571532"/>
                <a:gd name="connsiteX128" fmla="*/ 2176663 w 2571518"/>
                <a:gd name="connsiteY128" fmla="*/ 1095022 h 2571532"/>
                <a:gd name="connsiteX129" fmla="*/ 1706890 w 2571518"/>
                <a:gd name="connsiteY129" fmla="*/ 1772535 h 2571532"/>
                <a:gd name="connsiteX130" fmla="*/ 1024710 w 2571518"/>
                <a:gd name="connsiteY130" fmla="*/ 2202303 h 2571532"/>
                <a:gd name="connsiteX131" fmla="*/ 838687 w 2571518"/>
                <a:gd name="connsiteY131" fmla="*/ 2262597 h 2571532"/>
                <a:gd name="connsiteX132" fmla="*/ 652759 w 2571518"/>
                <a:gd name="connsiteY132" fmla="*/ 2315555 h 2571532"/>
                <a:gd name="connsiteX133" fmla="*/ 390821 w 2571518"/>
                <a:gd name="connsiteY133" fmla="*/ 2492816 h 2571532"/>
                <a:gd name="connsiteX134" fmla="*/ 317478 w 2571518"/>
                <a:gd name="connsiteY134" fmla="*/ 2419473 h 2571532"/>
                <a:gd name="connsiteX135" fmla="*/ 516075 w 2571518"/>
                <a:gd name="connsiteY135" fmla="*/ 2245642 h 2571532"/>
                <a:gd name="connsiteX136" fmla="*/ 866880 w 2571518"/>
                <a:gd name="connsiteY136" fmla="*/ 2011518 h 2571532"/>
                <a:gd name="connsiteX137" fmla="*/ 1463908 w 2571518"/>
                <a:gd name="connsiteY137" fmla="*/ 1731006 h 2571532"/>
                <a:gd name="connsiteX138" fmla="*/ 1606783 w 2571518"/>
                <a:gd name="connsiteY138" fmla="*/ 1607181 h 2571532"/>
                <a:gd name="connsiteX139" fmla="*/ 1784424 w 2571518"/>
                <a:gd name="connsiteY139" fmla="*/ 1377628 h 2571532"/>
                <a:gd name="connsiteX140" fmla="*/ 1894152 w 2571518"/>
                <a:gd name="connsiteY140" fmla="*/ 1143504 h 2571532"/>
                <a:gd name="connsiteX141" fmla="*/ 2001213 w 2571518"/>
                <a:gd name="connsiteY141" fmla="*/ 892901 h 2571532"/>
                <a:gd name="connsiteX142" fmla="*/ 2178949 w 2571518"/>
                <a:gd name="connsiteY142" fmla="*/ 597626 h 2571532"/>
                <a:gd name="connsiteX143" fmla="*/ 2419360 w 2571518"/>
                <a:gd name="connsiteY143" fmla="*/ 317877 h 2571532"/>
                <a:gd name="connsiteX144" fmla="*/ 2492608 w 2571518"/>
                <a:gd name="connsiteY144" fmla="*/ 391029 h 2571532"/>
                <a:gd name="connsiteX145" fmla="*/ 2370973 w 2571518"/>
                <a:gd name="connsiteY145" fmla="*/ 542096 h 257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571518" h="2571532">
                  <a:moveTo>
                    <a:pt x="2562331" y="367026"/>
                  </a:moveTo>
                  <a:lnTo>
                    <a:pt x="2443459" y="247678"/>
                  </a:lnTo>
                  <a:lnTo>
                    <a:pt x="2323539" y="128330"/>
                  </a:lnTo>
                  <a:lnTo>
                    <a:pt x="2204095" y="9077"/>
                  </a:lnTo>
                  <a:cubicBezTo>
                    <a:pt x="2191275" y="-3525"/>
                    <a:pt x="2170720" y="-3525"/>
                    <a:pt x="2157899" y="9077"/>
                  </a:cubicBezTo>
                  <a:cubicBezTo>
                    <a:pt x="2083795" y="82514"/>
                    <a:pt x="2000832" y="146427"/>
                    <a:pt x="1905963" y="190814"/>
                  </a:cubicBezTo>
                  <a:cubicBezTo>
                    <a:pt x="1881179" y="202263"/>
                    <a:pt x="1855509" y="211654"/>
                    <a:pt x="1829191" y="218912"/>
                  </a:cubicBezTo>
                  <a:cubicBezTo>
                    <a:pt x="1821000" y="221103"/>
                    <a:pt x="1812618" y="223008"/>
                    <a:pt x="1804426" y="224627"/>
                  </a:cubicBezTo>
                  <a:lnTo>
                    <a:pt x="1803188" y="224627"/>
                  </a:lnTo>
                  <a:lnTo>
                    <a:pt x="1802617" y="224627"/>
                  </a:lnTo>
                  <a:cubicBezTo>
                    <a:pt x="1799416" y="224523"/>
                    <a:pt x="1796206" y="224837"/>
                    <a:pt x="1793092" y="225580"/>
                  </a:cubicBezTo>
                  <a:cubicBezTo>
                    <a:pt x="1288638" y="344395"/>
                    <a:pt x="845482" y="644556"/>
                    <a:pt x="547984" y="1068923"/>
                  </a:cubicBezTo>
                  <a:cubicBezTo>
                    <a:pt x="433208" y="1233496"/>
                    <a:pt x="342744" y="1413757"/>
                    <a:pt x="279379" y="1604133"/>
                  </a:cubicBezTo>
                  <a:cubicBezTo>
                    <a:pt x="246041" y="1703765"/>
                    <a:pt x="229848" y="1809492"/>
                    <a:pt x="190415" y="1906837"/>
                  </a:cubicBezTo>
                  <a:cubicBezTo>
                    <a:pt x="150981" y="2004183"/>
                    <a:pt x="82497" y="2084193"/>
                    <a:pt x="9440" y="2157441"/>
                  </a:cubicBezTo>
                  <a:cubicBezTo>
                    <a:pt x="-3107" y="2170280"/>
                    <a:pt x="-3107" y="2190797"/>
                    <a:pt x="9440" y="2203637"/>
                  </a:cubicBezTo>
                  <a:lnTo>
                    <a:pt x="128883" y="2322985"/>
                  </a:lnTo>
                  <a:lnTo>
                    <a:pt x="248136" y="2442238"/>
                  </a:lnTo>
                  <a:lnTo>
                    <a:pt x="367580" y="2561586"/>
                  </a:lnTo>
                  <a:cubicBezTo>
                    <a:pt x="373760" y="2568120"/>
                    <a:pt x="382506" y="2571607"/>
                    <a:pt x="391488" y="2571111"/>
                  </a:cubicBezTo>
                  <a:cubicBezTo>
                    <a:pt x="399980" y="2571206"/>
                    <a:pt x="408128" y="2567758"/>
                    <a:pt x="413967" y="2561586"/>
                  </a:cubicBezTo>
                  <a:cubicBezTo>
                    <a:pt x="509217" y="2466336"/>
                    <a:pt x="612563" y="2391089"/>
                    <a:pt x="743341" y="2353751"/>
                  </a:cubicBezTo>
                  <a:cubicBezTo>
                    <a:pt x="814874" y="2333367"/>
                    <a:pt x="887169" y="2317841"/>
                    <a:pt x="958035" y="2294696"/>
                  </a:cubicBezTo>
                  <a:cubicBezTo>
                    <a:pt x="1028606" y="2271540"/>
                    <a:pt x="1097916" y="2244709"/>
                    <a:pt x="1165680" y="2214305"/>
                  </a:cubicBezTo>
                  <a:cubicBezTo>
                    <a:pt x="1446239" y="2088413"/>
                    <a:pt x="1695384" y="1901885"/>
                    <a:pt x="1895200" y="1668141"/>
                  </a:cubicBezTo>
                  <a:cubicBezTo>
                    <a:pt x="2060573" y="1473460"/>
                    <a:pt x="2190875" y="1251527"/>
                    <a:pt x="2280295" y="1012249"/>
                  </a:cubicBezTo>
                  <a:cubicBezTo>
                    <a:pt x="2305965" y="945432"/>
                    <a:pt x="2327187" y="876985"/>
                    <a:pt x="2343827" y="807367"/>
                  </a:cubicBezTo>
                  <a:cubicBezTo>
                    <a:pt x="2348028" y="789822"/>
                    <a:pt x="2351209" y="772039"/>
                    <a:pt x="2353352" y="754122"/>
                  </a:cubicBezTo>
                  <a:cubicBezTo>
                    <a:pt x="2353638" y="751846"/>
                    <a:pt x="2353638" y="749541"/>
                    <a:pt x="2353352" y="747264"/>
                  </a:cubicBezTo>
                  <a:cubicBezTo>
                    <a:pt x="2370011" y="686571"/>
                    <a:pt x="2395148" y="628526"/>
                    <a:pt x="2428028" y="574862"/>
                  </a:cubicBezTo>
                  <a:cubicBezTo>
                    <a:pt x="2465080" y="515140"/>
                    <a:pt x="2512801" y="463133"/>
                    <a:pt x="2562140" y="413413"/>
                  </a:cubicBezTo>
                  <a:cubicBezTo>
                    <a:pt x="2574684" y="400573"/>
                    <a:pt x="2574684" y="380056"/>
                    <a:pt x="2562140" y="367216"/>
                  </a:cubicBezTo>
                  <a:close/>
                  <a:moveTo>
                    <a:pt x="1561253" y="1560604"/>
                  </a:moveTo>
                  <a:cubicBezTo>
                    <a:pt x="1475366" y="1647939"/>
                    <a:pt x="1375182" y="1719938"/>
                    <a:pt x="1265026" y="1773487"/>
                  </a:cubicBezTo>
                  <a:cubicBezTo>
                    <a:pt x="1171204" y="1818255"/>
                    <a:pt x="1071287" y="1849116"/>
                    <a:pt x="975370" y="1889121"/>
                  </a:cubicBezTo>
                  <a:cubicBezTo>
                    <a:pt x="845670" y="1943480"/>
                    <a:pt x="722890" y="2013051"/>
                    <a:pt x="609610" y="2096385"/>
                  </a:cubicBezTo>
                  <a:cubicBezTo>
                    <a:pt x="594846" y="2107053"/>
                    <a:pt x="580083" y="2117721"/>
                    <a:pt x="565128" y="2128294"/>
                  </a:cubicBezTo>
                  <a:cubicBezTo>
                    <a:pt x="617737" y="2057323"/>
                    <a:pt x="666603" y="1983666"/>
                    <a:pt x="711528" y="1907600"/>
                  </a:cubicBezTo>
                  <a:cubicBezTo>
                    <a:pt x="780326" y="1867585"/>
                    <a:pt x="851125" y="1831123"/>
                    <a:pt x="923650" y="1798348"/>
                  </a:cubicBezTo>
                  <a:cubicBezTo>
                    <a:pt x="928793" y="1795967"/>
                    <a:pt x="933936" y="1793871"/>
                    <a:pt x="939080" y="1791680"/>
                  </a:cubicBezTo>
                  <a:cubicBezTo>
                    <a:pt x="942094" y="1790928"/>
                    <a:pt x="944960" y="1789671"/>
                    <a:pt x="947557" y="1787966"/>
                  </a:cubicBezTo>
                  <a:cubicBezTo>
                    <a:pt x="1061000" y="1739769"/>
                    <a:pt x="1179301" y="1706718"/>
                    <a:pt x="1285981" y="1643091"/>
                  </a:cubicBezTo>
                  <a:cubicBezTo>
                    <a:pt x="1402081" y="1572862"/>
                    <a:pt x="1503589" y="1480956"/>
                    <a:pt x="1584970" y="1372390"/>
                  </a:cubicBezTo>
                  <a:cubicBezTo>
                    <a:pt x="1648521" y="1288084"/>
                    <a:pt x="1698318" y="1194244"/>
                    <a:pt x="1732513" y="1094355"/>
                  </a:cubicBezTo>
                  <a:cubicBezTo>
                    <a:pt x="1772451" y="977969"/>
                    <a:pt x="1822028" y="865126"/>
                    <a:pt x="1880722" y="756980"/>
                  </a:cubicBezTo>
                  <a:cubicBezTo>
                    <a:pt x="1888627" y="742406"/>
                    <a:pt x="1896819" y="728405"/>
                    <a:pt x="1905105" y="713736"/>
                  </a:cubicBezTo>
                  <a:cubicBezTo>
                    <a:pt x="1978153" y="670855"/>
                    <a:pt x="2048952" y="624249"/>
                    <a:pt x="2117227" y="574099"/>
                  </a:cubicBezTo>
                  <a:cubicBezTo>
                    <a:pt x="2046342" y="672321"/>
                    <a:pt x="1984554" y="776801"/>
                    <a:pt x="1932633" y="886234"/>
                  </a:cubicBezTo>
                  <a:cubicBezTo>
                    <a:pt x="1858052" y="1045301"/>
                    <a:pt x="1807189" y="1215799"/>
                    <a:pt x="1715368" y="1366484"/>
                  </a:cubicBezTo>
                  <a:cubicBezTo>
                    <a:pt x="1671886" y="1437055"/>
                    <a:pt x="1620156" y="1502187"/>
                    <a:pt x="1561253" y="1560508"/>
                  </a:cubicBezTo>
                  <a:close/>
                  <a:moveTo>
                    <a:pt x="2373545" y="271205"/>
                  </a:moveTo>
                  <a:cubicBezTo>
                    <a:pt x="2253673" y="388733"/>
                    <a:pt x="2123123" y="494852"/>
                    <a:pt x="1983592" y="588197"/>
                  </a:cubicBezTo>
                  <a:cubicBezTo>
                    <a:pt x="2076870" y="448522"/>
                    <a:pt x="2182997" y="317877"/>
                    <a:pt x="2300584" y="197957"/>
                  </a:cubicBezTo>
                  <a:lnTo>
                    <a:pt x="2373259" y="270728"/>
                  </a:lnTo>
                  <a:close/>
                  <a:moveTo>
                    <a:pt x="1857862" y="666206"/>
                  </a:moveTo>
                  <a:cubicBezTo>
                    <a:pt x="1785024" y="708392"/>
                    <a:pt x="1709853" y="746397"/>
                    <a:pt x="1632691" y="780030"/>
                  </a:cubicBezTo>
                  <a:cubicBezTo>
                    <a:pt x="1629281" y="780821"/>
                    <a:pt x="1626052" y="782240"/>
                    <a:pt x="1623166" y="784221"/>
                  </a:cubicBezTo>
                  <a:cubicBezTo>
                    <a:pt x="1557824" y="812224"/>
                    <a:pt x="1489816" y="832418"/>
                    <a:pt x="1423903" y="859088"/>
                  </a:cubicBezTo>
                  <a:cubicBezTo>
                    <a:pt x="1361276" y="884653"/>
                    <a:pt x="1301354" y="916400"/>
                    <a:pt x="1245023" y="953861"/>
                  </a:cubicBezTo>
                  <a:cubicBezTo>
                    <a:pt x="1132315" y="1029385"/>
                    <a:pt x="1035123" y="1125797"/>
                    <a:pt x="958702" y="1237897"/>
                  </a:cubicBezTo>
                  <a:cubicBezTo>
                    <a:pt x="898789" y="1325051"/>
                    <a:pt x="859832" y="1420015"/>
                    <a:pt x="824685" y="1519075"/>
                  </a:cubicBezTo>
                  <a:cubicBezTo>
                    <a:pt x="812112" y="1554508"/>
                    <a:pt x="798205" y="1589274"/>
                    <a:pt x="783537" y="1623850"/>
                  </a:cubicBezTo>
                  <a:cubicBezTo>
                    <a:pt x="781745" y="1626593"/>
                    <a:pt x="780426" y="1629622"/>
                    <a:pt x="779632" y="1632804"/>
                  </a:cubicBezTo>
                  <a:cubicBezTo>
                    <a:pt x="754295" y="1690430"/>
                    <a:pt x="726006" y="1747580"/>
                    <a:pt x="695716" y="1802920"/>
                  </a:cubicBezTo>
                  <a:cubicBezTo>
                    <a:pt x="685429" y="1821970"/>
                    <a:pt x="674571" y="1841020"/>
                    <a:pt x="663617" y="1860070"/>
                  </a:cubicBezTo>
                  <a:cubicBezTo>
                    <a:pt x="589957" y="1903504"/>
                    <a:pt x="518583" y="1950557"/>
                    <a:pt x="449495" y="2001230"/>
                  </a:cubicBezTo>
                  <a:cubicBezTo>
                    <a:pt x="549085" y="1864232"/>
                    <a:pt x="632445" y="1716147"/>
                    <a:pt x="697907" y="1559937"/>
                  </a:cubicBezTo>
                  <a:cubicBezTo>
                    <a:pt x="725434" y="1493262"/>
                    <a:pt x="745532" y="1423920"/>
                    <a:pt x="774107" y="1358007"/>
                  </a:cubicBezTo>
                  <a:cubicBezTo>
                    <a:pt x="856293" y="1172917"/>
                    <a:pt x="985881" y="1012812"/>
                    <a:pt x="1149773" y="893854"/>
                  </a:cubicBezTo>
                  <a:cubicBezTo>
                    <a:pt x="1236708" y="830455"/>
                    <a:pt x="1332386" y="780021"/>
                    <a:pt x="1433809" y="744121"/>
                  </a:cubicBezTo>
                  <a:cubicBezTo>
                    <a:pt x="1531745" y="710355"/>
                    <a:pt x="1627223" y="669845"/>
                    <a:pt x="1719559" y="622868"/>
                  </a:cubicBezTo>
                  <a:cubicBezTo>
                    <a:pt x="1817590" y="571880"/>
                    <a:pt x="1911783" y="513854"/>
                    <a:pt x="2001403" y="449227"/>
                  </a:cubicBezTo>
                  <a:cubicBezTo>
                    <a:pt x="1950092" y="518893"/>
                    <a:pt x="1902410" y="591159"/>
                    <a:pt x="1858528" y="665730"/>
                  </a:cubicBezTo>
                  <a:close/>
                  <a:moveTo>
                    <a:pt x="1745943" y="882138"/>
                  </a:moveTo>
                  <a:cubicBezTo>
                    <a:pt x="1741466" y="892235"/>
                    <a:pt x="1737085" y="902141"/>
                    <a:pt x="1732893" y="912237"/>
                  </a:cubicBezTo>
                  <a:lnTo>
                    <a:pt x="1176634" y="1467735"/>
                  </a:lnTo>
                  <a:lnTo>
                    <a:pt x="911838" y="1732721"/>
                  </a:lnTo>
                  <a:cubicBezTo>
                    <a:pt x="864214" y="1753552"/>
                    <a:pt x="817350" y="1776059"/>
                    <a:pt x="771249" y="1800253"/>
                  </a:cubicBezTo>
                  <a:cubicBezTo>
                    <a:pt x="789347" y="1765515"/>
                    <a:pt x="806556" y="1730406"/>
                    <a:pt x="822875" y="1694906"/>
                  </a:cubicBezTo>
                  <a:cubicBezTo>
                    <a:pt x="828304" y="1683381"/>
                    <a:pt x="833257" y="1671666"/>
                    <a:pt x="838210" y="1659950"/>
                  </a:cubicBezTo>
                  <a:cubicBezTo>
                    <a:pt x="1023567" y="1474527"/>
                    <a:pt x="1209019" y="1289075"/>
                    <a:pt x="1394566" y="1103595"/>
                  </a:cubicBezTo>
                  <a:cubicBezTo>
                    <a:pt x="1482891" y="1015326"/>
                    <a:pt x="1571131" y="927029"/>
                    <a:pt x="1659265" y="838704"/>
                  </a:cubicBezTo>
                  <a:cubicBezTo>
                    <a:pt x="1706509" y="818321"/>
                    <a:pt x="1752991" y="796251"/>
                    <a:pt x="1798711" y="772505"/>
                  </a:cubicBezTo>
                  <a:cubicBezTo>
                    <a:pt x="1779661" y="808605"/>
                    <a:pt x="1762421" y="844895"/>
                    <a:pt x="1745943" y="881662"/>
                  </a:cubicBezTo>
                  <a:close/>
                  <a:moveTo>
                    <a:pt x="1673648" y="1063780"/>
                  </a:moveTo>
                  <a:cubicBezTo>
                    <a:pt x="1646026" y="1135884"/>
                    <a:pt x="1616498" y="1206655"/>
                    <a:pt x="1574683" y="1273330"/>
                  </a:cubicBezTo>
                  <a:cubicBezTo>
                    <a:pt x="1502046" y="1387582"/>
                    <a:pt x="1406491" y="1485537"/>
                    <a:pt x="1294077" y="1560985"/>
                  </a:cubicBezTo>
                  <a:cubicBezTo>
                    <a:pt x="1221496" y="1609943"/>
                    <a:pt x="1144534" y="1642424"/>
                    <a:pt x="1064334" y="1672809"/>
                  </a:cubicBezTo>
                  <a:lnTo>
                    <a:pt x="1513723" y="1223419"/>
                  </a:lnTo>
                  <a:cubicBezTo>
                    <a:pt x="1567063" y="1170203"/>
                    <a:pt x="1620403" y="1116929"/>
                    <a:pt x="1673743" y="1063589"/>
                  </a:cubicBezTo>
                  <a:close/>
                  <a:moveTo>
                    <a:pt x="896598" y="1509455"/>
                  </a:moveTo>
                  <a:cubicBezTo>
                    <a:pt x="918473" y="1448314"/>
                    <a:pt x="945229" y="1389039"/>
                    <a:pt x="976609" y="1332195"/>
                  </a:cubicBezTo>
                  <a:cubicBezTo>
                    <a:pt x="1044425" y="1215056"/>
                    <a:pt x="1135787" y="1113253"/>
                    <a:pt x="1244928" y="1033205"/>
                  </a:cubicBezTo>
                  <a:cubicBezTo>
                    <a:pt x="1325824" y="975274"/>
                    <a:pt x="1414739" y="929449"/>
                    <a:pt x="1508866" y="897188"/>
                  </a:cubicBezTo>
                  <a:lnTo>
                    <a:pt x="1057571" y="1348292"/>
                  </a:lnTo>
                  <a:cubicBezTo>
                    <a:pt x="1003596" y="1401946"/>
                    <a:pt x="949938" y="1455667"/>
                    <a:pt x="896598" y="1509455"/>
                  </a:cubicBezTo>
                  <a:close/>
                  <a:moveTo>
                    <a:pt x="271758" y="2372705"/>
                  </a:moveTo>
                  <a:lnTo>
                    <a:pt x="198511" y="2300030"/>
                  </a:lnTo>
                  <a:cubicBezTo>
                    <a:pt x="317349" y="2183825"/>
                    <a:pt x="446677" y="2078859"/>
                    <a:pt x="584845" y="1986467"/>
                  </a:cubicBezTo>
                  <a:cubicBezTo>
                    <a:pt x="492719" y="2124665"/>
                    <a:pt x="387903" y="2253976"/>
                    <a:pt x="271758" y="2372705"/>
                  </a:cubicBezTo>
                  <a:close/>
                  <a:moveTo>
                    <a:pt x="1833859" y="257965"/>
                  </a:moveTo>
                  <a:cubicBezTo>
                    <a:pt x="1833820" y="257708"/>
                    <a:pt x="1833820" y="257460"/>
                    <a:pt x="1833859" y="257203"/>
                  </a:cubicBezTo>
                  <a:lnTo>
                    <a:pt x="1833859" y="257203"/>
                  </a:lnTo>
                  <a:cubicBezTo>
                    <a:pt x="1833992" y="257441"/>
                    <a:pt x="1833992" y="257727"/>
                    <a:pt x="1833859" y="257965"/>
                  </a:cubicBezTo>
                  <a:close/>
                  <a:moveTo>
                    <a:pt x="1803474" y="224913"/>
                  </a:moveTo>
                  <a:lnTo>
                    <a:pt x="1803474" y="224913"/>
                  </a:lnTo>
                  <a:close/>
                  <a:moveTo>
                    <a:pt x="270711" y="1877786"/>
                  </a:moveTo>
                  <a:cubicBezTo>
                    <a:pt x="292428" y="1813492"/>
                    <a:pt x="304429" y="1746056"/>
                    <a:pt x="323765" y="1681000"/>
                  </a:cubicBezTo>
                  <a:cubicBezTo>
                    <a:pt x="342243" y="1618801"/>
                    <a:pt x="364056" y="1557746"/>
                    <a:pt x="388249" y="1497739"/>
                  </a:cubicBezTo>
                  <a:cubicBezTo>
                    <a:pt x="637142" y="889491"/>
                    <a:pt x="1165247" y="439483"/>
                    <a:pt x="1805284" y="290255"/>
                  </a:cubicBezTo>
                  <a:cubicBezTo>
                    <a:pt x="1844336" y="291683"/>
                    <a:pt x="1891866" y="267776"/>
                    <a:pt x="1924251" y="253964"/>
                  </a:cubicBezTo>
                  <a:cubicBezTo>
                    <a:pt x="2020168" y="213197"/>
                    <a:pt x="2105226" y="149189"/>
                    <a:pt x="2181426" y="77847"/>
                  </a:cubicBezTo>
                  <a:lnTo>
                    <a:pt x="2254768" y="151094"/>
                  </a:lnTo>
                  <a:cubicBezTo>
                    <a:pt x="2046933" y="353405"/>
                    <a:pt x="1804045" y="526284"/>
                    <a:pt x="1535345" y="636869"/>
                  </a:cubicBezTo>
                  <a:cubicBezTo>
                    <a:pt x="1476385" y="661158"/>
                    <a:pt x="1415330" y="679446"/>
                    <a:pt x="1356370" y="703544"/>
                  </a:cubicBezTo>
                  <a:cubicBezTo>
                    <a:pt x="1293886" y="729328"/>
                    <a:pt x="1233752" y="760466"/>
                    <a:pt x="1176634" y="796604"/>
                  </a:cubicBezTo>
                  <a:cubicBezTo>
                    <a:pt x="1062833" y="868755"/>
                    <a:pt x="961770" y="959262"/>
                    <a:pt x="877548" y="1064447"/>
                  </a:cubicBezTo>
                  <a:cubicBezTo>
                    <a:pt x="809923" y="1148228"/>
                    <a:pt x="754037" y="1240840"/>
                    <a:pt x="711433" y="1339719"/>
                  </a:cubicBezTo>
                  <a:cubicBezTo>
                    <a:pt x="688858" y="1392011"/>
                    <a:pt x="672094" y="1446399"/>
                    <a:pt x="651901" y="1499644"/>
                  </a:cubicBezTo>
                  <a:cubicBezTo>
                    <a:pt x="629705" y="1557537"/>
                    <a:pt x="604558" y="1614249"/>
                    <a:pt x="576559" y="1669570"/>
                  </a:cubicBezTo>
                  <a:cubicBezTo>
                    <a:pt x="467783" y="1885406"/>
                    <a:pt x="320336" y="2080955"/>
                    <a:pt x="151934" y="2253452"/>
                  </a:cubicBezTo>
                  <a:lnTo>
                    <a:pt x="78782" y="2180205"/>
                  </a:lnTo>
                  <a:cubicBezTo>
                    <a:pt x="162602" y="2091909"/>
                    <a:pt x="231182" y="1994944"/>
                    <a:pt x="270711" y="1877786"/>
                  </a:cubicBezTo>
                  <a:close/>
                  <a:moveTo>
                    <a:pt x="2371735" y="541715"/>
                  </a:moveTo>
                  <a:cubicBezTo>
                    <a:pt x="2333350" y="603608"/>
                    <a:pt x="2304813" y="671083"/>
                    <a:pt x="2287153" y="741740"/>
                  </a:cubicBezTo>
                  <a:cubicBezTo>
                    <a:pt x="2285058" y="748121"/>
                    <a:pt x="2283820" y="754884"/>
                    <a:pt x="2282486" y="760790"/>
                  </a:cubicBezTo>
                  <a:cubicBezTo>
                    <a:pt x="2280962" y="766790"/>
                    <a:pt x="2281191" y="773105"/>
                    <a:pt x="2283153" y="778982"/>
                  </a:cubicBezTo>
                  <a:cubicBezTo>
                    <a:pt x="2278105" y="802223"/>
                    <a:pt x="2272104" y="825369"/>
                    <a:pt x="2265722" y="848324"/>
                  </a:cubicBezTo>
                  <a:cubicBezTo>
                    <a:pt x="2241795" y="932525"/>
                    <a:pt x="2212039" y="1014955"/>
                    <a:pt x="2176663" y="1095022"/>
                  </a:cubicBezTo>
                  <a:cubicBezTo>
                    <a:pt x="2066040" y="1349492"/>
                    <a:pt x="1906420" y="1579711"/>
                    <a:pt x="1706890" y="1772535"/>
                  </a:cubicBezTo>
                  <a:cubicBezTo>
                    <a:pt x="1510637" y="1960121"/>
                    <a:pt x="1278637" y="2106282"/>
                    <a:pt x="1024710" y="2202303"/>
                  </a:cubicBezTo>
                  <a:cubicBezTo>
                    <a:pt x="963750" y="2225544"/>
                    <a:pt x="901552" y="2245261"/>
                    <a:pt x="838687" y="2262597"/>
                  </a:cubicBezTo>
                  <a:cubicBezTo>
                    <a:pt x="775821" y="2279932"/>
                    <a:pt x="713433" y="2291838"/>
                    <a:pt x="652759" y="2315555"/>
                  </a:cubicBezTo>
                  <a:cubicBezTo>
                    <a:pt x="552460" y="2355084"/>
                    <a:pt x="467878" y="2419283"/>
                    <a:pt x="390821" y="2492816"/>
                  </a:cubicBezTo>
                  <a:lnTo>
                    <a:pt x="317478" y="2419473"/>
                  </a:lnTo>
                  <a:cubicBezTo>
                    <a:pt x="379022" y="2356418"/>
                    <a:pt x="445425" y="2298296"/>
                    <a:pt x="516075" y="2245642"/>
                  </a:cubicBezTo>
                  <a:cubicBezTo>
                    <a:pt x="630375" y="2163155"/>
                    <a:pt x="741627" y="2077621"/>
                    <a:pt x="866880" y="2011518"/>
                  </a:cubicBezTo>
                  <a:cubicBezTo>
                    <a:pt x="1062429" y="1908266"/>
                    <a:pt x="1283409" y="1863403"/>
                    <a:pt x="1463908" y="1731006"/>
                  </a:cubicBezTo>
                  <a:cubicBezTo>
                    <a:pt x="1514571" y="1693373"/>
                    <a:pt x="1562329" y="1651987"/>
                    <a:pt x="1606783" y="1607181"/>
                  </a:cubicBezTo>
                  <a:cubicBezTo>
                    <a:pt x="1675505" y="1538516"/>
                    <a:pt x="1735199" y="1461382"/>
                    <a:pt x="1784424" y="1377628"/>
                  </a:cubicBezTo>
                  <a:cubicBezTo>
                    <a:pt x="1826486" y="1302276"/>
                    <a:pt x="1863157" y="1224038"/>
                    <a:pt x="1894152" y="1143504"/>
                  </a:cubicBezTo>
                  <a:cubicBezTo>
                    <a:pt x="1928347" y="1059398"/>
                    <a:pt x="1961684" y="974912"/>
                    <a:pt x="2001213" y="892901"/>
                  </a:cubicBezTo>
                  <a:cubicBezTo>
                    <a:pt x="2051629" y="789422"/>
                    <a:pt x="2111103" y="690610"/>
                    <a:pt x="2178949" y="597626"/>
                  </a:cubicBezTo>
                  <a:cubicBezTo>
                    <a:pt x="2252082" y="498576"/>
                    <a:pt x="2332435" y="405078"/>
                    <a:pt x="2419360" y="317877"/>
                  </a:cubicBezTo>
                  <a:lnTo>
                    <a:pt x="2492608" y="391029"/>
                  </a:lnTo>
                  <a:cubicBezTo>
                    <a:pt x="2447088" y="437168"/>
                    <a:pt x="2406330" y="487775"/>
                    <a:pt x="2370973" y="542096"/>
                  </a:cubicBezTo>
                  <a:close/>
                </a:path>
              </a:pathLst>
            </a:custGeom>
            <a:solidFill>
              <a:schemeClr val="tx2"/>
            </a:solidFill>
            <a:ln w="6350" cap="rnd">
              <a:solidFill>
                <a:schemeClr val="accent1"/>
              </a:solid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nvGrpSpPr>
          <p:cNvPr id="24" name="Group 23">
            <a:extLst>
              <a:ext uri="{FF2B5EF4-FFF2-40B4-BE49-F238E27FC236}">
                <a16:creationId xmlns:a16="http://schemas.microsoft.com/office/drawing/2014/main" id="{CAECF85C-9253-C578-A7C5-726CAD91CF84}"/>
              </a:ext>
            </a:extLst>
          </p:cNvPr>
          <p:cNvGrpSpPr/>
          <p:nvPr/>
        </p:nvGrpSpPr>
        <p:grpSpPr>
          <a:xfrm>
            <a:off x="9442776" y="3284764"/>
            <a:ext cx="767420" cy="767420"/>
            <a:chOff x="9442776" y="3270478"/>
            <a:chExt cx="767420" cy="767420"/>
          </a:xfrm>
        </p:grpSpPr>
        <p:sp>
          <p:nvSpPr>
            <p:cNvPr id="50" name="Oval 49">
              <a:extLst>
                <a:ext uri="{FF2B5EF4-FFF2-40B4-BE49-F238E27FC236}">
                  <a16:creationId xmlns:a16="http://schemas.microsoft.com/office/drawing/2014/main" id="{1E9B323D-EF9B-4C42-A68A-5054C00AFBD2}"/>
                </a:ext>
              </a:extLst>
            </p:cNvPr>
            <p:cNvSpPr>
              <a:spLocks/>
            </p:cNvSpPr>
            <p:nvPr/>
          </p:nvSpPr>
          <p:spPr>
            <a:xfrm>
              <a:off x="9442776" y="3270478"/>
              <a:ext cx="767420" cy="767420"/>
            </a:xfrm>
            <a:prstGeom prst="ellipse">
              <a:avLst/>
            </a:prstGeom>
            <a:solidFill>
              <a:schemeClr val="accent5">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pis For Office"/>
                <a:ea typeface="+mn-ea"/>
                <a:cs typeface="+mn-cs"/>
              </a:endParaRPr>
            </a:p>
          </p:txBody>
        </p:sp>
        <p:grpSp>
          <p:nvGrpSpPr>
            <p:cNvPr id="5" name="Group 121">
              <a:extLst>
                <a:ext uri="{FF2B5EF4-FFF2-40B4-BE49-F238E27FC236}">
                  <a16:creationId xmlns:a16="http://schemas.microsoft.com/office/drawing/2014/main" id="{BE26AB61-9822-B2A2-38A7-194A30478B54}"/>
                </a:ext>
              </a:extLst>
            </p:cNvPr>
            <p:cNvGrpSpPr>
              <a:grpSpLocks noChangeAspect="1"/>
            </p:cNvGrpSpPr>
            <p:nvPr/>
          </p:nvGrpSpPr>
          <p:grpSpPr bwMode="auto">
            <a:xfrm>
              <a:off x="9634391" y="3433053"/>
              <a:ext cx="364724" cy="512095"/>
              <a:chOff x="1820" y="134"/>
              <a:chExt cx="2116" cy="2971"/>
            </a:xfrm>
            <a:solidFill>
              <a:schemeClr val="tx2"/>
            </a:solidFill>
          </p:grpSpPr>
          <p:sp>
            <p:nvSpPr>
              <p:cNvPr id="6" name="Freeform 122">
                <a:extLst>
                  <a:ext uri="{FF2B5EF4-FFF2-40B4-BE49-F238E27FC236}">
                    <a16:creationId xmlns:a16="http://schemas.microsoft.com/office/drawing/2014/main" id="{4AF49DD1-74E9-65F1-5F1B-E44BAE1CE6F7}"/>
                  </a:ext>
                </a:extLst>
              </p:cNvPr>
              <p:cNvSpPr>
                <a:spLocks noEditPoints="1"/>
              </p:cNvSpPr>
              <p:nvPr/>
            </p:nvSpPr>
            <p:spPr bwMode="auto">
              <a:xfrm>
                <a:off x="1820" y="134"/>
                <a:ext cx="2116" cy="2401"/>
              </a:xfrm>
              <a:custGeom>
                <a:avLst/>
                <a:gdLst>
                  <a:gd name="T0" fmla="*/ 1404 w 1404"/>
                  <a:gd name="T1" fmla="*/ 1172 h 1594"/>
                  <a:gd name="T2" fmla="*/ 1388 w 1404"/>
                  <a:gd name="T3" fmla="*/ 1239 h 1594"/>
                  <a:gd name="T4" fmla="*/ 911 w 1404"/>
                  <a:gd name="T5" fmla="*/ 1579 h 1594"/>
                  <a:gd name="T6" fmla="*/ 901 w 1404"/>
                  <a:gd name="T7" fmla="*/ 1576 h 1594"/>
                  <a:gd name="T8" fmla="*/ 901 w 1404"/>
                  <a:gd name="T9" fmla="*/ 1371 h 1594"/>
                  <a:gd name="T10" fmla="*/ 504 w 1404"/>
                  <a:gd name="T11" fmla="*/ 1371 h 1594"/>
                  <a:gd name="T12" fmla="*/ 504 w 1404"/>
                  <a:gd name="T13" fmla="*/ 1578 h 1594"/>
                  <a:gd name="T14" fmla="*/ 204 w 1404"/>
                  <a:gd name="T15" fmla="*/ 1501 h 1594"/>
                  <a:gd name="T16" fmla="*/ 5 w 1404"/>
                  <a:gd name="T17" fmla="*/ 1189 h 1594"/>
                  <a:gd name="T18" fmla="*/ 0 w 1404"/>
                  <a:gd name="T19" fmla="*/ 1172 h 1594"/>
                  <a:gd name="T20" fmla="*/ 0 w 1404"/>
                  <a:gd name="T21" fmla="*/ 41 h 1594"/>
                  <a:gd name="T22" fmla="*/ 46 w 1404"/>
                  <a:gd name="T23" fmla="*/ 0 h 1594"/>
                  <a:gd name="T24" fmla="*/ 1357 w 1404"/>
                  <a:gd name="T25" fmla="*/ 0 h 1594"/>
                  <a:gd name="T26" fmla="*/ 1404 w 1404"/>
                  <a:gd name="T27" fmla="*/ 46 h 1594"/>
                  <a:gd name="T28" fmla="*/ 1404 w 1404"/>
                  <a:gd name="T29" fmla="*/ 1172 h 1594"/>
                  <a:gd name="T30" fmla="*/ 988 w 1404"/>
                  <a:gd name="T31" fmla="*/ 1489 h 1594"/>
                  <a:gd name="T32" fmla="*/ 1018 w 1404"/>
                  <a:gd name="T33" fmla="*/ 1485 h 1594"/>
                  <a:gd name="T34" fmla="*/ 1317 w 1404"/>
                  <a:gd name="T35" fmla="*/ 1117 h 1594"/>
                  <a:gd name="T36" fmla="*/ 1317 w 1404"/>
                  <a:gd name="T37" fmla="*/ 111 h 1594"/>
                  <a:gd name="T38" fmla="*/ 1316 w 1404"/>
                  <a:gd name="T39" fmla="*/ 89 h 1594"/>
                  <a:gd name="T40" fmla="*/ 86 w 1404"/>
                  <a:gd name="T41" fmla="*/ 89 h 1594"/>
                  <a:gd name="T42" fmla="*/ 86 w 1404"/>
                  <a:gd name="T43" fmla="*/ 122 h 1594"/>
                  <a:gd name="T44" fmla="*/ 86 w 1404"/>
                  <a:gd name="T45" fmla="*/ 645 h 1594"/>
                  <a:gd name="T46" fmla="*/ 87 w 1404"/>
                  <a:gd name="T47" fmla="*/ 1136 h 1594"/>
                  <a:gd name="T48" fmla="*/ 375 w 1404"/>
                  <a:gd name="T49" fmla="*/ 1482 h 1594"/>
                  <a:gd name="T50" fmla="*/ 417 w 1404"/>
                  <a:gd name="T51" fmla="*/ 1489 h 1594"/>
                  <a:gd name="T52" fmla="*/ 418 w 1404"/>
                  <a:gd name="T53" fmla="*/ 1359 h 1594"/>
                  <a:gd name="T54" fmla="*/ 496 w 1404"/>
                  <a:gd name="T55" fmla="*/ 1281 h 1594"/>
                  <a:gd name="T56" fmla="*/ 909 w 1404"/>
                  <a:gd name="T57" fmla="*/ 1285 h 1594"/>
                  <a:gd name="T58" fmla="*/ 988 w 1404"/>
                  <a:gd name="T59" fmla="*/ 1365 h 1594"/>
                  <a:gd name="T60" fmla="*/ 988 w 1404"/>
                  <a:gd name="T61" fmla="*/ 148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4" h="1594">
                    <a:moveTo>
                      <a:pt x="1404" y="1172"/>
                    </a:moveTo>
                    <a:cubicBezTo>
                      <a:pt x="1399" y="1194"/>
                      <a:pt x="1394" y="1217"/>
                      <a:pt x="1388" y="1239"/>
                    </a:cubicBezTo>
                    <a:cubicBezTo>
                      <a:pt x="1331" y="1450"/>
                      <a:pt x="1130" y="1594"/>
                      <a:pt x="911" y="1579"/>
                    </a:cubicBezTo>
                    <a:cubicBezTo>
                      <a:pt x="909" y="1579"/>
                      <a:pt x="906" y="1577"/>
                      <a:pt x="901" y="1576"/>
                    </a:cubicBezTo>
                    <a:cubicBezTo>
                      <a:pt x="901" y="1509"/>
                      <a:pt x="901" y="1441"/>
                      <a:pt x="901" y="1371"/>
                    </a:cubicBezTo>
                    <a:cubicBezTo>
                      <a:pt x="768" y="1371"/>
                      <a:pt x="638" y="1371"/>
                      <a:pt x="504" y="1371"/>
                    </a:cubicBezTo>
                    <a:cubicBezTo>
                      <a:pt x="504" y="1438"/>
                      <a:pt x="504" y="1507"/>
                      <a:pt x="504" y="1578"/>
                    </a:cubicBezTo>
                    <a:cubicBezTo>
                      <a:pt x="392" y="1584"/>
                      <a:pt x="293" y="1561"/>
                      <a:pt x="204" y="1501"/>
                    </a:cubicBezTo>
                    <a:cubicBezTo>
                      <a:pt x="93" y="1426"/>
                      <a:pt x="26" y="1322"/>
                      <a:pt x="5" y="1189"/>
                    </a:cubicBezTo>
                    <a:cubicBezTo>
                      <a:pt x="4" y="1183"/>
                      <a:pt x="1" y="1178"/>
                      <a:pt x="0" y="1172"/>
                    </a:cubicBezTo>
                    <a:cubicBezTo>
                      <a:pt x="0" y="795"/>
                      <a:pt x="0" y="418"/>
                      <a:pt x="0" y="41"/>
                    </a:cubicBezTo>
                    <a:cubicBezTo>
                      <a:pt x="15" y="28"/>
                      <a:pt x="31" y="14"/>
                      <a:pt x="46" y="0"/>
                    </a:cubicBezTo>
                    <a:cubicBezTo>
                      <a:pt x="483" y="0"/>
                      <a:pt x="920" y="0"/>
                      <a:pt x="1357" y="0"/>
                    </a:cubicBezTo>
                    <a:cubicBezTo>
                      <a:pt x="1373" y="15"/>
                      <a:pt x="1388" y="31"/>
                      <a:pt x="1404" y="46"/>
                    </a:cubicBezTo>
                    <a:cubicBezTo>
                      <a:pt x="1404" y="422"/>
                      <a:pt x="1404" y="797"/>
                      <a:pt x="1404" y="1172"/>
                    </a:cubicBezTo>
                    <a:close/>
                    <a:moveTo>
                      <a:pt x="988" y="1489"/>
                    </a:moveTo>
                    <a:cubicBezTo>
                      <a:pt x="1000" y="1487"/>
                      <a:pt x="1009" y="1487"/>
                      <a:pt x="1018" y="1485"/>
                    </a:cubicBezTo>
                    <a:cubicBezTo>
                      <a:pt x="1195" y="1447"/>
                      <a:pt x="1317" y="1298"/>
                      <a:pt x="1317" y="1117"/>
                    </a:cubicBezTo>
                    <a:cubicBezTo>
                      <a:pt x="1318" y="782"/>
                      <a:pt x="1317" y="446"/>
                      <a:pt x="1317" y="111"/>
                    </a:cubicBezTo>
                    <a:cubicBezTo>
                      <a:pt x="1317" y="104"/>
                      <a:pt x="1316" y="96"/>
                      <a:pt x="1316" y="89"/>
                    </a:cubicBezTo>
                    <a:cubicBezTo>
                      <a:pt x="905" y="89"/>
                      <a:pt x="496" y="89"/>
                      <a:pt x="86" y="89"/>
                    </a:cubicBezTo>
                    <a:cubicBezTo>
                      <a:pt x="86" y="101"/>
                      <a:pt x="86" y="111"/>
                      <a:pt x="86" y="122"/>
                    </a:cubicBezTo>
                    <a:cubicBezTo>
                      <a:pt x="86" y="296"/>
                      <a:pt x="86" y="471"/>
                      <a:pt x="86" y="645"/>
                    </a:cubicBezTo>
                    <a:cubicBezTo>
                      <a:pt x="86" y="809"/>
                      <a:pt x="84" y="972"/>
                      <a:pt x="87" y="1136"/>
                    </a:cubicBezTo>
                    <a:cubicBezTo>
                      <a:pt x="91" y="1301"/>
                      <a:pt x="214" y="1446"/>
                      <a:pt x="375" y="1482"/>
                    </a:cubicBezTo>
                    <a:cubicBezTo>
                      <a:pt x="388" y="1485"/>
                      <a:pt x="401" y="1487"/>
                      <a:pt x="417" y="1489"/>
                    </a:cubicBezTo>
                    <a:cubicBezTo>
                      <a:pt x="417" y="1443"/>
                      <a:pt x="417" y="1401"/>
                      <a:pt x="418" y="1359"/>
                    </a:cubicBezTo>
                    <a:cubicBezTo>
                      <a:pt x="418" y="1303"/>
                      <a:pt x="441" y="1280"/>
                      <a:pt x="496" y="1281"/>
                    </a:cubicBezTo>
                    <a:cubicBezTo>
                      <a:pt x="634" y="1282"/>
                      <a:pt x="771" y="1284"/>
                      <a:pt x="909" y="1285"/>
                    </a:cubicBezTo>
                    <a:cubicBezTo>
                      <a:pt x="966" y="1286"/>
                      <a:pt x="987" y="1307"/>
                      <a:pt x="988" y="1365"/>
                    </a:cubicBezTo>
                    <a:cubicBezTo>
                      <a:pt x="988" y="1405"/>
                      <a:pt x="988" y="1445"/>
                      <a:pt x="988" y="1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7" name="Freeform 123">
                <a:extLst>
                  <a:ext uri="{FF2B5EF4-FFF2-40B4-BE49-F238E27FC236}">
                    <a16:creationId xmlns:a16="http://schemas.microsoft.com/office/drawing/2014/main" id="{3E2862FC-7B0A-3857-BCB6-9BB213CECCF5}"/>
                  </a:ext>
                </a:extLst>
              </p:cNvPr>
              <p:cNvSpPr>
                <a:spLocks noEditPoints="1"/>
              </p:cNvSpPr>
              <p:nvPr/>
            </p:nvSpPr>
            <p:spPr bwMode="auto">
              <a:xfrm>
                <a:off x="2673" y="2330"/>
                <a:ext cx="367" cy="775"/>
              </a:xfrm>
              <a:custGeom>
                <a:avLst/>
                <a:gdLst>
                  <a:gd name="T0" fmla="*/ 43 w 243"/>
                  <a:gd name="T1" fmla="*/ 514 h 514"/>
                  <a:gd name="T2" fmla="*/ 0 w 243"/>
                  <a:gd name="T3" fmla="*/ 423 h 514"/>
                  <a:gd name="T4" fmla="*/ 1 w 243"/>
                  <a:gd name="T5" fmla="*/ 77 h 514"/>
                  <a:gd name="T6" fmla="*/ 76 w 243"/>
                  <a:gd name="T7" fmla="*/ 1 h 514"/>
                  <a:gd name="T8" fmla="*/ 174 w 243"/>
                  <a:gd name="T9" fmla="*/ 1 h 514"/>
                  <a:gd name="T10" fmla="*/ 243 w 243"/>
                  <a:gd name="T11" fmla="*/ 71 h 514"/>
                  <a:gd name="T12" fmla="*/ 243 w 243"/>
                  <a:gd name="T13" fmla="*/ 443 h 514"/>
                  <a:gd name="T14" fmla="*/ 198 w 243"/>
                  <a:gd name="T15" fmla="*/ 514 h 514"/>
                  <a:gd name="T16" fmla="*/ 43 w 243"/>
                  <a:gd name="T17" fmla="*/ 514 h 514"/>
                  <a:gd name="T18" fmla="*/ 155 w 243"/>
                  <a:gd name="T19" fmla="*/ 426 h 514"/>
                  <a:gd name="T20" fmla="*/ 155 w 243"/>
                  <a:gd name="T21" fmla="*/ 90 h 514"/>
                  <a:gd name="T22" fmla="*/ 90 w 243"/>
                  <a:gd name="T23" fmla="*/ 90 h 514"/>
                  <a:gd name="T24" fmla="*/ 90 w 243"/>
                  <a:gd name="T25" fmla="*/ 426 h 514"/>
                  <a:gd name="T26" fmla="*/ 155 w 243"/>
                  <a:gd name="T27" fmla="*/ 42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14">
                    <a:moveTo>
                      <a:pt x="43" y="514"/>
                    </a:moveTo>
                    <a:cubicBezTo>
                      <a:pt x="9" y="493"/>
                      <a:pt x="0" y="462"/>
                      <a:pt x="0" y="423"/>
                    </a:cubicBezTo>
                    <a:cubicBezTo>
                      <a:pt x="3" y="307"/>
                      <a:pt x="1" y="192"/>
                      <a:pt x="1" y="77"/>
                    </a:cubicBezTo>
                    <a:cubicBezTo>
                      <a:pt x="1" y="25"/>
                      <a:pt x="24" y="2"/>
                      <a:pt x="76" y="1"/>
                    </a:cubicBezTo>
                    <a:cubicBezTo>
                      <a:pt x="109" y="1"/>
                      <a:pt x="142" y="0"/>
                      <a:pt x="174" y="1"/>
                    </a:cubicBezTo>
                    <a:cubicBezTo>
                      <a:pt x="218" y="2"/>
                      <a:pt x="243" y="28"/>
                      <a:pt x="243" y="71"/>
                    </a:cubicBezTo>
                    <a:cubicBezTo>
                      <a:pt x="243" y="195"/>
                      <a:pt x="242" y="319"/>
                      <a:pt x="243" y="443"/>
                    </a:cubicBezTo>
                    <a:cubicBezTo>
                      <a:pt x="243" y="477"/>
                      <a:pt x="226" y="499"/>
                      <a:pt x="198" y="514"/>
                    </a:cubicBezTo>
                    <a:cubicBezTo>
                      <a:pt x="146" y="514"/>
                      <a:pt x="94" y="514"/>
                      <a:pt x="43" y="514"/>
                    </a:cubicBezTo>
                    <a:close/>
                    <a:moveTo>
                      <a:pt x="155" y="426"/>
                    </a:moveTo>
                    <a:cubicBezTo>
                      <a:pt x="155" y="312"/>
                      <a:pt x="155" y="202"/>
                      <a:pt x="155" y="90"/>
                    </a:cubicBezTo>
                    <a:cubicBezTo>
                      <a:pt x="133" y="90"/>
                      <a:pt x="112" y="90"/>
                      <a:pt x="90" y="90"/>
                    </a:cubicBezTo>
                    <a:cubicBezTo>
                      <a:pt x="90" y="202"/>
                      <a:pt x="90" y="314"/>
                      <a:pt x="90" y="426"/>
                    </a:cubicBezTo>
                    <a:cubicBezTo>
                      <a:pt x="112" y="426"/>
                      <a:pt x="132" y="426"/>
                      <a:pt x="155" y="4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 name="Freeform 124">
                <a:extLst>
                  <a:ext uri="{FF2B5EF4-FFF2-40B4-BE49-F238E27FC236}">
                    <a16:creationId xmlns:a16="http://schemas.microsoft.com/office/drawing/2014/main" id="{80DDF72E-D63C-278F-8071-85678ECEEBB8}"/>
                  </a:ext>
                </a:extLst>
              </p:cNvPr>
              <p:cNvSpPr>
                <a:spLocks noEditPoints="1"/>
              </p:cNvSpPr>
              <p:nvPr/>
            </p:nvSpPr>
            <p:spPr bwMode="auto">
              <a:xfrm>
                <a:off x="2190" y="375"/>
                <a:ext cx="1341" cy="1336"/>
              </a:xfrm>
              <a:custGeom>
                <a:avLst/>
                <a:gdLst>
                  <a:gd name="T0" fmla="*/ 0 w 890"/>
                  <a:gd name="T1" fmla="*/ 441 h 887"/>
                  <a:gd name="T2" fmla="*/ 0 w 890"/>
                  <a:gd name="T3" fmla="*/ 80 h 887"/>
                  <a:gd name="T4" fmla="*/ 79 w 890"/>
                  <a:gd name="T5" fmla="*/ 0 h 887"/>
                  <a:gd name="T6" fmla="*/ 810 w 890"/>
                  <a:gd name="T7" fmla="*/ 0 h 887"/>
                  <a:gd name="T8" fmla="*/ 890 w 890"/>
                  <a:gd name="T9" fmla="*/ 79 h 887"/>
                  <a:gd name="T10" fmla="*/ 890 w 890"/>
                  <a:gd name="T11" fmla="*/ 810 h 887"/>
                  <a:gd name="T12" fmla="*/ 813 w 890"/>
                  <a:gd name="T13" fmla="*/ 887 h 887"/>
                  <a:gd name="T14" fmla="*/ 75 w 890"/>
                  <a:gd name="T15" fmla="*/ 887 h 887"/>
                  <a:gd name="T16" fmla="*/ 0 w 890"/>
                  <a:gd name="T17" fmla="*/ 813 h 887"/>
                  <a:gd name="T18" fmla="*/ 0 w 890"/>
                  <a:gd name="T19" fmla="*/ 441 h 887"/>
                  <a:gd name="T20" fmla="*/ 89 w 890"/>
                  <a:gd name="T21" fmla="*/ 88 h 887"/>
                  <a:gd name="T22" fmla="*/ 89 w 890"/>
                  <a:gd name="T23" fmla="*/ 799 h 887"/>
                  <a:gd name="T24" fmla="*/ 801 w 890"/>
                  <a:gd name="T25" fmla="*/ 799 h 887"/>
                  <a:gd name="T26" fmla="*/ 801 w 890"/>
                  <a:gd name="T27" fmla="*/ 88 h 887"/>
                  <a:gd name="T28" fmla="*/ 89 w 890"/>
                  <a:gd name="T29" fmla="*/ 88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0" h="887">
                    <a:moveTo>
                      <a:pt x="0" y="441"/>
                    </a:moveTo>
                    <a:cubicBezTo>
                      <a:pt x="0" y="321"/>
                      <a:pt x="0" y="201"/>
                      <a:pt x="0" y="80"/>
                    </a:cubicBezTo>
                    <a:cubicBezTo>
                      <a:pt x="0" y="22"/>
                      <a:pt x="22" y="0"/>
                      <a:pt x="79" y="0"/>
                    </a:cubicBezTo>
                    <a:cubicBezTo>
                      <a:pt x="323" y="0"/>
                      <a:pt x="566" y="0"/>
                      <a:pt x="810" y="0"/>
                    </a:cubicBezTo>
                    <a:cubicBezTo>
                      <a:pt x="867" y="0"/>
                      <a:pt x="890" y="23"/>
                      <a:pt x="890" y="79"/>
                    </a:cubicBezTo>
                    <a:cubicBezTo>
                      <a:pt x="890" y="323"/>
                      <a:pt x="890" y="566"/>
                      <a:pt x="890" y="810"/>
                    </a:cubicBezTo>
                    <a:cubicBezTo>
                      <a:pt x="890" y="863"/>
                      <a:pt x="865" y="887"/>
                      <a:pt x="813" y="887"/>
                    </a:cubicBezTo>
                    <a:cubicBezTo>
                      <a:pt x="567" y="887"/>
                      <a:pt x="321" y="887"/>
                      <a:pt x="75" y="887"/>
                    </a:cubicBezTo>
                    <a:cubicBezTo>
                      <a:pt x="25" y="887"/>
                      <a:pt x="1" y="863"/>
                      <a:pt x="0" y="813"/>
                    </a:cubicBezTo>
                    <a:cubicBezTo>
                      <a:pt x="0" y="689"/>
                      <a:pt x="0" y="565"/>
                      <a:pt x="0" y="441"/>
                    </a:cubicBezTo>
                    <a:close/>
                    <a:moveTo>
                      <a:pt x="89" y="88"/>
                    </a:moveTo>
                    <a:cubicBezTo>
                      <a:pt x="89" y="326"/>
                      <a:pt x="89" y="562"/>
                      <a:pt x="89" y="799"/>
                    </a:cubicBezTo>
                    <a:cubicBezTo>
                      <a:pt x="328" y="799"/>
                      <a:pt x="565" y="799"/>
                      <a:pt x="801" y="799"/>
                    </a:cubicBezTo>
                    <a:cubicBezTo>
                      <a:pt x="801" y="561"/>
                      <a:pt x="801" y="324"/>
                      <a:pt x="801" y="88"/>
                    </a:cubicBezTo>
                    <a:cubicBezTo>
                      <a:pt x="563" y="88"/>
                      <a:pt x="327" y="88"/>
                      <a:pt x="89"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16" name="Freeform 125">
                <a:extLst>
                  <a:ext uri="{FF2B5EF4-FFF2-40B4-BE49-F238E27FC236}">
                    <a16:creationId xmlns:a16="http://schemas.microsoft.com/office/drawing/2014/main" id="{8FD999DC-4AD3-F7CB-46E3-B5E0D4E5ADA4}"/>
                  </a:ext>
                </a:extLst>
              </p:cNvPr>
              <p:cNvSpPr>
                <a:spLocks/>
              </p:cNvSpPr>
              <p:nvPr/>
            </p:nvSpPr>
            <p:spPr bwMode="auto">
              <a:xfrm>
                <a:off x="2887" y="1806"/>
                <a:ext cx="526" cy="131"/>
              </a:xfrm>
              <a:custGeom>
                <a:avLst/>
                <a:gdLst>
                  <a:gd name="T0" fmla="*/ 174 w 349"/>
                  <a:gd name="T1" fmla="*/ 87 h 87"/>
                  <a:gd name="T2" fmla="*/ 51 w 349"/>
                  <a:gd name="T3" fmla="*/ 87 h 87"/>
                  <a:gd name="T4" fmla="*/ 0 w 349"/>
                  <a:gd name="T5" fmla="*/ 44 h 87"/>
                  <a:gd name="T6" fmla="*/ 50 w 349"/>
                  <a:gd name="T7" fmla="*/ 1 h 87"/>
                  <a:gd name="T8" fmla="*/ 298 w 349"/>
                  <a:gd name="T9" fmla="*/ 1 h 87"/>
                  <a:gd name="T10" fmla="*/ 348 w 349"/>
                  <a:gd name="T11" fmla="*/ 44 h 87"/>
                  <a:gd name="T12" fmla="*/ 298 w 349"/>
                  <a:gd name="T13" fmla="*/ 87 h 87"/>
                  <a:gd name="T14" fmla="*/ 174 w 349"/>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9" h="87">
                    <a:moveTo>
                      <a:pt x="174" y="87"/>
                    </a:moveTo>
                    <a:cubicBezTo>
                      <a:pt x="133" y="87"/>
                      <a:pt x="92" y="87"/>
                      <a:pt x="51" y="87"/>
                    </a:cubicBezTo>
                    <a:cubicBezTo>
                      <a:pt x="20" y="87"/>
                      <a:pt x="0" y="69"/>
                      <a:pt x="0" y="44"/>
                    </a:cubicBezTo>
                    <a:cubicBezTo>
                      <a:pt x="0" y="18"/>
                      <a:pt x="20" y="1"/>
                      <a:pt x="50" y="1"/>
                    </a:cubicBezTo>
                    <a:cubicBezTo>
                      <a:pt x="133" y="0"/>
                      <a:pt x="216" y="0"/>
                      <a:pt x="298" y="1"/>
                    </a:cubicBezTo>
                    <a:cubicBezTo>
                      <a:pt x="329" y="1"/>
                      <a:pt x="348" y="18"/>
                      <a:pt x="348" y="44"/>
                    </a:cubicBezTo>
                    <a:cubicBezTo>
                      <a:pt x="349" y="69"/>
                      <a:pt x="329" y="87"/>
                      <a:pt x="298" y="87"/>
                    </a:cubicBezTo>
                    <a:cubicBezTo>
                      <a:pt x="257" y="87"/>
                      <a:pt x="216" y="87"/>
                      <a:pt x="174"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18" name="Freeform 126">
                <a:extLst>
                  <a:ext uri="{FF2B5EF4-FFF2-40B4-BE49-F238E27FC236}">
                    <a16:creationId xmlns:a16="http://schemas.microsoft.com/office/drawing/2014/main" id="{6A597DB8-02A6-A68D-01F8-D770C6393EA7}"/>
                  </a:ext>
                </a:extLst>
              </p:cNvPr>
              <p:cNvSpPr>
                <a:spLocks/>
              </p:cNvSpPr>
              <p:nvPr/>
            </p:nvSpPr>
            <p:spPr bwMode="auto">
              <a:xfrm>
                <a:off x="2295" y="1806"/>
                <a:ext cx="523" cy="131"/>
              </a:xfrm>
              <a:custGeom>
                <a:avLst/>
                <a:gdLst>
                  <a:gd name="T0" fmla="*/ 175 w 347"/>
                  <a:gd name="T1" fmla="*/ 87 h 87"/>
                  <a:gd name="T2" fmla="*/ 49 w 347"/>
                  <a:gd name="T3" fmla="*/ 87 h 87"/>
                  <a:gd name="T4" fmla="*/ 0 w 347"/>
                  <a:gd name="T5" fmla="*/ 43 h 87"/>
                  <a:gd name="T6" fmla="*/ 48 w 347"/>
                  <a:gd name="T7" fmla="*/ 1 h 87"/>
                  <a:gd name="T8" fmla="*/ 298 w 347"/>
                  <a:gd name="T9" fmla="*/ 1 h 87"/>
                  <a:gd name="T10" fmla="*/ 347 w 347"/>
                  <a:gd name="T11" fmla="*/ 45 h 87"/>
                  <a:gd name="T12" fmla="*/ 299 w 347"/>
                  <a:gd name="T13" fmla="*/ 87 h 87"/>
                  <a:gd name="T14" fmla="*/ 175 w 347"/>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87">
                    <a:moveTo>
                      <a:pt x="175" y="87"/>
                    </a:moveTo>
                    <a:cubicBezTo>
                      <a:pt x="133" y="87"/>
                      <a:pt x="91" y="87"/>
                      <a:pt x="49" y="87"/>
                    </a:cubicBezTo>
                    <a:cubicBezTo>
                      <a:pt x="18" y="87"/>
                      <a:pt x="0" y="70"/>
                      <a:pt x="0" y="43"/>
                    </a:cubicBezTo>
                    <a:cubicBezTo>
                      <a:pt x="0" y="17"/>
                      <a:pt x="18" y="1"/>
                      <a:pt x="48" y="1"/>
                    </a:cubicBezTo>
                    <a:cubicBezTo>
                      <a:pt x="131" y="0"/>
                      <a:pt x="215" y="0"/>
                      <a:pt x="298" y="1"/>
                    </a:cubicBezTo>
                    <a:cubicBezTo>
                      <a:pt x="329" y="1"/>
                      <a:pt x="347" y="18"/>
                      <a:pt x="347" y="45"/>
                    </a:cubicBezTo>
                    <a:cubicBezTo>
                      <a:pt x="346" y="71"/>
                      <a:pt x="328" y="87"/>
                      <a:pt x="299" y="87"/>
                    </a:cubicBezTo>
                    <a:cubicBezTo>
                      <a:pt x="258" y="87"/>
                      <a:pt x="216" y="87"/>
                      <a:pt x="17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19" name="Freeform 127">
                <a:extLst>
                  <a:ext uri="{FF2B5EF4-FFF2-40B4-BE49-F238E27FC236}">
                    <a16:creationId xmlns:a16="http://schemas.microsoft.com/office/drawing/2014/main" id="{F408A314-1D07-31A3-E9E9-6CE23FF3C8AA}"/>
                  </a:ext>
                </a:extLst>
              </p:cNvPr>
              <p:cNvSpPr>
                <a:spLocks noEditPoints="1"/>
              </p:cNvSpPr>
              <p:nvPr/>
            </p:nvSpPr>
            <p:spPr bwMode="auto">
              <a:xfrm>
                <a:off x="2603" y="656"/>
                <a:ext cx="529" cy="790"/>
              </a:xfrm>
              <a:custGeom>
                <a:avLst/>
                <a:gdLst>
                  <a:gd name="T0" fmla="*/ 171 w 351"/>
                  <a:gd name="T1" fmla="*/ 0 h 524"/>
                  <a:gd name="T2" fmla="*/ 328 w 351"/>
                  <a:gd name="T3" fmla="*/ 310 h 524"/>
                  <a:gd name="T4" fmla="*/ 204 w 351"/>
                  <a:gd name="T5" fmla="*/ 505 h 524"/>
                  <a:gd name="T6" fmla="*/ 7 w 351"/>
                  <a:gd name="T7" fmla="*/ 378 h 524"/>
                  <a:gd name="T8" fmla="*/ 21 w 351"/>
                  <a:gd name="T9" fmla="*/ 275 h 524"/>
                  <a:gd name="T10" fmla="*/ 82 w 351"/>
                  <a:gd name="T11" fmla="*/ 148 h 524"/>
                  <a:gd name="T12" fmla="*/ 171 w 351"/>
                  <a:gd name="T13" fmla="*/ 0 h 524"/>
                  <a:gd name="T14" fmla="*/ 176 w 351"/>
                  <a:gd name="T15" fmla="*/ 171 h 524"/>
                  <a:gd name="T16" fmla="*/ 164 w 351"/>
                  <a:gd name="T17" fmla="*/ 172 h 524"/>
                  <a:gd name="T18" fmla="*/ 95 w 351"/>
                  <a:gd name="T19" fmla="*/ 323 h 524"/>
                  <a:gd name="T20" fmla="*/ 123 w 351"/>
                  <a:gd name="T21" fmla="*/ 407 h 524"/>
                  <a:gd name="T22" fmla="*/ 212 w 351"/>
                  <a:gd name="T23" fmla="*/ 409 h 524"/>
                  <a:gd name="T24" fmla="*/ 243 w 351"/>
                  <a:gd name="T25" fmla="*/ 326 h 524"/>
                  <a:gd name="T26" fmla="*/ 176 w 351"/>
                  <a:gd name="T27" fmla="*/ 17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1" h="524">
                    <a:moveTo>
                      <a:pt x="171" y="0"/>
                    </a:moveTo>
                    <a:cubicBezTo>
                      <a:pt x="233" y="104"/>
                      <a:pt x="297" y="198"/>
                      <a:pt x="328" y="310"/>
                    </a:cubicBezTo>
                    <a:cubicBezTo>
                      <a:pt x="351" y="397"/>
                      <a:pt x="293" y="486"/>
                      <a:pt x="204" y="505"/>
                    </a:cubicBezTo>
                    <a:cubicBezTo>
                      <a:pt x="113" y="524"/>
                      <a:pt x="25" y="466"/>
                      <a:pt x="7" y="378"/>
                    </a:cubicBezTo>
                    <a:cubicBezTo>
                      <a:pt x="0" y="342"/>
                      <a:pt x="6" y="308"/>
                      <a:pt x="21" y="275"/>
                    </a:cubicBezTo>
                    <a:cubicBezTo>
                      <a:pt x="39" y="232"/>
                      <a:pt x="59" y="189"/>
                      <a:pt x="82" y="148"/>
                    </a:cubicBezTo>
                    <a:cubicBezTo>
                      <a:pt x="109" y="99"/>
                      <a:pt x="139" y="52"/>
                      <a:pt x="171" y="0"/>
                    </a:cubicBezTo>
                    <a:close/>
                    <a:moveTo>
                      <a:pt x="176" y="171"/>
                    </a:moveTo>
                    <a:cubicBezTo>
                      <a:pt x="172" y="172"/>
                      <a:pt x="168" y="172"/>
                      <a:pt x="164" y="172"/>
                    </a:cubicBezTo>
                    <a:cubicBezTo>
                      <a:pt x="141" y="222"/>
                      <a:pt x="117" y="272"/>
                      <a:pt x="95" y="323"/>
                    </a:cubicBezTo>
                    <a:cubicBezTo>
                      <a:pt x="83" y="354"/>
                      <a:pt x="96" y="387"/>
                      <a:pt x="123" y="407"/>
                    </a:cubicBezTo>
                    <a:cubicBezTo>
                      <a:pt x="150" y="427"/>
                      <a:pt x="184" y="428"/>
                      <a:pt x="212" y="409"/>
                    </a:cubicBezTo>
                    <a:cubicBezTo>
                      <a:pt x="239" y="391"/>
                      <a:pt x="255" y="357"/>
                      <a:pt x="243" y="326"/>
                    </a:cubicBezTo>
                    <a:cubicBezTo>
                      <a:pt x="223" y="274"/>
                      <a:pt x="198" y="223"/>
                      <a:pt x="176"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grpSp>
        <p:nvGrpSpPr>
          <p:cNvPr id="39" name="Group 38">
            <a:extLst>
              <a:ext uri="{FF2B5EF4-FFF2-40B4-BE49-F238E27FC236}">
                <a16:creationId xmlns:a16="http://schemas.microsoft.com/office/drawing/2014/main" id="{2D19BF90-E423-3301-0E94-D4CC7474308F}"/>
              </a:ext>
            </a:extLst>
          </p:cNvPr>
          <p:cNvGrpSpPr/>
          <p:nvPr/>
        </p:nvGrpSpPr>
        <p:grpSpPr>
          <a:xfrm>
            <a:off x="11475104" y="127000"/>
            <a:ext cx="570190" cy="570190"/>
            <a:chOff x="8103321" y="129664"/>
            <a:chExt cx="819600" cy="819600"/>
          </a:xfrm>
        </p:grpSpPr>
        <p:sp>
          <p:nvSpPr>
            <p:cNvPr id="40" name="Oval 39">
              <a:hlinkClick r:id="rId3" action="ppaction://hlinksldjump"/>
              <a:extLst>
                <a:ext uri="{FF2B5EF4-FFF2-40B4-BE49-F238E27FC236}">
                  <a16:creationId xmlns:a16="http://schemas.microsoft.com/office/drawing/2014/main" id="{E133B0DA-42F9-88BF-5523-056152224147}"/>
                </a:ext>
              </a:extLst>
            </p:cNvPr>
            <p:cNvSpPr/>
            <p:nvPr/>
          </p:nvSpPr>
          <p:spPr>
            <a:xfrm>
              <a:off x="8165497" y="191841"/>
              <a:ext cx="695247" cy="6952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V</a:t>
              </a:r>
            </a:p>
          </p:txBody>
        </p:sp>
        <p:pic>
          <p:nvPicPr>
            <p:cNvPr id="41" name="Picture 40" descr="A picture containing building, bridge&#10;&#10;Description automatically generated">
              <a:hlinkClick r:id="rId3" action="ppaction://hlinksldjump"/>
              <a:extLst>
                <a:ext uri="{FF2B5EF4-FFF2-40B4-BE49-F238E27FC236}">
                  <a16:creationId xmlns:a16="http://schemas.microsoft.com/office/drawing/2014/main" id="{96C1D65F-23D8-7DBE-3DB4-F153FC3ACC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7975" y="323651"/>
              <a:ext cx="410292" cy="405832"/>
            </a:xfrm>
            <a:prstGeom prst="rect">
              <a:avLst/>
            </a:prstGeom>
          </p:spPr>
        </p:pic>
        <p:sp>
          <p:nvSpPr>
            <p:cNvPr id="42" name="Oval 41">
              <a:extLst>
                <a:ext uri="{FF2B5EF4-FFF2-40B4-BE49-F238E27FC236}">
                  <a16:creationId xmlns:a16="http://schemas.microsoft.com/office/drawing/2014/main" id="{20B23796-A52E-5029-0B48-DEEF8DF1EC18}"/>
                </a:ext>
              </a:extLst>
            </p:cNvPr>
            <p:cNvSpPr/>
            <p:nvPr/>
          </p:nvSpPr>
          <p:spPr>
            <a:xfrm>
              <a:off x="8103321" y="129664"/>
              <a:ext cx="819600" cy="819600"/>
            </a:xfrm>
            <a:prstGeom prst="ellipse">
              <a:avLst/>
            </a:prstGeom>
            <a:noFill/>
            <a:ln w="1905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Tree>
    <p:extLst>
      <p:ext uri="{BB962C8B-B14F-4D97-AF65-F5344CB8AC3E}">
        <p14:creationId xmlns:p14="http://schemas.microsoft.com/office/powerpoint/2010/main" val="3873488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4477C1C-B025-94FB-F80F-E94B702CD224}"/>
              </a:ext>
            </a:extLst>
          </p:cNvPr>
          <p:cNvSpPr>
            <a:spLocks noGrp="1"/>
          </p:cNvSpPr>
          <p:nvPr>
            <p:ph type="body" sz="quarter" idx="13"/>
          </p:nvPr>
        </p:nvSpPr>
        <p:spPr/>
        <p:txBody>
          <a:bodyPr/>
          <a:lstStyle/>
          <a:p>
            <a:endParaRPr lang="en-ZA"/>
          </a:p>
        </p:txBody>
      </p:sp>
      <p:sp>
        <p:nvSpPr>
          <p:cNvPr id="7" name="Text Placeholder 6">
            <a:extLst>
              <a:ext uri="{FF2B5EF4-FFF2-40B4-BE49-F238E27FC236}">
                <a16:creationId xmlns:a16="http://schemas.microsoft.com/office/drawing/2014/main" id="{C7766DC2-148C-2A4E-7AB8-5CBDB108211A}"/>
              </a:ext>
            </a:extLst>
          </p:cNvPr>
          <p:cNvSpPr>
            <a:spLocks noGrp="1"/>
          </p:cNvSpPr>
          <p:nvPr>
            <p:ph type="body" sz="quarter" idx="14"/>
          </p:nvPr>
        </p:nvSpPr>
        <p:spPr>
          <a:xfrm>
            <a:off x="5211212" y="472889"/>
            <a:ext cx="8902835" cy="5562300"/>
          </a:xfrm>
        </p:spPr>
        <p:txBody>
          <a:bodyPr/>
          <a:lstStyle/>
          <a:p>
            <a:r>
              <a:rPr lang="en-ZA" dirty="0"/>
              <a:t>01</a:t>
            </a:r>
          </a:p>
        </p:txBody>
      </p:sp>
      <p:sp>
        <p:nvSpPr>
          <p:cNvPr id="8" name="Title 7"/>
          <p:cNvSpPr>
            <a:spLocks noGrp="1"/>
          </p:cNvSpPr>
          <p:nvPr>
            <p:ph type="ctrTitle"/>
          </p:nvPr>
        </p:nvSpPr>
        <p:spPr>
          <a:xfrm>
            <a:off x="571498" y="2768908"/>
            <a:ext cx="8728077" cy="970261"/>
          </a:xfrm>
        </p:spPr>
        <p:txBody>
          <a:bodyPr vert="horz" lIns="0" tIns="91440" rIns="0" bIns="91440" rtlCol="0" anchor="t" anchorCtr="0">
            <a:normAutofit/>
          </a:bodyPr>
          <a:lstStyle/>
          <a:p>
            <a:r>
              <a:rPr lang="en-GB" dirty="0"/>
              <a:t>OBESITY PARADIGM</a:t>
            </a:r>
            <a:endParaRPr lang="en-GB" kern="1200" dirty="0">
              <a:latin typeface="+mj-lt"/>
              <a:ea typeface="+mj-ea"/>
              <a:cs typeface="+mj-cs"/>
            </a:endParaRPr>
          </a:p>
        </p:txBody>
      </p:sp>
    </p:spTree>
    <p:extLst>
      <p:ext uri="{BB962C8B-B14F-4D97-AF65-F5344CB8AC3E}">
        <p14:creationId xmlns:p14="http://schemas.microsoft.com/office/powerpoint/2010/main" val="1524473325"/>
      </p:ext>
    </p:extLst>
  </p:cSld>
  <p:clrMapOvr>
    <a:masterClrMapping/>
  </p:clrMapOvr>
  <mc:AlternateContent xmlns:mc="http://schemas.openxmlformats.org/markup-compatibility/2006" xmlns:p14="http://schemas.microsoft.com/office/powerpoint/2010/main">
    <mc:Choice Requires="p14">
      <p:transition spd="slow" p14:dur="2000" advTm="640"/>
    </mc:Choice>
    <mc:Fallback xmlns="">
      <p:transition spd="slow" advTm="64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040B7F-9C06-4AC7-BF78-845AC6E68A75}"/>
              </a:ext>
            </a:extLst>
          </p:cNvPr>
          <p:cNvSpPr/>
          <p:nvPr/>
        </p:nvSpPr>
        <p:spPr>
          <a:xfrm>
            <a:off x="0" y="2032820"/>
            <a:ext cx="12192000" cy="30099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4" name="Title 3"/>
          <p:cNvSpPr>
            <a:spLocks noGrp="1"/>
          </p:cNvSpPr>
          <p:nvPr>
            <p:ph type="title"/>
          </p:nvPr>
        </p:nvSpPr>
        <p:spPr/>
        <p:txBody>
          <a:bodyPr/>
          <a:lstStyle/>
          <a:p>
            <a:r>
              <a:rPr lang="en-GB"/>
              <a:t>Primary objective</a:t>
            </a:r>
            <a:br>
              <a:rPr lang="en-GB"/>
            </a:br>
            <a:r>
              <a:rPr lang="en-GB" sz="2000">
                <a:solidFill>
                  <a:schemeClr val="accent5"/>
                </a:solidFill>
              </a:rPr>
              <a:t>SELECT</a:t>
            </a:r>
          </a:p>
        </p:txBody>
      </p:sp>
      <p:sp>
        <p:nvSpPr>
          <p:cNvPr id="2" name="Text Placeholder 1">
            <a:extLst>
              <a:ext uri="{FF2B5EF4-FFF2-40B4-BE49-F238E27FC236}">
                <a16:creationId xmlns:a16="http://schemas.microsoft.com/office/drawing/2014/main" id="{DB28F56C-2B6B-4A9A-9B5B-16BA3779B3A4}"/>
              </a:ext>
            </a:extLst>
          </p:cNvPr>
          <p:cNvSpPr>
            <a:spLocks noGrp="1"/>
          </p:cNvSpPr>
          <p:nvPr>
            <p:ph type="body" sz="quarter" idx="13"/>
          </p:nvPr>
        </p:nvSpPr>
        <p:spPr/>
        <p:txBody>
          <a:bodyPr/>
          <a:lstStyle/>
          <a:p>
            <a:r>
              <a:rPr lang="en-GB"/>
              <a:t>Three-component MACE consisted of non-fatal myocardial infarction, non-fatal stroke, CV death.</a:t>
            </a:r>
            <a:br>
              <a:rPr lang="en-GB"/>
            </a:br>
            <a:r>
              <a:rPr lang="en-GB"/>
              <a:t>Established CV disease included ≥1 prior myocardial infarction, ischemic/haemorrhagic stroke, symptomatic peripheral arterial disease, peripheral arterial revascularisation procedure or amputation due to atherosclerotic disease. </a:t>
            </a:r>
            <a:br>
              <a:rPr lang="en-GB"/>
            </a:br>
            <a:r>
              <a:rPr lang="en-GB"/>
              <a:t>CV, cardiovascular; MACE, major adverse cardiovascular event; s.c., subcutaneous. </a:t>
            </a:r>
          </a:p>
        </p:txBody>
      </p:sp>
      <p:grpSp>
        <p:nvGrpSpPr>
          <p:cNvPr id="44" name="Group 43">
            <a:extLst>
              <a:ext uri="{FF2B5EF4-FFF2-40B4-BE49-F238E27FC236}">
                <a16:creationId xmlns:a16="http://schemas.microsoft.com/office/drawing/2014/main" id="{99DD7EDD-9BC6-18FB-9C7D-034194CE859F}"/>
              </a:ext>
            </a:extLst>
          </p:cNvPr>
          <p:cNvGrpSpPr/>
          <p:nvPr/>
        </p:nvGrpSpPr>
        <p:grpSpPr>
          <a:xfrm>
            <a:off x="8310427" y="2491146"/>
            <a:ext cx="2591761" cy="1278068"/>
            <a:chOff x="4505985" y="2252548"/>
            <a:chExt cx="1130244" cy="557354"/>
          </a:xfrm>
        </p:grpSpPr>
        <p:sp>
          <p:nvSpPr>
            <p:cNvPr id="45" name="Oval 44">
              <a:extLst>
                <a:ext uri="{FF2B5EF4-FFF2-40B4-BE49-F238E27FC236}">
                  <a16:creationId xmlns:a16="http://schemas.microsoft.com/office/drawing/2014/main" id="{75ABFBBB-B8B9-B1CD-59DA-4032E64491A9}"/>
                </a:ext>
              </a:extLst>
            </p:cNvPr>
            <p:cNvSpPr/>
            <p:nvPr/>
          </p:nvSpPr>
          <p:spPr>
            <a:xfrm>
              <a:off x="4643431" y="2252548"/>
              <a:ext cx="557355" cy="557354"/>
            </a:xfrm>
            <a:prstGeom prst="ellipse">
              <a:avLst/>
            </a:prstGeom>
            <a:solidFill>
              <a:schemeClr val="accent4">
                <a:lumMod val="20000"/>
                <a:lumOff val="8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sp>
          <p:nvSpPr>
            <p:cNvPr id="46" name="Oval 45">
              <a:extLst>
                <a:ext uri="{FF2B5EF4-FFF2-40B4-BE49-F238E27FC236}">
                  <a16:creationId xmlns:a16="http://schemas.microsoft.com/office/drawing/2014/main" id="{7DBE5EDF-EF4E-24E6-17C3-0E943B3E68F2}"/>
                </a:ext>
              </a:extLst>
            </p:cNvPr>
            <p:cNvSpPr/>
            <p:nvPr/>
          </p:nvSpPr>
          <p:spPr>
            <a:xfrm>
              <a:off x="5078874" y="2252548"/>
              <a:ext cx="557355" cy="557354"/>
            </a:xfrm>
            <a:prstGeom prst="ellipse">
              <a:avLst/>
            </a:prstGeom>
            <a:solidFill>
              <a:schemeClr val="accent3">
                <a:lumMod val="20000"/>
                <a:lumOff val="8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is For Office"/>
                <a:ea typeface="+mn-ea"/>
                <a:cs typeface="+mn-cs"/>
              </a:endParaRPr>
            </a:p>
          </p:txBody>
        </p:sp>
        <p:grpSp>
          <p:nvGrpSpPr>
            <p:cNvPr id="47" name="Group 46">
              <a:extLst>
                <a:ext uri="{FF2B5EF4-FFF2-40B4-BE49-F238E27FC236}">
                  <a16:creationId xmlns:a16="http://schemas.microsoft.com/office/drawing/2014/main" id="{0ED2B8EB-7B84-8B3F-5A15-FAE279F0DA32}"/>
                </a:ext>
              </a:extLst>
            </p:cNvPr>
            <p:cNvGrpSpPr/>
            <p:nvPr/>
          </p:nvGrpSpPr>
          <p:grpSpPr>
            <a:xfrm>
              <a:off x="4707835" y="2323137"/>
              <a:ext cx="355022" cy="418936"/>
              <a:chOff x="5999966" y="5203048"/>
              <a:chExt cx="1141309" cy="1346773"/>
            </a:xfrm>
            <a:solidFill>
              <a:schemeClr val="accent1"/>
            </a:solidFill>
          </p:grpSpPr>
          <p:sp>
            <p:nvSpPr>
              <p:cNvPr id="53" name="Freeform: Shape 52">
                <a:extLst>
                  <a:ext uri="{FF2B5EF4-FFF2-40B4-BE49-F238E27FC236}">
                    <a16:creationId xmlns:a16="http://schemas.microsoft.com/office/drawing/2014/main" id="{8BC446A0-E187-B51F-F5A1-A731325B0C29}"/>
                  </a:ext>
                </a:extLst>
              </p:cNvPr>
              <p:cNvSpPr/>
              <p:nvPr/>
            </p:nvSpPr>
            <p:spPr>
              <a:xfrm>
                <a:off x="6274583" y="5203048"/>
                <a:ext cx="330329" cy="310329"/>
              </a:xfrm>
              <a:custGeom>
                <a:avLst/>
                <a:gdLst>
                  <a:gd name="connsiteX0" fmla="*/ 263189 w 330329"/>
                  <a:gd name="connsiteY0" fmla="*/ 309767 h 310329"/>
                  <a:gd name="connsiteX1" fmla="*/ 88537 w 330329"/>
                  <a:gd name="connsiteY1" fmla="*/ 252065 h 310329"/>
                  <a:gd name="connsiteX2" fmla="*/ 2917 w 330329"/>
                  <a:gd name="connsiteY2" fmla="*/ 101611 h 310329"/>
                  <a:gd name="connsiteX3" fmla="*/ 14705 w 330329"/>
                  <a:gd name="connsiteY3" fmla="*/ 59422 h 310329"/>
                  <a:gd name="connsiteX4" fmla="*/ 56894 w 330329"/>
                  <a:gd name="connsiteY4" fmla="*/ 70899 h 310329"/>
                  <a:gd name="connsiteX5" fmla="*/ 130726 w 330329"/>
                  <a:gd name="connsiteY5" fmla="*/ 200880 h 310329"/>
                  <a:gd name="connsiteX6" fmla="*/ 231546 w 330329"/>
                  <a:gd name="connsiteY6" fmla="*/ 234074 h 310329"/>
                  <a:gd name="connsiteX7" fmla="*/ 262568 w 330329"/>
                  <a:gd name="connsiteY7" fmla="*/ 172030 h 310329"/>
                  <a:gd name="connsiteX8" fmla="*/ 218826 w 330329"/>
                  <a:gd name="connsiteY8" fmla="*/ 40188 h 310329"/>
                  <a:gd name="connsiteX9" fmla="*/ 238370 w 330329"/>
                  <a:gd name="connsiteY9" fmla="*/ 1101 h 310329"/>
                  <a:gd name="connsiteX10" fmla="*/ 277768 w 330329"/>
                  <a:gd name="connsiteY10" fmla="*/ 20489 h 310329"/>
                  <a:gd name="connsiteX11" fmla="*/ 277768 w 330329"/>
                  <a:gd name="connsiteY11" fmla="*/ 20644 h 310329"/>
                  <a:gd name="connsiteX12" fmla="*/ 329266 w 330329"/>
                  <a:gd name="connsiteY12" fmla="*/ 175753 h 31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0329" h="310329">
                    <a:moveTo>
                      <a:pt x="263189" y="309767"/>
                    </a:moveTo>
                    <a:lnTo>
                      <a:pt x="88537" y="252065"/>
                    </a:lnTo>
                    <a:lnTo>
                      <a:pt x="2917" y="101611"/>
                    </a:lnTo>
                    <a:cubicBezTo>
                      <a:pt x="-5460" y="86689"/>
                      <a:pt x="-185" y="67828"/>
                      <a:pt x="14705" y="59422"/>
                    </a:cubicBezTo>
                    <a:cubicBezTo>
                      <a:pt x="29595" y="51015"/>
                      <a:pt x="48518" y="56133"/>
                      <a:pt x="56894" y="70899"/>
                    </a:cubicBezTo>
                    <a:lnTo>
                      <a:pt x="130726" y="200880"/>
                    </a:lnTo>
                    <a:lnTo>
                      <a:pt x="231546" y="234074"/>
                    </a:lnTo>
                    <a:lnTo>
                      <a:pt x="262568" y="172030"/>
                    </a:lnTo>
                    <a:lnTo>
                      <a:pt x="218826" y="40188"/>
                    </a:lnTo>
                    <a:cubicBezTo>
                      <a:pt x="213551" y="23994"/>
                      <a:pt x="222238" y="6559"/>
                      <a:pt x="238370" y="1101"/>
                    </a:cubicBezTo>
                    <a:cubicBezTo>
                      <a:pt x="254502" y="-4423"/>
                      <a:pt x="272183" y="4264"/>
                      <a:pt x="277768" y="20489"/>
                    </a:cubicBezTo>
                    <a:cubicBezTo>
                      <a:pt x="277768" y="20552"/>
                      <a:pt x="277768" y="20582"/>
                      <a:pt x="277768" y="20644"/>
                    </a:cubicBezTo>
                    <a:lnTo>
                      <a:pt x="329266" y="175753"/>
                    </a:lnTo>
                    <a:close/>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54" name="Freeform: Shape 53">
                <a:extLst>
                  <a:ext uri="{FF2B5EF4-FFF2-40B4-BE49-F238E27FC236}">
                    <a16:creationId xmlns:a16="http://schemas.microsoft.com/office/drawing/2014/main" id="{7E21A911-02D5-CB51-6455-8F16E9A77B23}"/>
                  </a:ext>
                </a:extLst>
              </p:cNvPr>
              <p:cNvSpPr/>
              <p:nvPr/>
            </p:nvSpPr>
            <p:spPr>
              <a:xfrm>
                <a:off x="6787585" y="5564816"/>
                <a:ext cx="353690" cy="878591"/>
              </a:xfrm>
              <a:custGeom>
                <a:avLst/>
                <a:gdLst>
                  <a:gd name="connsiteX0" fmla="*/ 203104 w 353690"/>
                  <a:gd name="connsiteY0" fmla="*/ 878029 h 878591"/>
                  <a:gd name="connsiteX1" fmla="*/ 184492 w 353690"/>
                  <a:gd name="connsiteY1" fmla="*/ 871824 h 878591"/>
                  <a:gd name="connsiteX2" fmla="*/ 177975 w 353690"/>
                  <a:gd name="connsiteY2" fmla="*/ 828456 h 878591"/>
                  <a:gd name="connsiteX3" fmla="*/ 177975 w 353690"/>
                  <a:gd name="connsiteY3" fmla="*/ 828393 h 878591"/>
                  <a:gd name="connsiteX4" fmla="*/ 228851 w 353690"/>
                  <a:gd name="connsiteY4" fmla="*/ 727883 h 878591"/>
                  <a:gd name="connsiteX5" fmla="*/ 267317 w 353690"/>
                  <a:gd name="connsiteY5" fmla="*/ 706789 h 878591"/>
                  <a:gd name="connsiteX6" fmla="*/ 288414 w 353690"/>
                  <a:gd name="connsiteY6" fmla="*/ 745255 h 878591"/>
                  <a:gd name="connsiteX7" fmla="*/ 226370 w 353690"/>
                  <a:gd name="connsiteY7" fmla="*/ 865309 h 878591"/>
                  <a:gd name="connsiteX8" fmla="*/ 201551 w 353690"/>
                  <a:gd name="connsiteY8" fmla="*/ 878029 h 878591"/>
                  <a:gd name="connsiteX9" fmla="*/ 290894 w 353690"/>
                  <a:gd name="connsiteY9" fmla="*/ 647849 h 878591"/>
                  <a:gd name="connsiteX10" fmla="*/ 283760 w 353690"/>
                  <a:gd name="connsiteY10" fmla="*/ 647849 h 878591"/>
                  <a:gd name="connsiteX11" fmla="*/ 260493 w 353690"/>
                  <a:gd name="connsiteY11" fmla="*/ 610653 h 878591"/>
                  <a:gd name="connsiteX12" fmla="*/ 260493 w 353690"/>
                  <a:gd name="connsiteY12" fmla="*/ 610622 h 878591"/>
                  <a:gd name="connsiteX13" fmla="*/ 282518 w 353690"/>
                  <a:gd name="connsiteY13" fmla="*/ 491498 h 878591"/>
                  <a:gd name="connsiteX14" fmla="*/ 317572 w 353690"/>
                  <a:gd name="connsiteY14" fmla="*/ 464509 h 878591"/>
                  <a:gd name="connsiteX15" fmla="*/ 344561 w 353690"/>
                  <a:gd name="connsiteY15" fmla="*/ 499564 h 878591"/>
                  <a:gd name="connsiteX16" fmla="*/ 321605 w 353690"/>
                  <a:gd name="connsiteY16" fmla="*/ 623651 h 878591"/>
                  <a:gd name="connsiteX17" fmla="*/ 290583 w 353690"/>
                  <a:gd name="connsiteY17" fmla="*/ 647538 h 878591"/>
                  <a:gd name="connsiteX18" fmla="*/ 321605 w 353690"/>
                  <a:gd name="connsiteY18" fmla="*/ 401845 h 878591"/>
                  <a:gd name="connsiteX19" fmla="*/ 290583 w 353690"/>
                  <a:gd name="connsiteY19" fmla="*/ 370823 h 878591"/>
                  <a:gd name="connsiteX20" fmla="*/ 277557 w 353690"/>
                  <a:gd name="connsiteY20" fmla="*/ 254492 h 878591"/>
                  <a:gd name="connsiteX21" fmla="*/ 300513 w 353690"/>
                  <a:gd name="connsiteY21" fmla="*/ 217267 h 878591"/>
                  <a:gd name="connsiteX22" fmla="*/ 338048 w 353690"/>
                  <a:gd name="connsiteY22" fmla="*/ 240037 h 878591"/>
                  <a:gd name="connsiteX23" fmla="*/ 338048 w 353690"/>
                  <a:gd name="connsiteY23" fmla="*/ 240223 h 878591"/>
                  <a:gd name="connsiteX24" fmla="*/ 352627 w 353690"/>
                  <a:gd name="connsiteY24" fmla="*/ 370204 h 878591"/>
                  <a:gd name="connsiteX25" fmla="*/ 321605 w 353690"/>
                  <a:gd name="connsiteY25" fmla="*/ 401226 h 878591"/>
                  <a:gd name="connsiteX26" fmla="*/ 259562 w 353690"/>
                  <a:gd name="connsiteY26" fmla="*/ 165460 h 878591"/>
                  <a:gd name="connsiteX27" fmla="*/ 234436 w 353690"/>
                  <a:gd name="connsiteY27" fmla="*/ 152431 h 878591"/>
                  <a:gd name="connsiteX28" fmla="*/ 152538 w 353690"/>
                  <a:gd name="connsiteY28" fmla="*/ 83253 h 878591"/>
                  <a:gd name="connsiteX29" fmla="*/ 138270 w 353690"/>
                  <a:gd name="connsiteY29" fmla="*/ 41683 h 878591"/>
                  <a:gd name="connsiteX30" fmla="*/ 179838 w 353690"/>
                  <a:gd name="connsiteY30" fmla="*/ 27415 h 878591"/>
                  <a:gd name="connsiteX31" fmla="*/ 285002 w 353690"/>
                  <a:gd name="connsiteY31" fmla="*/ 116757 h 878591"/>
                  <a:gd name="connsiteX32" fmla="*/ 277557 w 353690"/>
                  <a:gd name="connsiteY32" fmla="*/ 159876 h 878591"/>
                  <a:gd name="connsiteX33" fmla="*/ 259562 w 353690"/>
                  <a:gd name="connsiteY33" fmla="*/ 165460 h 878591"/>
                  <a:gd name="connsiteX34" fmla="*/ 31864 w 353690"/>
                  <a:gd name="connsiteY34" fmla="*/ 63088 h 878591"/>
                  <a:gd name="connsiteX35" fmla="*/ -1018 w 353690"/>
                  <a:gd name="connsiteY35" fmla="*/ 33773 h 878591"/>
                  <a:gd name="connsiteX36" fmla="*/ 28452 w 353690"/>
                  <a:gd name="connsiteY36" fmla="*/ 1045 h 878591"/>
                  <a:gd name="connsiteX37" fmla="*/ 43962 w 353690"/>
                  <a:gd name="connsiteY37" fmla="*/ -506 h 878591"/>
                  <a:gd name="connsiteX38" fmla="*/ 76843 w 353690"/>
                  <a:gd name="connsiteY38" fmla="*/ 28655 h 878591"/>
                  <a:gd name="connsiteX39" fmla="*/ 47685 w 353690"/>
                  <a:gd name="connsiteY39" fmla="*/ 61538 h 878591"/>
                  <a:gd name="connsiteX40" fmla="*/ 35586 w 353690"/>
                  <a:gd name="connsiteY40" fmla="*/ 61538 h 878591"/>
                  <a:gd name="connsiteX41" fmla="*/ 31864 w 353690"/>
                  <a:gd name="connsiteY41" fmla="*/ 61538 h 87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3690" h="878591">
                    <a:moveTo>
                      <a:pt x="203104" y="878029"/>
                    </a:moveTo>
                    <a:cubicBezTo>
                      <a:pt x="196280" y="878029"/>
                      <a:pt x="189763" y="875857"/>
                      <a:pt x="184492" y="871824"/>
                    </a:cubicBezTo>
                    <a:cubicBezTo>
                      <a:pt x="170840" y="861649"/>
                      <a:pt x="167739" y="842230"/>
                      <a:pt x="177975" y="828456"/>
                    </a:cubicBezTo>
                    <a:cubicBezTo>
                      <a:pt x="177975" y="828426"/>
                      <a:pt x="177975" y="828426"/>
                      <a:pt x="177975" y="828393"/>
                    </a:cubicBezTo>
                    <a:cubicBezTo>
                      <a:pt x="200313" y="797993"/>
                      <a:pt x="217683" y="763993"/>
                      <a:pt x="228851" y="727883"/>
                    </a:cubicBezTo>
                    <a:cubicBezTo>
                      <a:pt x="233505" y="711443"/>
                      <a:pt x="250879" y="701981"/>
                      <a:pt x="267317" y="706789"/>
                    </a:cubicBezTo>
                    <a:cubicBezTo>
                      <a:pt x="283760" y="711598"/>
                      <a:pt x="293068" y="728815"/>
                      <a:pt x="288414" y="745255"/>
                    </a:cubicBezTo>
                    <a:cubicBezTo>
                      <a:pt x="274452" y="788438"/>
                      <a:pt x="253669" y="828984"/>
                      <a:pt x="226370" y="865309"/>
                    </a:cubicBezTo>
                    <a:cubicBezTo>
                      <a:pt x="220474" y="873252"/>
                      <a:pt x="211480" y="877967"/>
                      <a:pt x="201551" y="878029"/>
                    </a:cubicBezTo>
                    <a:moveTo>
                      <a:pt x="290894" y="647849"/>
                    </a:moveTo>
                    <a:cubicBezTo>
                      <a:pt x="288414" y="648157"/>
                      <a:pt x="286240" y="648157"/>
                      <a:pt x="283760" y="647849"/>
                    </a:cubicBezTo>
                    <a:cubicBezTo>
                      <a:pt x="267007" y="644001"/>
                      <a:pt x="256771" y="627343"/>
                      <a:pt x="260493" y="610653"/>
                    </a:cubicBezTo>
                    <a:cubicBezTo>
                      <a:pt x="260493" y="610653"/>
                      <a:pt x="260493" y="610622"/>
                      <a:pt x="260493" y="610622"/>
                    </a:cubicBezTo>
                    <a:cubicBezTo>
                      <a:pt x="269801" y="571317"/>
                      <a:pt x="277246" y="531548"/>
                      <a:pt x="282518" y="491498"/>
                    </a:cubicBezTo>
                    <a:cubicBezTo>
                      <a:pt x="284691" y="474374"/>
                      <a:pt x="300513" y="462277"/>
                      <a:pt x="317572" y="464509"/>
                    </a:cubicBezTo>
                    <a:cubicBezTo>
                      <a:pt x="334636" y="466744"/>
                      <a:pt x="346735" y="482440"/>
                      <a:pt x="344561" y="499564"/>
                    </a:cubicBezTo>
                    <a:cubicBezTo>
                      <a:pt x="339290" y="539892"/>
                      <a:pt x="331534" y="582083"/>
                      <a:pt x="321605" y="623651"/>
                    </a:cubicBezTo>
                    <a:cubicBezTo>
                      <a:pt x="318193" y="637952"/>
                      <a:pt x="305167" y="647941"/>
                      <a:pt x="290583" y="647538"/>
                    </a:cubicBezTo>
                    <a:moveTo>
                      <a:pt x="321605" y="401845"/>
                    </a:moveTo>
                    <a:cubicBezTo>
                      <a:pt x="304546" y="401845"/>
                      <a:pt x="290583" y="387947"/>
                      <a:pt x="290583" y="370823"/>
                    </a:cubicBezTo>
                    <a:cubicBezTo>
                      <a:pt x="290273" y="331705"/>
                      <a:pt x="285933" y="292680"/>
                      <a:pt x="277557" y="254492"/>
                    </a:cubicBezTo>
                    <a:cubicBezTo>
                      <a:pt x="273524" y="237896"/>
                      <a:pt x="284070" y="221238"/>
                      <a:pt x="300513" y="217267"/>
                    </a:cubicBezTo>
                    <a:cubicBezTo>
                      <a:pt x="317262" y="213202"/>
                      <a:pt x="334015" y="223409"/>
                      <a:pt x="338048" y="240037"/>
                    </a:cubicBezTo>
                    <a:cubicBezTo>
                      <a:pt x="338048" y="240098"/>
                      <a:pt x="338048" y="240160"/>
                      <a:pt x="338048" y="240223"/>
                    </a:cubicBezTo>
                    <a:cubicBezTo>
                      <a:pt x="347666" y="282908"/>
                      <a:pt x="352316" y="326495"/>
                      <a:pt x="352627" y="370204"/>
                    </a:cubicBezTo>
                    <a:cubicBezTo>
                      <a:pt x="352627" y="387328"/>
                      <a:pt x="338669" y="401226"/>
                      <a:pt x="321605" y="401226"/>
                    </a:cubicBezTo>
                    <a:close/>
                    <a:moveTo>
                      <a:pt x="259562" y="165460"/>
                    </a:moveTo>
                    <a:cubicBezTo>
                      <a:pt x="249636" y="165429"/>
                      <a:pt x="240328" y="160559"/>
                      <a:pt x="234436" y="152431"/>
                    </a:cubicBezTo>
                    <a:cubicBezTo>
                      <a:pt x="213340" y="122899"/>
                      <a:pt x="185113" y="99105"/>
                      <a:pt x="152538" y="83253"/>
                    </a:cubicBezTo>
                    <a:cubicBezTo>
                      <a:pt x="137028" y="75714"/>
                      <a:pt x="130825" y="57101"/>
                      <a:pt x="138270" y="41683"/>
                    </a:cubicBezTo>
                    <a:cubicBezTo>
                      <a:pt x="145715" y="26265"/>
                      <a:pt x="164327" y="19875"/>
                      <a:pt x="179838" y="27415"/>
                    </a:cubicBezTo>
                    <a:cubicBezTo>
                      <a:pt x="221716" y="47826"/>
                      <a:pt x="258013" y="78569"/>
                      <a:pt x="285002" y="116757"/>
                    </a:cubicBezTo>
                    <a:cubicBezTo>
                      <a:pt x="294927" y="130715"/>
                      <a:pt x="291515" y="150011"/>
                      <a:pt x="277557" y="159876"/>
                    </a:cubicBezTo>
                    <a:cubicBezTo>
                      <a:pt x="272282" y="163568"/>
                      <a:pt x="266079" y="165522"/>
                      <a:pt x="259562" y="165460"/>
                    </a:cubicBezTo>
                    <a:moveTo>
                      <a:pt x="31864" y="63088"/>
                    </a:moveTo>
                    <a:cubicBezTo>
                      <a:pt x="14800" y="64020"/>
                      <a:pt x="221" y="50897"/>
                      <a:pt x="-1018" y="33773"/>
                    </a:cubicBezTo>
                    <a:cubicBezTo>
                      <a:pt x="-1949" y="16649"/>
                      <a:pt x="11388" y="1976"/>
                      <a:pt x="28452" y="1045"/>
                    </a:cubicBezTo>
                    <a:lnTo>
                      <a:pt x="43962" y="-506"/>
                    </a:lnTo>
                    <a:cubicBezTo>
                      <a:pt x="61026" y="-1530"/>
                      <a:pt x="75916" y="11531"/>
                      <a:pt x="76843" y="28655"/>
                    </a:cubicBezTo>
                    <a:cubicBezTo>
                      <a:pt x="77775" y="45779"/>
                      <a:pt x="64748" y="60513"/>
                      <a:pt x="47685" y="61538"/>
                    </a:cubicBezTo>
                    <a:lnTo>
                      <a:pt x="35586" y="61538"/>
                    </a:lnTo>
                    <a:lnTo>
                      <a:pt x="31864" y="61538"/>
                    </a:lnTo>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55" name="Freeform: Shape 54">
                <a:extLst>
                  <a:ext uri="{FF2B5EF4-FFF2-40B4-BE49-F238E27FC236}">
                    <a16:creationId xmlns:a16="http://schemas.microsoft.com/office/drawing/2014/main" id="{CBF0C3C0-55B7-58CF-C8FB-1D557B15640B}"/>
                  </a:ext>
                </a:extLst>
              </p:cNvPr>
              <p:cNvSpPr/>
              <p:nvPr/>
            </p:nvSpPr>
            <p:spPr>
              <a:xfrm>
                <a:off x="6113706" y="5207546"/>
                <a:ext cx="907682" cy="1342275"/>
              </a:xfrm>
              <a:custGeom>
                <a:avLst/>
                <a:gdLst>
                  <a:gd name="connsiteX0" fmla="*/ 673789 w 907682"/>
                  <a:gd name="connsiteY0" fmla="*/ 1341704 h 1342275"/>
                  <a:gd name="connsiteX1" fmla="*/ 658899 w 907682"/>
                  <a:gd name="connsiteY1" fmla="*/ 1341704 h 1342275"/>
                  <a:gd name="connsiteX2" fmla="*/ 69486 w 907682"/>
                  <a:gd name="connsiteY2" fmla="*/ 916395 h 1342275"/>
                  <a:gd name="connsiteX3" fmla="*/ 38465 w 907682"/>
                  <a:gd name="connsiteY3" fmla="*/ 514974 h 1342275"/>
                  <a:gd name="connsiteX4" fmla="*/ 403280 w 907682"/>
                  <a:gd name="connsiteY4" fmla="*/ 390888 h 1342275"/>
                  <a:gd name="connsiteX5" fmla="*/ 403280 w 907682"/>
                  <a:gd name="connsiteY5" fmla="*/ 390888 h 1342275"/>
                  <a:gd name="connsiteX6" fmla="*/ 425304 w 907682"/>
                  <a:gd name="connsiteY6" fmla="*/ 399575 h 1342275"/>
                  <a:gd name="connsiteX7" fmla="*/ 476802 w 907682"/>
                  <a:gd name="connsiteY7" fmla="*/ 302476 h 1342275"/>
                  <a:gd name="connsiteX8" fmla="*/ 476802 w 907682"/>
                  <a:gd name="connsiteY8" fmla="*/ 302476 h 1342275"/>
                  <a:gd name="connsiteX9" fmla="*/ 662932 w 907682"/>
                  <a:gd name="connsiteY9" fmla="*/ 15526 h 1342275"/>
                  <a:gd name="connsiteX10" fmla="*/ 728077 w 907682"/>
                  <a:gd name="connsiteY10" fmla="*/ 9942 h 1342275"/>
                  <a:gd name="connsiteX11" fmla="*/ 790120 w 907682"/>
                  <a:gd name="connsiteY11" fmla="*/ 61437 h 1342275"/>
                  <a:gd name="connsiteX12" fmla="*/ 796327 w 907682"/>
                  <a:gd name="connsiteY12" fmla="*/ 126925 h 1342275"/>
                  <a:gd name="connsiteX13" fmla="*/ 795706 w 907682"/>
                  <a:gd name="connsiteY13" fmla="*/ 127824 h 1342275"/>
                  <a:gd name="connsiteX14" fmla="*/ 751964 w 907682"/>
                  <a:gd name="connsiteY14" fmla="*/ 178390 h 1342275"/>
                  <a:gd name="connsiteX15" fmla="*/ 697055 w 907682"/>
                  <a:gd name="connsiteY15" fmla="*/ 342185 h 1342275"/>
                  <a:gd name="connsiteX16" fmla="*/ 711945 w 907682"/>
                  <a:gd name="connsiteY16" fmla="*/ 513424 h 1342275"/>
                  <a:gd name="connsiteX17" fmla="*/ 680923 w 907682"/>
                  <a:gd name="connsiteY17" fmla="*/ 544478 h 1342275"/>
                  <a:gd name="connsiteX18" fmla="*/ 679374 w 907682"/>
                  <a:gd name="connsiteY18" fmla="*/ 544445 h 1342275"/>
                  <a:gd name="connsiteX19" fmla="*/ 649901 w 907682"/>
                  <a:gd name="connsiteY19" fmla="*/ 511966 h 1342275"/>
                  <a:gd name="connsiteX20" fmla="*/ 649901 w 907682"/>
                  <a:gd name="connsiteY20" fmla="*/ 511873 h 1342275"/>
                  <a:gd name="connsiteX21" fmla="*/ 635943 w 907682"/>
                  <a:gd name="connsiteY21" fmla="*/ 356764 h 1342275"/>
                  <a:gd name="connsiteX22" fmla="*/ 635943 w 907682"/>
                  <a:gd name="connsiteY22" fmla="*/ 352110 h 1342275"/>
                  <a:gd name="connsiteX23" fmla="*/ 705742 w 907682"/>
                  <a:gd name="connsiteY23" fmla="*/ 140544 h 1342275"/>
                  <a:gd name="connsiteX24" fmla="*/ 738933 w 907682"/>
                  <a:gd name="connsiteY24" fmla="*/ 102076 h 1342275"/>
                  <a:gd name="connsiteX25" fmla="*/ 700777 w 907682"/>
                  <a:gd name="connsiteY25" fmla="*/ 71054 h 1342275"/>
                  <a:gd name="connsiteX26" fmla="*/ 535123 w 907682"/>
                  <a:gd name="connsiteY26" fmla="*/ 328225 h 1342275"/>
                  <a:gd name="connsiteX27" fmla="*/ 463464 w 907682"/>
                  <a:gd name="connsiteY27" fmla="*/ 457274 h 1342275"/>
                  <a:gd name="connsiteX28" fmla="*/ 455088 w 907682"/>
                  <a:gd name="connsiteY28" fmla="*/ 468752 h 1342275"/>
                  <a:gd name="connsiteX29" fmla="*/ 440815 w 907682"/>
                  <a:gd name="connsiteY29" fmla="*/ 468752 h 1342275"/>
                  <a:gd name="connsiteX30" fmla="*/ 378772 w 907682"/>
                  <a:gd name="connsiteY30" fmla="*/ 451691 h 1342275"/>
                  <a:gd name="connsiteX31" fmla="*/ 92753 w 907682"/>
                  <a:gd name="connsiteY31" fmla="*/ 544756 h 1342275"/>
                  <a:gd name="connsiteX32" fmla="*/ 120673 w 907682"/>
                  <a:gd name="connsiteY32" fmla="*/ 885995 h 1342275"/>
                  <a:gd name="connsiteX33" fmla="*/ 660451 w 907682"/>
                  <a:gd name="connsiteY33" fmla="*/ 1280281 h 1342275"/>
                  <a:gd name="connsiteX34" fmla="*/ 850615 w 907682"/>
                  <a:gd name="connsiteY34" fmla="*/ 1187216 h 1342275"/>
                  <a:gd name="connsiteX35" fmla="*/ 894042 w 907682"/>
                  <a:gd name="connsiteY35" fmla="*/ 1180701 h 1342275"/>
                  <a:gd name="connsiteX36" fmla="*/ 900559 w 907682"/>
                  <a:gd name="connsiteY36" fmla="*/ 1224132 h 1342275"/>
                  <a:gd name="connsiteX37" fmla="*/ 672550 w 907682"/>
                  <a:gd name="connsiteY37" fmla="*/ 1341704 h 134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07682" h="1342275">
                    <a:moveTo>
                      <a:pt x="673789" y="1341704"/>
                    </a:moveTo>
                    <a:lnTo>
                      <a:pt x="658899" y="1341704"/>
                    </a:lnTo>
                    <a:cubicBezTo>
                      <a:pt x="498826" y="1334259"/>
                      <a:pt x="199780" y="1142855"/>
                      <a:pt x="69486" y="916395"/>
                    </a:cubicBezTo>
                    <a:cubicBezTo>
                      <a:pt x="-12101" y="776179"/>
                      <a:pt x="-23579" y="637200"/>
                      <a:pt x="38465" y="514974"/>
                    </a:cubicBezTo>
                    <a:cubicBezTo>
                      <a:pt x="109195" y="376308"/>
                      <a:pt x="245691" y="330397"/>
                      <a:pt x="403280" y="390888"/>
                    </a:cubicBezTo>
                    <a:lnTo>
                      <a:pt x="403280" y="390888"/>
                    </a:lnTo>
                    <a:cubicBezTo>
                      <a:pt x="412278" y="394921"/>
                      <a:pt x="419723" y="397713"/>
                      <a:pt x="425304" y="399575"/>
                    </a:cubicBezTo>
                    <a:cubicBezTo>
                      <a:pt x="446401" y="369452"/>
                      <a:pt x="463771" y="336848"/>
                      <a:pt x="476802" y="302476"/>
                    </a:cubicBezTo>
                    <a:lnTo>
                      <a:pt x="476802" y="302476"/>
                    </a:lnTo>
                    <a:cubicBezTo>
                      <a:pt x="525197" y="198554"/>
                      <a:pt x="587858" y="101952"/>
                      <a:pt x="662932" y="15526"/>
                    </a:cubicBezTo>
                    <a:cubicBezTo>
                      <a:pt x="679685" y="-3522"/>
                      <a:pt x="708533" y="-6002"/>
                      <a:pt x="728077" y="9942"/>
                    </a:cubicBezTo>
                    <a:lnTo>
                      <a:pt x="790120" y="61437"/>
                    </a:lnTo>
                    <a:cubicBezTo>
                      <a:pt x="809974" y="77787"/>
                      <a:pt x="812765" y="107103"/>
                      <a:pt x="796327" y="126925"/>
                    </a:cubicBezTo>
                    <a:cubicBezTo>
                      <a:pt x="796327" y="127235"/>
                      <a:pt x="796016" y="127546"/>
                      <a:pt x="795706" y="127824"/>
                    </a:cubicBezTo>
                    <a:lnTo>
                      <a:pt x="751964" y="178390"/>
                    </a:lnTo>
                    <a:cubicBezTo>
                      <a:pt x="712566" y="223557"/>
                      <a:pt x="693022" y="282467"/>
                      <a:pt x="697055" y="342185"/>
                    </a:cubicBezTo>
                    <a:cubicBezTo>
                      <a:pt x="709775" y="398302"/>
                      <a:pt x="714739" y="455941"/>
                      <a:pt x="711945" y="513424"/>
                    </a:cubicBezTo>
                    <a:cubicBezTo>
                      <a:pt x="711945" y="530548"/>
                      <a:pt x="697986" y="544478"/>
                      <a:pt x="680923" y="544478"/>
                    </a:cubicBezTo>
                    <a:cubicBezTo>
                      <a:pt x="680306" y="544478"/>
                      <a:pt x="679995" y="544478"/>
                      <a:pt x="679374" y="544445"/>
                    </a:cubicBezTo>
                    <a:cubicBezTo>
                      <a:pt x="662311" y="543609"/>
                      <a:pt x="648974" y="529060"/>
                      <a:pt x="649901" y="511966"/>
                    </a:cubicBezTo>
                    <a:cubicBezTo>
                      <a:pt x="649901" y="511935"/>
                      <a:pt x="649901" y="511903"/>
                      <a:pt x="649901" y="511873"/>
                    </a:cubicBezTo>
                    <a:cubicBezTo>
                      <a:pt x="652385" y="459787"/>
                      <a:pt x="647731" y="407578"/>
                      <a:pt x="635943" y="356764"/>
                    </a:cubicBezTo>
                    <a:lnTo>
                      <a:pt x="635943" y="352110"/>
                    </a:lnTo>
                    <a:cubicBezTo>
                      <a:pt x="630051" y="275084"/>
                      <a:pt x="655176" y="198863"/>
                      <a:pt x="705742" y="140544"/>
                    </a:cubicBezTo>
                    <a:lnTo>
                      <a:pt x="738933" y="102076"/>
                    </a:lnTo>
                    <a:lnTo>
                      <a:pt x="700777" y="71054"/>
                    </a:lnTo>
                    <a:cubicBezTo>
                      <a:pt x="634390" y="149136"/>
                      <a:pt x="578864" y="235593"/>
                      <a:pt x="535123" y="328225"/>
                    </a:cubicBezTo>
                    <a:cubicBezTo>
                      <a:pt x="517752" y="374570"/>
                      <a:pt x="493554" y="418064"/>
                      <a:pt x="463464" y="457274"/>
                    </a:cubicBezTo>
                    <a:lnTo>
                      <a:pt x="455088" y="468752"/>
                    </a:lnTo>
                    <a:lnTo>
                      <a:pt x="440815" y="468752"/>
                    </a:lnTo>
                    <a:cubicBezTo>
                      <a:pt x="419102" y="467760"/>
                      <a:pt x="398005" y="461928"/>
                      <a:pt x="378772" y="451691"/>
                    </a:cubicBezTo>
                    <a:cubicBezTo>
                      <a:pt x="304323" y="422530"/>
                      <a:pt x="168758" y="396163"/>
                      <a:pt x="92753" y="544756"/>
                    </a:cubicBezTo>
                    <a:cubicBezTo>
                      <a:pt x="39707" y="648988"/>
                      <a:pt x="49011" y="763769"/>
                      <a:pt x="120673" y="885995"/>
                    </a:cubicBezTo>
                    <a:cubicBezTo>
                      <a:pt x="248482" y="1106248"/>
                      <a:pt x="532021" y="1274387"/>
                      <a:pt x="660451" y="1280281"/>
                    </a:cubicBezTo>
                    <a:cubicBezTo>
                      <a:pt x="735832" y="1285244"/>
                      <a:pt x="808115" y="1249818"/>
                      <a:pt x="850615" y="1187216"/>
                    </a:cubicBezTo>
                    <a:cubicBezTo>
                      <a:pt x="860850" y="1173411"/>
                      <a:pt x="880394" y="1170495"/>
                      <a:pt x="894042" y="1180701"/>
                    </a:cubicBezTo>
                    <a:cubicBezTo>
                      <a:pt x="907693" y="1190906"/>
                      <a:pt x="910795" y="1210327"/>
                      <a:pt x="900559" y="1224132"/>
                    </a:cubicBezTo>
                    <a:cubicBezTo>
                      <a:pt x="848441" y="1298490"/>
                      <a:pt x="763131" y="1342448"/>
                      <a:pt x="672550" y="1341704"/>
                    </a:cubicBezTo>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56" name="Freeform: Shape 55">
                <a:extLst>
                  <a:ext uri="{FF2B5EF4-FFF2-40B4-BE49-F238E27FC236}">
                    <a16:creationId xmlns:a16="http://schemas.microsoft.com/office/drawing/2014/main" id="{05042A11-1BC9-169E-230D-DA60CBCB1402}"/>
                  </a:ext>
                </a:extLst>
              </p:cNvPr>
              <p:cNvSpPr/>
              <p:nvPr/>
            </p:nvSpPr>
            <p:spPr>
              <a:xfrm>
                <a:off x="6633140" y="5690470"/>
                <a:ext cx="196105" cy="380056"/>
              </a:xfrm>
              <a:custGeom>
                <a:avLst/>
                <a:gdLst>
                  <a:gd name="connsiteX0" fmla="*/ 30269 w 196105"/>
                  <a:gd name="connsiteY0" fmla="*/ 377633 h 380056"/>
                  <a:gd name="connsiteX1" fmla="*/ -1064 w 196105"/>
                  <a:gd name="connsiteY1" fmla="*/ 346797 h 380056"/>
                  <a:gd name="connsiteX2" fmla="*/ 7623 w 196105"/>
                  <a:gd name="connsiteY2" fmla="*/ 325206 h 380056"/>
                  <a:gd name="connsiteX3" fmla="*/ 75874 w 196105"/>
                  <a:gd name="connsiteY3" fmla="*/ 232141 h 380056"/>
                  <a:gd name="connsiteX4" fmla="*/ 118373 w 196105"/>
                  <a:gd name="connsiteY4" fmla="*/ 220508 h 380056"/>
                  <a:gd name="connsiteX5" fmla="*/ 130161 w 196105"/>
                  <a:gd name="connsiteY5" fmla="*/ 263163 h 380056"/>
                  <a:gd name="connsiteX6" fmla="*/ 52914 w 196105"/>
                  <a:gd name="connsiteY6" fmla="*/ 369567 h 380056"/>
                  <a:gd name="connsiteX7" fmla="*/ 30269 w 196105"/>
                  <a:gd name="connsiteY7" fmla="*/ 379494 h 380056"/>
                  <a:gd name="connsiteX8" fmla="*/ 148463 w 196105"/>
                  <a:gd name="connsiteY8" fmla="*/ 164204 h 380056"/>
                  <a:gd name="connsiteX9" fmla="*/ 140708 w 196105"/>
                  <a:gd name="connsiteY9" fmla="*/ 164204 h 380056"/>
                  <a:gd name="connsiteX10" fmla="*/ 118373 w 196105"/>
                  <a:gd name="connsiteY10" fmla="*/ 126451 h 380056"/>
                  <a:gd name="connsiteX11" fmla="*/ 118373 w 196105"/>
                  <a:gd name="connsiteY11" fmla="*/ 126358 h 380056"/>
                  <a:gd name="connsiteX12" fmla="*/ 132952 w 196105"/>
                  <a:gd name="connsiteY12" fmla="*/ 28949 h 380056"/>
                  <a:gd name="connsiteX13" fmla="*/ 165523 w 196105"/>
                  <a:gd name="connsiteY13" fmla="*/ -522 h 380056"/>
                  <a:gd name="connsiteX14" fmla="*/ 194996 w 196105"/>
                  <a:gd name="connsiteY14" fmla="*/ 32051 h 380056"/>
                  <a:gd name="connsiteX15" fmla="*/ 178553 w 196105"/>
                  <a:gd name="connsiteY15" fmla="*/ 141869 h 380056"/>
                  <a:gd name="connsiteX16" fmla="*/ 147532 w 196105"/>
                  <a:gd name="connsiteY16" fmla="*/ 165135 h 38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105" h="380056">
                    <a:moveTo>
                      <a:pt x="30269" y="377633"/>
                    </a:moveTo>
                    <a:cubicBezTo>
                      <a:pt x="13209" y="377726"/>
                      <a:pt x="-753" y="363953"/>
                      <a:pt x="-1064" y="346797"/>
                    </a:cubicBezTo>
                    <a:cubicBezTo>
                      <a:pt x="-1064" y="338763"/>
                      <a:pt x="2042" y="331038"/>
                      <a:pt x="7623" y="325206"/>
                    </a:cubicBezTo>
                    <a:cubicBezTo>
                      <a:pt x="33991" y="297100"/>
                      <a:pt x="56947" y="265863"/>
                      <a:pt x="75874" y="232141"/>
                    </a:cubicBezTo>
                    <a:cubicBezTo>
                      <a:pt x="84557" y="217159"/>
                      <a:pt x="103479" y="211946"/>
                      <a:pt x="118373" y="220508"/>
                    </a:cubicBezTo>
                    <a:cubicBezTo>
                      <a:pt x="133573" y="229070"/>
                      <a:pt x="138845" y="248180"/>
                      <a:pt x="130161" y="263163"/>
                    </a:cubicBezTo>
                    <a:cubicBezTo>
                      <a:pt x="108755" y="301630"/>
                      <a:pt x="83008" y="337368"/>
                      <a:pt x="52914" y="369567"/>
                    </a:cubicBezTo>
                    <a:cubicBezTo>
                      <a:pt x="47022" y="375865"/>
                      <a:pt x="38956" y="379464"/>
                      <a:pt x="30269" y="379494"/>
                    </a:cubicBezTo>
                    <a:moveTo>
                      <a:pt x="148463" y="164204"/>
                    </a:moveTo>
                    <a:lnTo>
                      <a:pt x="140708" y="164204"/>
                    </a:lnTo>
                    <a:cubicBezTo>
                      <a:pt x="123955" y="159955"/>
                      <a:pt x="114030" y="143047"/>
                      <a:pt x="118373" y="126451"/>
                    </a:cubicBezTo>
                    <a:cubicBezTo>
                      <a:pt x="118373" y="126420"/>
                      <a:pt x="118373" y="126388"/>
                      <a:pt x="118373" y="126358"/>
                    </a:cubicBezTo>
                    <a:cubicBezTo>
                      <a:pt x="126435" y="94467"/>
                      <a:pt x="131400" y="61832"/>
                      <a:pt x="132952" y="28949"/>
                    </a:cubicBezTo>
                    <a:cubicBezTo>
                      <a:pt x="133884" y="11825"/>
                      <a:pt x="148463" y="-1391"/>
                      <a:pt x="165523" y="-522"/>
                    </a:cubicBezTo>
                    <a:cubicBezTo>
                      <a:pt x="182586" y="347"/>
                      <a:pt x="195927" y="14927"/>
                      <a:pt x="194996" y="32051"/>
                    </a:cubicBezTo>
                    <a:cubicBezTo>
                      <a:pt x="193133" y="69122"/>
                      <a:pt x="187551" y="105883"/>
                      <a:pt x="178553" y="141869"/>
                    </a:cubicBezTo>
                    <a:cubicBezTo>
                      <a:pt x="174831" y="155922"/>
                      <a:pt x="162111" y="165601"/>
                      <a:pt x="147532" y="165135"/>
                    </a:cubicBezTo>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57" name="Freeform: Shape 56">
                <a:extLst>
                  <a:ext uri="{FF2B5EF4-FFF2-40B4-BE49-F238E27FC236}">
                    <a16:creationId xmlns:a16="http://schemas.microsoft.com/office/drawing/2014/main" id="{778B94C0-074B-1CA3-FDA1-F7E25E1E205C}"/>
                  </a:ext>
                </a:extLst>
              </p:cNvPr>
              <p:cNvSpPr/>
              <p:nvPr/>
            </p:nvSpPr>
            <p:spPr>
              <a:xfrm>
                <a:off x="5999966" y="5360439"/>
                <a:ext cx="345766" cy="187372"/>
              </a:xfrm>
              <a:custGeom>
                <a:avLst/>
                <a:gdLst>
                  <a:gd name="connsiteX0" fmla="*/ 315069 w 345766"/>
                  <a:gd name="connsiteY0" fmla="*/ 186810 h 187372"/>
                  <a:gd name="connsiteX1" fmla="*/ 289322 w 345766"/>
                  <a:gd name="connsiteY1" fmla="*/ 173161 h 187372"/>
                  <a:gd name="connsiteX2" fmla="*/ 218281 w 345766"/>
                  <a:gd name="connsiteY2" fmla="*/ 68618 h 187372"/>
                  <a:gd name="connsiteX3" fmla="*/ 36495 w 345766"/>
                  <a:gd name="connsiteY3" fmla="*/ 107084 h 187372"/>
                  <a:gd name="connsiteX4" fmla="*/ -423 w 345766"/>
                  <a:gd name="connsiteY4" fmla="*/ 83259 h 187372"/>
                  <a:gd name="connsiteX5" fmla="*/ -423 w 345766"/>
                  <a:gd name="connsiteY5" fmla="*/ 82886 h 187372"/>
                  <a:gd name="connsiteX6" fmla="*/ 23464 w 345766"/>
                  <a:gd name="connsiteY6" fmla="*/ 46281 h 187372"/>
                  <a:gd name="connsiteX7" fmla="*/ 246202 w 345766"/>
                  <a:gd name="connsiteY7" fmla="*/ -562 h 187372"/>
                  <a:gd name="connsiteX8" fmla="*/ 339267 w 345766"/>
                  <a:gd name="connsiteY8" fmla="*/ 138416 h 187372"/>
                  <a:gd name="connsiteX9" fmla="*/ 331201 w 345766"/>
                  <a:gd name="connsiteY9" fmla="*/ 181537 h 187372"/>
                  <a:gd name="connsiteX10" fmla="*/ 313827 w 345766"/>
                  <a:gd name="connsiteY10" fmla="*/ 186810 h 18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766" h="187372">
                    <a:moveTo>
                      <a:pt x="315069" y="186810"/>
                    </a:moveTo>
                    <a:cubicBezTo>
                      <a:pt x="304833" y="186840"/>
                      <a:pt x="295215" y="181723"/>
                      <a:pt x="289322" y="173161"/>
                    </a:cubicBezTo>
                    <a:lnTo>
                      <a:pt x="218281" y="68618"/>
                    </a:lnTo>
                    <a:lnTo>
                      <a:pt x="36495" y="107084"/>
                    </a:lnTo>
                    <a:cubicBezTo>
                      <a:pt x="19742" y="110682"/>
                      <a:pt x="3303" y="100010"/>
                      <a:pt x="-423" y="83259"/>
                    </a:cubicBezTo>
                    <a:cubicBezTo>
                      <a:pt x="-423" y="83134"/>
                      <a:pt x="-423" y="83011"/>
                      <a:pt x="-423" y="82886"/>
                    </a:cubicBezTo>
                    <a:cubicBezTo>
                      <a:pt x="-3835" y="66198"/>
                      <a:pt x="6715" y="49848"/>
                      <a:pt x="23464" y="46281"/>
                    </a:cubicBezTo>
                    <a:lnTo>
                      <a:pt x="246202" y="-562"/>
                    </a:lnTo>
                    <a:lnTo>
                      <a:pt x="339267" y="138416"/>
                    </a:lnTo>
                    <a:cubicBezTo>
                      <a:pt x="348881" y="152562"/>
                      <a:pt x="345470" y="171858"/>
                      <a:pt x="331201" y="181537"/>
                    </a:cubicBezTo>
                    <a:cubicBezTo>
                      <a:pt x="325926" y="184979"/>
                      <a:pt x="320033" y="186840"/>
                      <a:pt x="313827" y="186810"/>
                    </a:cubicBezTo>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grpSp>
          <p:nvGrpSpPr>
            <p:cNvPr id="48" name="Group 47">
              <a:extLst>
                <a:ext uri="{FF2B5EF4-FFF2-40B4-BE49-F238E27FC236}">
                  <a16:creationId xmlns:a16="http://schemas.microsoft.com/office/drawing/2014/main" id="{E2D9CA59-78FD-FFDB-6FB3-36A961ACEA7F}"/>
                </a:ext>
              </a:extLst>
            </p:cNvPr>
            <p:cNvGrpSpPr/>
            <p:nvPr/>
          </p:nvGrpSpPr>
          <p:grpSpPr>
            <a:xfrm>
              <a:off x="5160691" y="2374805"/>
              <a:ext cx="393723" cy="334262"/>
              <a:chOff x="5886285" y="2862260"/>
              <a:chExt cx="1368792" cy="1162075"/>
            </a:xfrm>
            <a:solidFill>
              <a:schemeClr val="accent1"/>
            </a:solidFill>
          </p:grpSpPr>
          <p:sp>
            <p:nvSpPr>
              <p:cNvPr id="50" name="Freeform: Shape 49">
                <a:extLst>
                  <a:ext uri="{FF2B5EF4-FFF2-40B4-BE49-F238E27FC236}">
                    <a16:creationId xmlns:a16="http://schemas.microsoft.com/office/drawing/2014/main" id="{17FB5561-8B12-C6CC-327E-6183EE7D7714}"/>
                  </a:ext>
                </a:extLst>
              </p:cNvPr>
              <p:cNvSpPr/>
              <p:nvPr/>
            </p:nvSpPr>
            <p:spPr>
              <a:xfrm>
                <a:off x="5886285" y="2862260"/>
                <a:ext cx="1368792" cy="1162075"/>
              </a:xfrm>
              <a:custGeom>
                <a:avLst/>
                <a:gdLst>
                  <a:gd name="connsiteX0" fmla="*/ 1215150 w 1368792"/>
                  <a:gd name="connsiteY0" fmla="*/ 1161513 h 1162075"/>
                  <a:gd name="connsiteX1" fmla="*/ 152656 w 1368792"/>
                  <a:gd name="connsiteY1" fmla="*/ 1161513 h 1162075"/>
                  <a:gd name="connsiteX2" fmla="*/ 104575 w 1368792"/>
                  <a:gd name="connsiteY2" fmla="*/ 1118392 h 1162075"/>
                  <a:gd name="connsiteX3" fmla="*/ -589 w 1368792"/>
                  <a:gd name="connsiteY3" fmla="*/ 115771 h 1162075"/>
                  <a:gd name="connsiteX4" fmla="*/ 25779 w 1368792"/>
                  <a:gd name="connsiteY4" fmla="*/ 36045 h 1162075"/>
                  <a:gd name="connsiteX5" fmla="*/ 109536 w 1368792"/>
                  <a:gd name="connsiteY5" fmla="*/ -561 h 1162075"/>
                  <a:gd name="connsiteX6" fmla="*/ 1257339 w 1368792"/>
                  <a:gd name="connsiteY6" fmla="*/ -561 h 1162075"/>
                  <a:gd name="connsiteX7" fmla="*/ 1341100 w 1368792"/>
                  <a:gd name="connsiteY7" fmla="*/ 36045 h 1162075"/>
                  <a:gd name="connsiteX8" fmla="*/ 1367157 w 1368792"/>
                  <a:gd name="connsiteY8" fmla="*/ 115771 h 1162075"/>
                  <a:gd name="connsiteX9" fmla="*/ 1262303 w 1368792"/>
                  <a:gd name="connsiteY9" fmla="*/ 1118392 h 1162075"/>
                  <a:gd name="connsiteX10" fmla="*/ 1214222 w 1368792"/>
                  <a:gd name="connsiteY10" fmla="*/ 1161513 h 1162075"/>
                  <a:gd name="connsiteX11" fmla="*/ 164134 w 1368792"/>
                  <a:gd name="connsiteY11" fmla="*/ 1099470 h 1162075"/>
                  <a:gd name="connsiteX12" fmla="*/ 1201813 w 1368792"/>
                  <a:gd name="connsiteY12" fmla="*/ 1099470 h 1162075"/>
                  <a:gd name="connsiteX13" fmla="*/ 1305735 w 1368792"/>
                  <a:gd name="connsiteY13" fmla="*/ 109255 h 1162075"/>
                  <a:gd name="connsiteX14" fmla="*/ 1294878 w 1368792"/>
                  <a:gd name="connsiteY14" fmla="*/ 78234 h 1162075"/>
                  <a:gd name="connsiteX15" fmla="*/ 1257339 w 1368792"/>
                  <a:gd name="connsiteY15" fmla="*/ 62104 h 1162075"/>
                  <a:gd name="connsiteX16" fmla="*/ 109536 w 1368792"/>
                  <a:gd name="connsiteY16" fmla="*/ 62104 h 1162075"/>
                  <a:gd name="connsiteX17" fmla="*/ 72001 w 1368792"/>
                  <a:gd name="connsiteY17" fmla="*/ 78234 h 1162075"/>
                  <a:gd name="connsiteX18" fmla="*/ 61144 w 1368792"/>
                  <a:gd name="connsiteY18" fmla="*/ 109255 h 11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8792" h="1162075">
                    <a:moveTo>
                      <a:pt x="1215150" y="1161513"/>
                    </a:moveTo>
                    <a:lnTo>
                      <a:pt x="152656" y="1161513"/>
                    </a:lnTo>
                    <a:cubicBezTo>
                      <a:pt x="128152" y="1161358"/>
                      <a:pt x="107366" y="1142869"/>
                      <a:pt x="104575" y="1118392"/>
                    </a:cubicBezTo>
                    <a:lnTo>
                      <a:pt x="-589" y="115771"/>
                    </a:lnTo>
                    <a:cubicBezTo>
                      <a:pt x="-3380" y="86673"/>
                      <a:pt x="6235" y="57728"/>
                      <a:pt x="25779" y="36045"/>
                    </a:cubicBezTo>
                    <a:cubicBezTo>
                      <a:pt x="47186" y="12593"/>
                      <a:pt x="77586" y="-716"/>
                      <a:pt x="109536" y="-561"/>
                    </a:cubicBezTo>
                    <a:lnTo>
                      <a:pt x="1257339" y="-561"/>
                    </a:lnTo>
                    <a:cubicBezTo>
                      <a:pt x="1289292" y="-716"/>
                      <a:pt x="1319693" y="12593"/>
                      <a:pt x="1341100" y="36045"/>
                    </a:cubicBezTo>
                    <a:cubicBezTo>
                      <a:pt x="1360644" y="57667"/>
                      <a:pt x="1370258" y="86703"/>
                      <a:pt x="1367157" y="115771"/>
                    </a:cubicBezTo>
                    <a:lnTo>
                      <a:pt x="1262303" y="1118392"/>
                    </a:lnTo>
                    <a:cubicBezTo>
                      <a:pt x="1259513" y="1142869"/>
                      <a:pt x="1238727" y="1161358"/>
                      <a:pt x="1214222" y="1161513"/>
                    </a:cubicBezTo>
                    <a:moveTo>
                      <a:pt x="164134" y="1099470"/>
                    </a:moveTo>
                    <a:lnTo>
                      <a:pt x="1201813" y="1099470"/>
                    </a:lnTo>
                    <a:lnTo>
                      <a:pt x="1305735" y="109255"/>
                    </a:lnTo>
                    <a:cubicBezTo>
                      <a:pt x="1306356" y="97870"/>
                      <a:pt x="1302633" y="86673"/>
                      <a:pt x="1294878" y="78234"/>
                    </a:cubicBezTo>
                    <a:cubicBezTo>
                      <a:pt x="1285259" y="67810"/>
                      <a:pt x="1271611" y="61948"/>
                      <a:pt x="1257339" y="62104"/>
                    </a:cubicBezTo>
                    <a:lnTo>
                      <a:pt x="109536" y="62104"/>
                    </a:lnTo>
                    <a:cubicBezTo>
                      <a:pt x="95267" y="61948"/>
                      <a:pt x="81619" y="67810"/>
                      <a:pt x="72001" y="78234"/>
                    </a:cubicBezTo>
                    <a:cubicBezTo>
                      <a:pt x="64245" y="86580"/>
                      <a:pt x="60212" y="97840"/>
                      <a:pt x="61144" y="109255"/>
                    </a:cubicBezTo>
                    <a:close/>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51" name="Freeform: Shape 50">
                <a:extLst>
                  <a:ext uri="{FF2B5EF4-FFF2-40B4-BE49-F238E27FC236}">
                    <a16:creationId xmlns:a16="http://schemas.microsoft.com/office/drawing/2014/main" id="{4717303F-6F69-7083-F035-A36EC849D30C}"/>
                  </a:ext>
                </a:extLst>
              </p:cNvPr>
              <p:cNvSpPr/>
              <p:nvPr/>
            </p:nvSpPr>
            <p:spPr>
              <a:xfrm>
                <a:off x="6276390" y="3001859"/>
                <a:ext cx="630363" cy="288812"/>
              </a:xfrm>
              <a:custGeom>
                <a:avLst/>
                <a:gdLst>
                  <a:gd name="connsiteX0" fmla="*/ 629300 w 630363"/>
                  <a:gd name="connsiteY0" fmla="*/ 288250 h 288812"/>
                  <a:gd name="connsiteX1" fmla="*/ -1064 w 630363"/>
                  <a:gd name="connsiteY1" fmla="*/ 288250 h 288812"/>
                  <a:gd name="connsiteX2" fmla="*/ -1064 w 630363"/>
                  <a:gd name="connsiteY2" fmla="*/ 257228 h 288812"/>
                  <a:gd name="connsiteX3" fmla="*/ 314118 w 630363"/>
                  <a:gd name="connsiteY3" fmla="*/ -562 h 288812"/>
                  <a:gd name="connsiteX4" fmla="*/ 629300 w 630363"/>
                  <a:gd name="connsiteY4" fmla="*/ 257228 h 288812"/>
                  <a:gd name="connsiteX5" fmla="*/ 64085 w 630363"/>
                  <a:gd name="connsiteY5" fmla="*/ 226206 h 288812"/>
                  <a:gd name="connsiteX6" fmla="*/ 564155 w 630363"/>
                  <a:gd name="connsiteY6" fmla="*/ 226206 h 288812"/>
                  <a:gd name="connsiteX7" fmla="*/ 314118 w 630363"/>
                  <a:gd name="connsiteY7" fmla="*/ 61481 h 288812"/>
                  <a:gd name="connsiteX8" fmla="*/ 64085 w 630363"/>
                  <a:gd name="connsiteY8" fmla="*/ 226206 h 28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363" h="288812">
                    <a:moveTo>
                      <a:pt x="629300" y="288250"/>
                    </a:moveTo>
                    <a:lnTo>
                      <a:pt x="-1064" y="288250"/>
                    </a:lnTo>
                    <a:lnTo>
                      <a:pt x="-1064" y="257228"/>
                    </a:lnTo>
                    <a:cubicBezTo>
                      <a:pt x="-1064" y="114838"/>
                      <a:pt x="140397" y="-562"/>
                      <a:pt x="314118" y="-562"/>
                    </a:cubicBezTo>
                    <a:cubicBezTo>
                      <a:pt x="487839" y="-562"/>
                      <a:pt x="629300" y="114838"/>
                      <a:pt x="629300" y="257228"/>
                    </a:cubicBezTo>
                    <a:close/>
                    <a:moveTo>
                      <a:pt x="64085" y="226206"/>
                    </a:moveTo>
                    <a:lnTo>
                      <a:pt x="564155" y="226206"/>
                    </a:lnTo>
                    <a:cubicBezTo>
                      <a:pt x="544922" y="133141"/>
                      <a:pt x="440068" y="61481"/>
                      <a:pt x="314118" y="61481"/>
                    </a:cubicBezTo>
                    <a:cubicBezTo>
                      <a:pt x="188172" y="61481"/>
                      <a:pt x="83318" y="132831"/>
                      <a:pt x="64085" y="226206"/>
                    </a:cubicBezTo>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52" name="Freeform: Shape 51">
                <a:extLst>
                  <a:ext uri="{FF2B5EF4-FFF2-40B4-BE49-F238E27FC236}">
                    <a16:creationId xmlns:a16="http://schemas.microsoft.com/office/drawing/2014/main" id="{35DA1A36-E2DC-5B6C-85B1-387E54E5CD5D}"/>
                  </a:ext>
                </a:extLst>
              </p:cNvPr>
              <p:cNvSpPr/>
              <p:nvPr/>
            </p:nvSpPr>
            <p:spPr>
              <a:xfrm>
                <a:off x="6503125" y="3101214"/>
                <a:ext cx="136462" cy="189456"/>
              </a:xfrm>
              <a:custGeom>
                <a:avLst/>
                <a:gdLst>
                  <a:gd name="connsiteX0" fmla="*/ 104136 w 136462"/>
                  <a:gd name="connsiteY0" fmla="*/ 188895 h 189456"/>
                  <a:gd name="connsiteX1" fmla="*/ 77457 w 136462"/>
                  <a:gd name="connsiteY1" fmla="*/ 173384 h 189456"/>
                  <a:gd name="connsiteX2" fmla="*/ 3005 w 136462"/>
                  <a:gd name="connsiteY2" fmla="*/ 45885 h 189456"/>
                  <a:gd name="connsiteX3" fmla="*/ 14172 w 136462"/>
                  <a:gd name="connsiteY3" fmla="*/ 3694 h 189456"/>
                  <a:gd name="connsiteX4" fmla="*/ 56672 w 136462"/>
                  <a:gd name="connsiteY4" fmla="*/ 14771 h 189456"/>
                  <a:gd name="connsiteX5" fmla="*/ 56672 w 136462"/>
                  <a:gd name="connsiteY5" fmla="*/ 14864 h 189456"/>
                  <a:gd name="connsiteX6" fmla="*/ 131124 w 136462"/>
                  <a:gd name="connsiteY6" fmla="*/ 142052 h 189456"/>
                  <a:gd name="connsiteX7" fmla="*/ 119957 w 136462"/>
                  <a:gd name="connsiteY7" fmla="*/ 184489 h 189456"/>
                  <a:gd name="connsiteX8" fmla="*/ 119957 w 136462"/>
                  <a:gd name="connsiteY8" fmla="*/ 184551 h 189456"/>
                  <a:gd name="connsiteX9" fmla="*/ 104136 w 136462"/>
                  <a:gd name="connsiteY9" fmla="*/ 188895 h 1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462" h="189456">
                    <a:moveTo>
                      <a:pt x="104136" y="188895"/>
                    </a:moveTo>
                    <a:cubicBezTo>
                      <a:pt x="92968" y="188832"/>
                      <a:pt x="83039" y="182938"/>
                      <a:pt x="77457" y="173384"/>
                    </a:cubicBezTo>
                    <a:lnTo>
                      <a:pt x="3005" y="45885"/>
                    </a:lnTo>
                    <a:cubicBezTo>
                      <a:pt x="-5372" y="31149"/>
                      <a:pt x="-407" y="12319"/>
                      <a:pt x="14172" y="3694"/>
                    </a:cubicBezTo>
                    <a:cubicBezTo>
                      <a:pt x="29062" y="-4961"/>
                      <a:pt x="47985" y="4"/>
                      <a:pt x="56672" y="14771"/>
                    </a:cubicBezTo>
                    <a:cubicBezTo>
                      <a:pt x="56672" y="14801"/>
                      <a:pt x="56672" y="14831"/>
                      <a:pt x="56672" y="14864"/>
                    </a:cubicBezTo>
                    <a:lnTo>
                      <a:pt x="131124" y="142052"/>
                    </a:lnTo>
                    <a:cubicBezTo>
                      <a:pt x="139811" y="156819"/>
                      <a:pt x="134847" y="175834"/>
                      <a:pt x="119957" y="184489"/>
                    </a:cubicBezTo>
                    <a:cubicBezTo>
                      <a:pt x="119957" y="184521"/>
                      <a:pt x="119957" y="184521"/>
                      <a:pt x="119957" y="184551"/>
                    </a:cubicBezTo>
                    <a:cubicBezTo>
                      <a:pt x="115303" y="187407"/>
                      <a:pt x="109717" y="188895"/>
                      <a:pt x="104136" y="188895"/>
                    </a:cubicBezTo>
                  </a:path>
                </a:pathLst>
              </a:custGeom>
              <a:grp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grpSp>
        <p:sp>
          <p:nvSpPr>
            <p:cNvPr id="49" name="Arrow: Down 48">
              <a:extLst>
                <a:ext uri="{FF2B5EF4-FFF2-40B4-BE49-F238E27FC236}">
                  <a16:creationId xmlns:a16="http://schemas.microsoft.com/office/drawing/2014/main" id="{DC372347-7273-F52C-E663-CB8C26A1A5E4}"/>
                </a:ext>
              </a:extLst>
            </p:cNvPr>
            <p:cNvSpPr/>
            <p:nvPr/>
          </p:nvSpPr>
          <p:spPr>
            <a:xfrm>
              <a:off x="4505985" y="2333613"/>
              <a:ext cx="134826" cy="429032"/>
            </a:xfrm>
            <a:prstGeom prst="downArrow">
              <a:avLst>
                <a:gd name="adj1" fmla="val 27501"/>
                <a:gd name="adj2" fmla="val 80958"/>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9FDA"/>
                </a:solidFill>
                <a:effectLst/>
                <a:uLnTx/>
                <a:uFillTx/>
                <a:latin typeface="Apis For Office"/>
                <a:ea typeface="+mn-ea"/>
                <a:cs typeface="+mn-cs"/>
              </a:endParaRPr>
            </a:p>
          </p:txBody>
        </p:sp>
      </p:grpSp>
      <p:sp>
        <p:nvSpPr>
          <p:cNvPr id="39" name="Rounded Rectangle 5">
            <a:extLst>
              <a:ext uri="{FF2B5EF4-FFF2-40B4-BE49-F238E27FC236}">
                <a16:creationId xmlns:a16="http://schemas.microsoft.com/office/drawing/2014/main" id="{797E8347-DECB-3760-9D7C-02AE86525A00}"/>
              </a:ext>
            </a:extLst>
          </p:cNvPr>
          <p:cNvSpPr/>
          <p:nvPr/>
        </p:nvSpPr>
        <p:spPr>
          <a:xfrm>
            <a:off x="1289812" y="2389233"/>
            <a:ext cx="7962343" cy="227670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Ins="96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To demonstrate that once weekly s.c. </a:t>
            </a:r>
            <a:b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br>
            <a:r>
              <a:rPr kumimoji="0" lang="en-GB" sz="24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semaglutide 2.4 mg </a:t>
            </a:r>
            <a: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lowers the incidence of </a:t>
            </a:r>
            <a:b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br>
            <a:r>
              <a:rPr kumimoji="0" lang="en-GB" sz="24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MACE </a:t>
            </a:r>
            <a: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versus </a:t>
            </a:r>
            <a:r>
              <a:rPr kumimoji="0" lang="en-GB" sz="24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placebo</a:t>
            </a:r>
            <a: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 both added to standard of care, in participants with </a:t>
            </a:r>
            <a:r>
              <a:rPr kumimoji="0" lang="en-GB" sz="24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established CV disease </a:t>
            </a:r>
            <a:r>
              <a:rPr kumimoji="0" lang="en-GB" sz="2400" b="0"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and </a:t>
            </a:r>
            <a:r>
              <a:rPr kumimoji="0" lang="en-GB" sz="2400" b="1" i="0" u="none" strike="noStrike" kern="1200" cap="none" spc="0" normalizeH="0" baseline="0" noProof="0">
                <a:ln>
                  <a:noFill/>
                </a:ln>
                <a:solidFill>
                  <a:srgbClr val="001965"/>
                </a:solidFill>
                <a:effectLst/>
                <a:uLnTx/>
                <a:uFillTx/>
                <a:latin typeface="Apis For Office"/>
                <a:ea typeface="Apis For Office" panose="020B0504010101010104" pitchFamily="34" charset="0"/>
                <a:cs typeface="Apis For Office" panose="020B0504010101010104" pitchFamily="34" charset="0"/>
              </a:rPr>
              <a:t>overweight or obesity</a:t>
            </a:r>
          </a:p>
        </p:txBody>
      </p:sp>
    </p:spTree>
    <p:extLst>
      <p:ext uri="{BB962C8B-B14F-4D97-AF65-F5344CB8AC3E}">
        <p14:creationId xmlns:p14="http://schemas.microsoft.com/office/powerpoint/2010/main" val="36992854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6F718-C408-C001-1590-AF730988DCD9}"/>
              </a:ext>
            </a:extLst>
          </p:cNvPr>
          <p:cNvSpPr>
            <a:spLocks noGrp="1"/>
          </p:cNvSpPr>
          <p:nvPr>
            <p:ph type="title"/>
          </p:nvPr>
        </p:nvSpPr>
        <p:spPr/>
        <p:txBody>
          <a:bodyPr/>
          <a:lstStyle/>
          <a:p>
            <a:r>
              <a:rPr lang="en-US" sz="3600">
                <a:latin typeface="+mn-lt"/>
              </a:rPr>
              <a:t>Cumulative incidence of MACE</a:t>
            </a:r>
            <a:br>
              <a:rPr lang="en-GB" baseline="30000">
                <a:latin typeface="+mn-lt"/>
              </a:rPr>
            </a:br>
            <a:r>
              <a:rPr lang="en-GB" sz="2000">
                <a:solidFill>
                  <a:schemeClr val="accent5"/>
                </a:solidFill>
                <a:latin typeface="+mn-lt"/>
                <a:ea typeface="+mn-ea"/>
                <a:cs typeface="+mn-cs"/>
              </a:rPr>
              <a:t>SELECT: </a:t>
            </a:r>
            <a:r>
              <a:rPr lang="en-US" sz="2000">
                <a:solidFill>
                  <a:schemeClr val="accent5"/>
                </a:solidFill>
                <a:latin typeface="+mn-lt"/>
                <a:ea typeface="+mn-ea"/>
                <a:cs typeface="+mn-cs"/>
              </a:rPr>
              <a:t>Primary cardiovascular composite endpoint</a:t>
            </a:r>
            <a:endParaRPr lang="en-GB" sz="1800">
              <a:solidFill>
                <a:schemeClr val="accent5"/>
              </a:solidFill>
              <a:latin typeface="+mn-lt"/>
              <a:ea typeface="+mn-ea"/>
              <a:cs typeface="+mn-cs"/>
            </a:endParaRPr>
          </a:p>
        </p:txBody>
      </p:sp>
      <p:sp>
        <p:nvSpPr>
          <p:cNvPr id="3" name="Text Placeholder 2">
            <a:extLst>
              <a:ext uri="{FF2B5EF4-FFF2-40B4-BE49-F238E27FC236}">
                <a16:creationId xmlns:a16="http://schemas.microsoft.com/office/drawing/2014/main" id="{B5B4EC01-8782-472E-661E-DF79D37DD6FA}"/>
              </a:ext>
            </a:extLst>
          </p:cNvPr>
          <p:cNvSpPr>
            <a:spLocks noGrp="1"/>
          </p:cNvSpPr>
          <p:nvPr>
            <p:ph type="body" sz="quarter" idx="13"/>
          </p:nvPr>
        </p:nvSpPr>
        <p:spPr/>
        <p:txBody>
          <a:bodyPr/>
          <a:lstStyle/>
          <a:p>
            <a:pPr>
              <a:spcBef>
                <a:spcPts val="0"/>
              </a:spcBef>
              <a:spcAft>
                <a:spcPts val="0"/>
              </a:spcAft>
            </a:pPr>
            <a:endParaRPr lang="en-GB">
              <a:solidFill>
                <a:schemeClr val="accent1"/>
              </a:solidFill>
            </a:endParaRPr>
          </a:p>
          <a:p>
            <a:pPr>
              <a:spcBef>
                <a:spcPts val="0"/>
              </a:spcBef>
              <a:spcAft>
                <a:spcPts val="0"/>
              </a:spcAft>
            </a:pPr>
            <a:r>
              <a:rPr lang="en-GB">
                <a:solidFill>
                  <a:schemeClr val="accent1"/>
                </a:solidFill>
              </a:rPr>
              <a:t>Cumulative incidence (using the Aalen–Johansen method) of the composite MACE primary endpoint. The HR was estimated using a Cox proportional hazards regression model. The proportion of participants with MACE was 6.5% with </a:t>
            </a:r>
            <a:r>
              <a:rPr lang="en-GB" err="1">
                <a:solidFill>
                  <a:schemeClr val="accent1"/>
                </a:solidFill>
              </a:rPr>
              <a:t>semaglutide</a:t>
            </a:r>
            <a:r>
              <a:rPr lang="en-GB">
                <a:solidFill>
                  <a:schemeClr val="accent1"/>
                </a:solidFill>
              </a:rPr>
              <a:t> 2.4 mg and 8.0% with placebo. MACE was defined as death from CV causes, non-fatal myocardial infarction, or non-fatal stroke.</a:t>
            </a:r>
          </a:p>
          <a:p>
            <a:pPr>
              <a:spcBef>
                <a:spcPts val="0"/>
              </a:spcBef>
              <a:spcAft>
                <a:spcPts val="0"/>
              </a:spcAft>
            </a:pPr>
            <a:r>
              <a:rPr lang="en-GB">
                <a:solidFill>
                  <a:schemeClr val="accent1"/>
                </a:solidFill>
              </a:rPr>
              <a:t>CI, confidence interval; HR, hazard ratio; MACE, major adverse cardiovascular events; MI, myocardial infarction.</a:t>
            </a:r>
          </a:p>
          <a:p>
            <a:pPr>
              <a:spcBef>
                <a:spcPts val="0"/>
              </a:spcBef>
              <a:spcAft>
                <a:spcPts val="0"/>
              </a:spcAft>
            </a:pPr>
            <a:r>
              <a:rPr lang="en-GB">
                <a:solidFill>
                  <a:schemeClr val="tx2"/>
                </a:solidFill>
              </a:rPr>
              <a:t>1. </a:t>
            </a:r>
            <a:r>
              <a:rPr lang="da-DK">
                <a:solidFill>
                  <a:schemeClr val="tx2"/>
                </a:solidFill>
              </a:rPr>
              <a:t>Lincoff AM et al. N Engl J Med 2023;389:2221-2232; </a:t>
            </a:r>
            <a:r>
              <a:rPr lang="en-GB">
                <a:solidFill>
                  <a:schemeClr val="tx2"/>
                </a:solidFill>
              </a:rPr>
              <a:t>2. Novo Nordisk A/S. Company announcement, 8 August 2023. Available at: https://www.novonordisk.com/content/nncorp/global/en/news-and-media/news-and-ir-materials/news-details.html?id=166301. Accessed October 2023.</a:t>
            </a:r>
          </a:p>
        </p:txBody>
      </p:sp>
      <p:sp>
        <p:nvSpPr>
          <p:cNvPr id="7" name="Rectangle 82">
            <a:extLst>
              <a:ext uri="{FF2B5EF4-FFF2-40B4-BE49-F238E27FC236}">
                <a16:creationId xmlns:a16="http://schemas.microsoft.com/office/drawing/2014/main" id="{2CB8BBAC-75E5-9C03-65BA-D61339A6ADE4}"/>
              </a:ext>
            </a:extLst>
          </p:cNvPr>
          <p:cNvSpPr>
            <a:spLocks noChangeArrowheads="1"/>
          </p:cNvSpPr>
          <p:nvPr/>
        </p:nvSpPr>
        <p:spPr bwMode="auto">
          <a:xfrm>
            <a:off x="2065669" y="5038261"/>
            <a:ext cx="43777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400" b="1" i="0" u="none" strike="noStrike" kern="1200" cap="none" spc="0" normalizeH="0" baseline="0" noProof="0">
                <a:ln>
                  <a:noFill/>
                </a:ln>
                <a:solidFill>
                  <a:srgbClr val="001965"/>
                </a:solidFill>
                <a:effectLst/>
                <a:uLnTx/>
                <a:uFillTx/>
                <a:latin typeface="Apis For Office"/>
                <a:ea typeface="+mn-ea"/>
                <a:cs typeface="+mn-cs"/>
              </a:rPr>
              <a:t>Months since randomisation</a:t>
            </a:r>
            <a:endParaRPr kumimoji="0" lang="en-GB" altLang="en-US" sz="1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 name="Rectangle 30">
            <a:extLst>
              <a:ext uri="{FF2B5EF4-FFF2-40B4-BE49-F238E27FC236}">
                <a16:creationId xmlns:a16="http://schemas.microsoft.com/office/drawing/2014/main" id="{81BD40EE-6D0F-3AE2-8732-B3E7CC203C22}"/>
              </a:ext>
            </a:extLst>
          </p:cNvPr>
          <p:cNvSpPr>
            <a:spLocks noChangeArrowheads="1"/>
          </p:cNvSpPr>
          <p:nvPr/>
        </p:nvSpPr>
        <p:spPr bwMode="auto">
          <a:xfrm>
            <a:off x="1285972"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803</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801</a:t>
            </a:r>
          </a:p>
        </p:txBody>
      </p:sp>
      <p:sp>
        <p:nvSpPr>
          <p:cNvPr id="10" name="Rectangle 31">
            <a:extLst>
              <a:ext uri="{FF2B5EF4-FFF2-40B4-BE49-F238E27FC236}">
                <a16:creationId xmlns:a16="http://schemas.microsoft.com/office/drawing/2014/main" id="{90D97D8E-9E86-0582-18E2-4DC2E70C2864}"/>
              </a:ext>
            </a:extLst>
          </p:cNvPr>
          <p:cNvSpPr>
            <a:spLocks noChangeArrowheads="1"/>
          </p:cNvSpPr>
          <p:nvPr/>
        </p:nvSpPr>
        <p:spPr bwMode="auto">
          <a:xfrm>
            <a:off x="1978820"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695</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652</a:t>
            </a:r>
          </a:p>
        </p:txBody>
      </p:sp>
      <p:sp>
        <p:nvSpPr>
          <p:cNvPr id="11" name="Rectangle 32">
            <a:extLst>
              <a:ext uri="{FF2B5EF4-FFF2-40B4-BE49-F238E27FC236}">
                <a16:creationId xmlns:a16="http://schemas.microsoft.com/office/drawing/2014/main" id="{CA5DD46C-F72F-3541-DE31-32CABF596E6D}"/>
              </a:ext>
            </a:extLst>
          </p:cNvPr>
          <p:cNvSpPr>
            <a:spLocks noChangeArrowheads="1"/>
          </p:cNvSpPr>
          <p:nvPr/>
        </p:nvSpPr>
        <p:spPr bwMode="auto">
          <a:xfrm>
            <a:off x="2671668"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561</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487</a:t>
            </a:r>
          </a:p>
        </p:txBody>
      </p:sp>
      <p:sp>
        <p:nvSpPr>
          <p:cNvPr id="12" name="Rectangle 33">
            <a:extLst>
              <a:ext uri="{FF2B5EF4-FFF2-40B4-BE49-F238E27FC236}">
                <a16:creationId xmlns:a16="http://schemas.microsoft.com/office/drawing/2014/main" id="{CD960D78-6A1E-420A-6F75-101EF86F7CA5}"/>
              </a:ext>
            </a:extLst>
          </p:cNvPr>
          <p:cNvSpPr>
            <a:spLocks noChangeArrowheads="1"/>
          </p:cNvSpPr>
          <p:nvPr/>
        </p:nvSpPr>
        <p:spPr bwMode="auto">
          <a:xfrm>
            <a:off x="3364516"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427</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326</a:t>
            </a:r>
          </a:p>
        </p:txBody>
      </p:sp>
      <p:sp>
        <p:nvSpPr>
          <p:cNvPr id="13" name="Rectangle 34">
            <a:extLst>
              <a:ext uri="{FF2B5EF4-FFF2-40B4-BE49-F238E27FC236}">
                <a16:creationId xmlns:a16="http://schemas.microsoft.com/office/drawing/2014/main" id="{5C67EAC7-60A2-E968-5F8C-71B0FD7008F6}"/>
              </a:ext>
            </a:extLst>
          </p:cNvPr>
          <p:cNvSpPr>
            <a:spLocks noChangeArrowheads="1"/>
          </p:cNvSpPr>
          <p:nvPr/>
        </p:nvSpPr>
        <p:spPr bwMode="auto">
          <a:xfrm>
            <a:off x="4057364"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254</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8,164</a:t>
            </a:r>
          </a:p>
        </p:txBody>
      </p:sp>
      <p:sp>
        <p:nvSpPr>
          <p:cNvPr id="14" name="Rectangle 35">
            <a:extLst>
              <a:ext uri="{FF2B5EF4-FFF2-40B4-BE49-F238E27FC236}">
                <a16:creationId xmlns:a16="http://schemas.microsoft.com/office/drawing/2014/main" id="{26188388-69AB-95EC-49A2-E6E23A309B24}"/>
              </a:ext>
            </a:extLst>
          </p:cNvPr>
          <p:cNvSpPr>
            <a:spLocks noChangeArrowheads="1"/>
          </p:cNvSpPr>
          <p:nvPr/>
        </p:nvSpPr>
        <p:spPr bwMode="auto">
          <a:xfrm>
            <a:off x="4750212"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7,22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7,101</a:t>
            </a:r>
          </a:p>
        </p:txBody>
      </p:sp>
      <p:sp>
        <p:nvSpPr>
          <p:cNvPr id="15" name="Rectangle 36">
            <a:extLst>
              <a:ext uri="{FF2B5EF4-FFF2-40B4-BE49-F238E27FC236}">
                <a16:creationId xmlns:a16="http://schemas.microsoft.com/office/drawing/2014/main" id="{B0E9AFBC-5F3C-43A1-C18E-6A28F855893A}"/>
              </a:ext>
            </a:extLst>
          </p:cNvPr>
          <p:cNvSpPr>
            <a:spLocks noChangeArrowheads="1"/>
          </p:cNvSpPr>
          <p:nvPr/>
        </p:nvSpPr>
        <p:spPr bwMode="auto">
          <a:xfrm>
            <a:off x="5443060"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5,777</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5,660</a:t>
            </a:r>
          </a:p>
        </p:txBody>
      </p:sp>
      <p:sp>
        <p:nvSpPr>
          <p:cNvPr id="16" name="Rectangle 37">
            <a:extLst>
              <a:ext uri="{FF2B5EF4-FFF2-40B4-BE49-F238E27FC236}">
                <a16:creationId xmlns:a16="http://schemas.microsoft.com/office/drawing/2014/main" id="{C8F512CB-1F2F-4BE9-B99D-BF9963AA54F6}"/>
              </a:ext>
            </a:extLst>
          </p:cNvPr>
          <p:cNvSpPr>
            <a:spLocks noChangeArrowheads="1"/>
          </p:cNvSpPr>
          <p:nvPr/>
        </p:nvSpPr>
        <p:spPr bwMode="auto">
          <a:xfrm>
            <a:off x="6135908"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4,126</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4,015</a:t>
            </a:r>
          </a:p>
        </p:txBody>
      </p:sp>
      <p:sp>
        <p:nvSpPr>
          <p:cNvPr id="17" name="Rectangle 38">
            <a:extLst>
              <a:ext uri="{FF2B5EF4-FFF2-40B4-BE49-F238E27FC236}">
                <a16:creationId xmlns:a16="http://schemas.microsoft.com/office/drawing/2014/main" id="{47F8D02F-C55C-4E92-B4AD-2F97723C0929}"/>
              </a:ext>
            </a:extLst>
          </p:cNvPr>
          <p:cNvSpPr>
            <a:spLocks noChangeArrowheads="1"/>
          </p:cNvSpPr>
          <p:nvPr/>
        </p:nvSpPr>
        <p:spPr bwMode="auto">
          <a:xfrm>
            <a:off x="6828753" y="5331376"/>
            <a:ext cx="3286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1,734</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1965"/>
                </a:solidFill>
                <a:effectLst/>
                <a:uLnTx/>
                <a:uFillTx/>
                <a:latin typeface="Apis For Office"/>
                <a:ea typeface="+mn-ea"/>
                <a:cs typeface="+mn-cs"/>
              </a:rPr>
              <a:t>1,672</a:t>
            </a:r>
          </a:p>
        </p:txBody>
      </p:sp>
      <p:sp>
        <p:nvSpPr>
          <p:cNvPr id="18" name="Rectangle 30">
            <a:extLst>
              <a:ext uri="{FF2B5EF4-FFF2-40B4-BE49-F238E27FC236}">
                <a16:creationId xmlns:a16="http://schemas.microsoft.com/office/drawing/2014/main" id="{A0A4F17B-80F7-84FF-E906-6A063B13F01B}"/>
              </a:ext>
            </a:extLst>
          </p:cNvPr>
          <p:cNvSpPr>
            <a:spLocks noChangeArrowheads="1"/>
          </p:cNvSpPr>
          <p:nvPr/>
        </p:nvSpPr>
        <p:spPr bwMode="auto">
          <a:xfrm>
            <a:off x="315742" y="5331368"/>
            <a:ext cx="756617" cy="3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ts val="100"/>
              </a:spcBef>
              <a:spcAft>
                <a:spcPts val="100"/>
              </a:spcAft>
              <a:buClrTx/>
              <a:buSzTx/>
              <a:buFontTx/>
              <a:buNone/>
              <a:tabLst/>
              <a:defRPr/>
            </a:pPr>
            <a:r>
              <a:rPr kumimoji="0" lang="en-GB" sz="1000" b="0" i="0" u="none" strike="noStrike" kern="0" cap="none" spc="0" normalizeH="0" baseline="0" noProof="0">
                <a:ln>
                  <a:noFill/>
                </a:ln>
                <a:solidFill>
                  <a:srgbClr val="001965"/>
                </a:solidFill>
                <a:effectLst/>
                <a:uLnTx/>
                <a:uFillTx/>
                <a:latin typeface="Apis For Office"/>
                <a:ea typeface="+mn-ea"/>
                <a:cs typeface="+mn-cs"/>
              </a:rPr>
              <a:t>Semaglutide</a:t>
            </a:r>
          </a:p>
          <a:p>
            <a:pPr marL="0" marR="0" lvl="0" indent="0" algn="l" defTabSz="914332" rtl="0" eaLnBrk="0" fontAlgn="base" latinLnBrk="0" hangingPunct="0">
              <a:lnSpc>
                <a:spcPct val="100000"/>
              </a:lnSpc>
              <a:spcBef>
                <a:spcPts val="100"/>
              </a:spcBef>
              <a:spcAft>
                <a:spcPts val="100"/>
              </a:spcAft>
              <a:buClrTx/>
              <a:buSzTx/>
              <a:buFontTx/>
              <a:buNone/>
              <a:tabLst/>
              <a:defRPr/>
            </a:pPr>
            <a:r>
              <a:rPr kumimoji="0" lang="en-GB" sz="1000" b="0" i="0" u="none" strike="noStrike" kern="0" cap="none" spc="0" normalizeH="0" baseline="0" noProof="0">
                <a:ln>
                  <a:noFill/>
                </a:ln>
                <a:solidFill>
                  <a:srgbClr val="001965"/>
                </a:solidFill>
                <a:effectLst/>
                <a:uLnTx/>
                <a:uFillTx/>
                <a:latin typeface="Apis For Office"/>
                <a:ea typeface="+mn-ea"/>
                <a:cs typeface="+mn-cs"/>
              </a:rPr>
              <a:t>Placebo</a:t>
            </a:r>
          </a:p>
        </p:txBody>
      </p:sp>
      <p:sp>
        <p:nvSpPr>
          <p:cNvPr id="19" name="Rectangle 30">
            <a:extLst>
              <a:ext uri="{FF2B5EF4-FFF2-40B4-BE49-F238E27FC236}">
                <a16:creationId xmlns:a16="http://schemas.microsoft.com/office/drawing/2014/main" id="{840D9723-A207-9714-0390-F7847E18A46C}"/>
              </a:ext>
            </a:extLst>
          </p:cNvPr>
          <p:cNvSpPr>
            <a:spLocks noChangeArrowheads="1"/>
          </p:cNvSpPr>
          <p:nvPr/>
        </p:nvSpPr>
        <p:spPr bwMode="auto">
          <a:xfrm>
            <a:off x="315742" y="5171624"/>
            <a:ext cx="65883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ts val="100"/>
              </a:spcBef>
              <a:spcAft>
                <a:spcPts val="100"/>
              </a:spcAft>
              <a:buClrTx/>
              <a:buSzTx/>
              <a:buFontTx/>
              <a:buNone/>
              <a:tabLst/>
              <a:defRPr/>
            </a:pPr>
            <a:r>
              <a:rPr kumimoji="0" lang="en-GB" sz="1000" b="1" i="0" u="none" strike="noStrike" kern="0" cap="none" spc="0" normalizeH="0" baseline="0" noProof="0">
                <a:ln>
                  <a:noFill/>
                </a:ln>
                <a:solidFill>
                  <a:srgbClr val="001965"/>
                </a:solidFill>
                <a:effectLst/>
                <a:uLnTx/>
                <a:uFillTx/>
                <a:latin typeface="Apis For Office"/>
                <a:ea typeface="+mn-ea"/>
                <a:cs typeface="+mn-cs"/>
              </a:rPr>
              <a:t>No. at risk</a:t>
            </a:r>
          </a:p>
        </p:txBody>
      </p:sp>
      <p:sp>
        <p:nvSpPr>
          <p:cNvPr id="21" name="Rectangle 83">
            <a:extLst>
              <a:ext uri="{FF2B5EF4-FFF2-40B4-BE49-F238E27FC236}">
                <a16:creationId xmlns:a16="http://schemas.microsoft.com/office/drawing/2014/main" id="{B11AB46A-9AA8-DACB-CA31-D58D1D3DF56D}"/>
              </a:ext>
            </a:extLst>
          </p:cNvPr>
          <p:cNvSpPr>
            <a:spLocks noChangeArrowheads="1"/>
          </p:cNvSpPr>
          <p:nvPr/>
        </p:nvSpPr>
        <p:spPr bwMode="auto">
          <a:xfrm rot="16200000">
            <a:off x="-491455" y="3009721"/>
            <a:ext cx="26775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1965"/>
                </a:solidFill>
                <a:effectLst/>
                <a:uLnTx/>
                <a:uFillTx/>
                <a:latin typeface="Apis For Office"/>
                <a:ea typeface="+mn-ea"/>
                <a:cs typeface="+mn-cs"/>
              </a:rPr>
              <a:t>Cumulative incidence (%)</a:t>
            </a:r>
            <a:endParaRPr kumimoji="0" lang="en-US" altLang="en-US" sz="1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57" name="Rectangle 215">
            <a:extLst>
              <a:ext uri="{FF2B5EF4-FFF2-40B4-BE49-F238E27FC236}">
                <a16:creationId xmlns:a16="http://schemas.microsoft.com/office/drawing/2014/main" id="{1BA76C4E-DE74-F331-F50A-53956EC8C450}"/>
              </a:ext>
            </a:extLst>
          </p:cNvPr>
          <p:cNvSpPr>
            <a:spLocks noChangeArrowheads="1"/>
          </p:cNvSpPr>
          <p:nvPr/>
        </p:nvSpPr>
        <p:spPr bwMode="auto">
          <a:xfrm>
            <a:off x="1645456" y="1639836"/>
            <a:ext cx="229710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001965"/>
                </a:solidFill>
                <a:effectLst/>
                <a:uLnTx/>
                <a:uFillTx/>
                <a:latin typeface="Apis For Office"/>
                <a:ea typeface="+mn-ea"/>
                <a:cs typeface="+mn-cs"/>
              </a:rPr>
              <a:t>HR 0.80 (95% CI: 0.72; 0.9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001965"/>
                </a:solidFill>
                <a:effectLst/>
                <a:uLnTx/>
                <a:uFillTx/>
                <a:latin typeface="Apis For Office"/>
                <a:ea typeface="+mn-ea"/>
                <a:cs typeface="+mn-cs"/>
              </a:rPr>
              <a:t>p&lt;0.001 for superiority</a:t>
            </a:r>
          </a:p>
        </p:txBody>
      </p:sp>
      <p:grpSp>
        <p:nvGrpSpPr>
          <p:cNvPr id="70" name="Group 69">
            <a:extLst>
              <a:ext uri="{FF2B5EF4-FFF2-40B4-BE49-F238E27FC236}">
                <a16:creationId xmlns:a16="http://schemas.microsoft.com/office/drawing/2014/main" id="{E8C208FB-F9AD-45ED-4274-4B23A1DB1A12}"/>
              </a:ext>
            </a:extLst>
          </p:cNvPr>
          <p:cNvGrpSpPr/>
          <p:nvPr/>
        </p:nvGrpSpPr>
        <p:grpSpPr>
          <a:xfrm>
            <a:off x="4719555" y="5719481"/>
            <a:ext cx="2752891" cy="205890"/>
            <a:chOff x="5699760" y="0"/>
            <a:chExt cx="2752891" cy="205890"/>
          </a:xfrm>
        </p:grpSpPr>
        <p:grpSp>
          <p:nvGrpSpPr>
            <p:cNvPr id="71" name="Group 70">
              <a:extLst>
                <a:ext uri="{FF2B5EF4-FFF2-40B4-BE49-F238E27FC236}">
                  <a16:creationId xmlns:a16="http://schemas.microsoft.com/office/drawing/2014/main" id="{F31A0251-381C-6926-FBB5-6A067E17A72C}"/>
                </a:ext>
              </a:extLst>
            </p:cNvPr>
            <p:cNvGrpSpPr/>
            <p:nvPr/>
          </p:nvGrpSpPr>
          <p:grpSpPr>
            <a:xfrm>
              <a:off x="5699760" y="0"/>
              <a:ext cx="1714544" cy="205890"/>
              <a:chOff x="5699760" y="0"/>
              <a:chExt cx="1714544" cy="205890"/>
            </a:xfrm>
          </p:grpSpPr>
          <p:sp>
            <p:nvSpPr>
              <p:cNvPr id="75" name="TextBox 74">
                <a:extLst>
                  <a:ext uri="{FF2B5EF4-FFF2-40B4-BE49-F238E27FC236}">
                    <a16:creationId xmlns:a16="http://schemas.microsoft.com/office/drawing/2014/main" id="{51E8E390-06D4-DE29-4808-156B8C37E60B}"/>
                  </a:ext>
                </a:extLst>
              </p:cNvPr>
              <p:cNvSpPr txBox="1"/>
              <p:nvPr/>
            </p:nvSpPr>
            <p:spPr>
              <a:xfrm>
                <a:off x="5968395" y="0"/>
                <a:ext cx="1445909" cy="20589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a:ea typeface="+mn-ea"/>
                    <a:cs typeface="+mn-cs"/>
                  </a:rPr>
                  <a:t>Semaglutide 2.4 mg</a:t>
                </a:r>
              </a:p>
            </p:txBody>
          </p:sp>
          <p:cxnSp>
            <p:nvCxnSpPr>
              <p:cNvPr id="76" name="Straight Connector 75">
                <a:extLst>
                  <a:ext uri="{FF2B5EF4-FFF2-40B4-BE49-F238E27FC236}">
                    <a16:creationId xmlns:a16="http://schemas.microsoft.com/office/drawing/2014/main" id="{7DD93442-33F0-AFE8-B5D2-D85E9D57B33D}"/>
                  </a:ext>
                </a:extLst>
              </p:cNvPr>
              <p:cNvCxnSpPr>
                <a:cxnSpLocks/>
              </p:cNvCxnSpPr>
              <p:nvPr/>
            </p:nvCxnSpPr>
            <p:spPr>
              <a:xfrm>
                <a:off x="5699760" y="102945"/>
                <a:ext cx="19812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D22FE0B9-493D-9AE2-9885-27D4D9793B5B}"/>
                </a:ext>
              </a:extLst>
            </p:cNvPr>
            <p:cNvGrpSpPr/>
            <p:nvPr/>
          </p:nvGrpSpPr>
          <p:grpSpPr>
            <a:xfrm>
              <a:off x="7616553" y="0"/>
              <a:ext cx="836098" cy="205890"/>
              <a:chOff x="5486400" y="238582"/>
              <a:chExt cx="836098" cy="205890"/>
            </a:xfrm>
          </p:grpSpPr>
          <p:sp>
            <p:nvSpPr>
              <p:cNvPr id="73" name="TextBox 72">
                <a:extLst>
                  <a:ext uri="{FF2B5EF4-FFF2-40B4-BE49-F238E27FC236}">
                    <a16:creationId xmlns:a16="http://schemas.microsoft.com/office/drawing/2014/main" id="{2D5D750D-27F5-879C-B84B-99E047A17DA3}"/>
                  </a:ext>
                </a:extLst>
              </p:cNvPr>
              <p:cNvSpPr txBox="1"/>
              <p:nvPr/>
            </p:nvSpPr>
            <p:spPr>
              <a:xfrm>
                <a:off x="5755035" y="238582"/>
                <a:ext cx="567463" cy="205890"/>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a:ea typeface="+mn-ea"/>
                    <a:cs typeface="+mn-cs"/>
                  </a:rPr>
                  <a:t>Placebo</a:t>
                </a:r>
              </a:p>
            </p:txBody>
          </p:sp>
          <p:cxnSp>
            <p:nvCxnSpPr>
              <p:cNvPr id="74" name="Straight Connector 73">
                <a:extLst>
                  <a:ext uri="{FF2B5EF4-FFF2-40B4-BE49-F238E27FC236}">
                    <a16:creationId xmlns:a16="http://schemas.microsoft.com/office/drawing/2014/main" id="{12D9B639-BDDE-28D0-992F-15EF6586FBDD}"/>
                  </a:ext>
                </a:extLst>
              </p:cNvPr>
              <p:cNvCxnSpPr>
                <a:cxnSpLocks/>
              </p:cNvCxnSpPr>
              <p:nvPr/>
            </p:nvCxnSpPr>
            <p:spPr>
              <a:xfrm>
                <a:off x="5486400" y="341527"/>
                <a:ext cx="19812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aphicFrame>
        <p:nvGraphicFramePr>
          <p:cNvPr id="62" name="Chart 61">
            <a:extLst>
              <a:ext uri="{FF2B5EF4-FFF2-40B4-BE49-F238E27FC236}">
                <a16:creationId xmlns:a16="http://schemas.microsoft.com/office/drawing/2014/main" id="{0E734675-49C7-BEA9-7FC0-417CBC219DA8}"/>
              </a:ext>
            </a:extLst>
          </p:cNvPr>
          <p:cNvGraphicFramePr>
            <a:graphicFrameLocks/>
          </p:cNvGraphicFramePr>
          <p:nvPr/>
        </p:nvGraphicFramePr>
        <p:xfrm>
          <a:off x="1075264" y="1512485"/>
          <a:ext cx="6245451" cy="3534331"/>
        </p:xfrm>
        <a:graphic>
          <a:graphicData uri="http://schemas.openxmlformats.org/drawingml/2006/chart">
            <c:chart xmlns:c="http://schemas.openxmlformats.org/drawingml/2006/chart" xmlns:r="http://schemas.openxmlformats.org/officeDocument/2006/relationships" r:id="rId3"/>
          </a:graphicData>
        </a:graphic>
      </p:graphicFrame>
      <p:sp>
        <p:nvSpPr>
          <p:cNvPr id="64" name="Rectangle 63">
            <a:extLst>
              <a:ext uri="{FF2B5EF4-FFF2-40B4-BE49-F238E27FC236}">
                <a16:creationId xmlns:a16="http://schemas.microsoft.com/office/drawing/2014/main" id="{803425B3-AB7A-ACBB-0117-E1E2F13BC7FA}"/>
              </a:ext>
            </a:extLst>
          </p:cNvPr>
          <p:cNvSpPr/>
          <p:nvPr/>
        </p:nvSpPr>
        <p:spPr>
          <a:xfrm>
            <a:off x="7774522" y="1629039"/>
            <a:ext cx="4377728" cy="3660575"/>
          </a:xfrm>
          <a:prstGeom prst="rect">
            <a:avLst/>
          </a:prstGeom>
          <a:solidFill>
            <a:srgbClr val="D8EAF8"/>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pis For Office"/>
              <a:ea typeface="+mn-ea"/>
              <a:cs typeface="+mn-cs"/>
            </a:endParaRPr>
          </a:p>
        </p:txBody>
      </p:sp>
      <p:grpSp>
        <p:nvGrpSpPr>
          <p:cNvPr id="6" name="Group 5">
            <a:extLst>
              <a:ext uri="{FF2B5EF4-FFF2-40B4-BE49-F238E27FC236}">
                <a16:creationId xmlns:a16="http://schemas.microsoft.com/office/drawing/2014/main" id="{F6CC64ED-5AF7-6EC2-923A-56C2E7083182}"/>
              </a:ext>
            </a:extLst>
          </p:cNvPr>
          <p:cNvGrpSpPr/>
          <p:nvPr/>
        </p:nvGrpSpPr>
        <p:grpSpPr>
          <a:xfrm>
            <a:off x="7909915" y="1792236"/>
            <a:ext cx="4223283" cy="3334181"/>
            <a:chOff x="7992107" y="1833117"/>
            <a:chExt cx="4223283" cy="3334181"/>
          </a:xfrm>
        </p:grpSpPr>
        <p:sp>
          <p:nvSpPr>
            <p:cNvPr id="9" name="TextBox 8">
              <a:extLst>
                <a:ext uri="{FF2B5EF4-FFF2-40B4-BE49-F238E27FC236}">
                  <a16:creationId xmlns:a16="http://schemas.microsoft.com/office/drawing/2014/main" id="{31FC1E40-C2BD-4F37-D97A-0755E6284370}"/>
                </a:ext>
              </a:extLst>
            </p:cNvPr>
            <p:cNvSpPr txBox="1"/>
            <p:nvPr/>
          </p:nvSpPr>
          <p:spPr>
            <a:xfrm>
              <a:off x="9017761" y="1833117"/>
              <a:ext cx="2885262" cy="135421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1965"/>
                  </a:solidFill>
                  <a:effectLst/>
                  <a:uLnTx/>
                  <a:uFillTx/>
                  <a:latin typeface="Apis For Office"/>
                  <a:ea typeface="+mn-ea"/>
                  <a:cs typeface="+mn-cs"/>
                </a:rPr>
                <a:t>Semaglutide 2.4 mg significantly redu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965"/>
                  </a:solidFill>
                  <a:effectLst/>
                  <a:uLnTx/>
                  <a:uFillTx/>
                  <a:latin typeface="Apis For Office"/>
                  <a:ea typeface="+mn-ea"/>
                  <a:cs typeface="+mn-cs"/>
                </a:rPr>
                <a:t>the risk of MACE by </a:t>
              </a:r>
              <a:r>
                <a:rPr kumimoji="0" lang="en-GB" sz="1800" b="1" i="0" u="none" strike="noStrike" kern="1200" cap="none" spc="0" normalizeH="0" baseline="0" noProof="0">
                  <a:ln>
                    <a:noFill/>
                  </a:ln>
                  <a:solidFill>
                    <a:srgbClr val="3B97DE"/>
                  </a:solidFill>
                  <a:effectLst/>
                  <a:uLnTx/>
                  <a:uFillTx/>
                  <a:latin typeface="Apis For Office"/>
                  <a:ea typeface="+mn-ea"/>
                  <a:cs typeface="+mn-cs"/>
                </a:rPr>
                <a:t>20%</a:t>
              </a:r>
              <a:br>
                <a:rPr kumimoji="0" lang="en-GB" sz="1800" b="1" i="0" u="none" strike="noStrike" kern="1200" cap="none" spc="0" normalizeH="0" baseline="0" noProof="0">
                  <a:ln>
                    <a:noFill/>
                  </a:ln>
                  <a:solidFill>
                    <a:srgbClr val="001965"/>
                  </a:solidFill>
                  <a:effectLst/>
                  <a:uLnTx/>
                  <a:uFillTx/>
                  <a:latin typeface="Apis For Office"/>
                  <a:ea typeface="+mn-ea"/>
                  <a:cs typeface="+mn-cs"/>
                </a:rPr>
              </a:br>
              <a:r>
                <a:rPr kumimoji="0" lang="en-GB" sz="1400" b="0" i="0" u="none" strike="noStrike" kern="1200" cap="none" spc="0" normalizeH="0" baseline="0" noProof="0">
                  <a:ln>
                    <a:noFill/>
                  </a:ln>
                  <a:solidFill>
                    <a:srgbClr val="001965"/>
                  </a:solidFill>
                  <a:effectLst/>
                  <a:uLnTx/>
                  <a:uFillTx/>
                  <a:latin typeface="Apis For Office"/>
                  <a:ea typeface="+mn-ea"/>
                  <a:cs typeface="+mn-cs"/>
                </a:rPr>
                <a:t>compared with placebo in people with obesity and established CVD, without T2D</a:t>
              </a:r>
              <a:r>
                <a:rPr kumimoji="0" lang="en-GB" sz="1400" b="0" i="0" u="none" strike="noStrike" kern="1200" cap="none" spc="0" normalizeH="0" baseline="30000" noProof="0">
                  <a:ln>
                    <a:noFill/>
                  </a:ln>
                  <a:solidFill>
                    <a:srgbClr val="001965"/>
                  </a:solidFill>
                  <a:effectLst/>
                  <a:uLnTx/>
                  <a:uFillTx/>
                  <a:latin typeface="Apis For Office"/>
                  <a:ea typeface="+mn-ea"/>
                  <a:cs typeface="+mn-cs"/>
                </a:rPr>
                <a:t>1,2</a:t>
              </a:r>
              <a:endParaRPr kumimoji="0" lang="en-GB" sz="1800" b="0" i="0" u="none" strike="noStrike" kern="1200" cap="none" spc="0" normalizeH="0" baseline="30000" noProof="0">
                <a:ln>
                  <a:noFill/>
                </a:ln>
                <a:solidFill>
                  <a:srgbClr val="001965"/>
                </a:solidFill>
                <a:effectLst/>
                <a:uLnTx/>
                <a:uFillTx/>
                <a:latin typeface="Apis For Office"/>
                <a:ea typeface="+mn-ea"/>
                <a:cs typeface="+mn-cs"/>
              </a:endParaRPr>
            </a:p>
          </p:txBody>
        </p:sp>
        <p:grpSp>
          <p:nvGrpSpPr>
            <p:cNvPr id="28" name="Group 27">
              <a:extLst>
                <a:ext uri="{FF2B5EF4-FFF2-40B4-BE49-F238E27FC236}">
                  <a16:creationId xmlns:a16="http://schemas.microsoft.com/office/drawing/2014/main" id="{9760F683-0805-9BF9-EE5D-A3B9370C5E59}"/>
                </a:ext>
              </a:extLst>
            </p:cNvPr>
            <p:cNvGrpSpPr/>
            <p:nvPr/>
          </p:nvGrpSpPr>
          <p:grpSpPr>
            <a:xfrm>
              <a:off x="7992107" y="3309625"/>
              <a:ext cx="4223283" cy="1195382"/>
              <a:chOff x="7992107" y="3123666"/>
              <a:chExt cx="4223283" cy="1195382"/>
            </a:xfrm>
          </p:grpSpPr>
          <p:sp>
            <p:nvSpPr>
              <p:cNvPr id="65" name="Rectangle: Top Corners Rounded 64">
                <a:extLst>
                  <a:ext uri="{FF2B5EF4-FFF2-40B4-BE49-F238E27FC236}">
                    <a16:creationId xmlns:a16="http://schemas.microsoft.com/office/drawing/2014/main" id="{F7F1BFF1-64A3-1E30-05A8-3350CE635710}"/>
                  </a:ext>
                </a:extLst>
              </p:cNvPr>
              <p:cNvSpPr/>
              <p:nvPr/>
            </p:nvSpPr>
            <p:spPr>
              <a:xfrm rot="16200000">
                <a:off x="9506058" y="1609715"/>
                <a:ext cx="1195382" cy="4223283"/>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86" name="TextBox 85">
                <a:extLst>
                  <a:ext uri="{FF2B5EF4-FFF2-40B4-BE49-F238E27FC236}">
                    <a16:creationId xmlns:a16="http://schemas.microsoft.com/office/drawing/2014/main" id="{4B75A4BC-EA8A-B5FD-5359-9EB88473E5E6}"/>
                  </a:ext>
                </a:extLst>
              </p:cNvPr>
              <p:cNvSpPr txBox="1"/>
              <p:nvPr/>
            </p:nvSpPr>
            <p:spPr>
              <a:xfrm>
                <a:off x="9350773" y="3290469"/>
                <a:ext cx="2788980" cy="8617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1965"/>
                    </a:solidFill>
                    <a:effectLst/>
                    <a:uLnTx/>
                    <a:uFillTx/>
                    <a:latin typeface="Apis For Office"/>
                    <a:ea typeface="+mn-ea"/>
                    <a:cs typeface="+mn-cs"/>
                  </a:rPr>
                  <a:t>All three components </a:t>
                </a:r>
                <a:r>
                  <a:rPr kumimoji="0" lang="en-GB" sz="1400" b="0" i="0" u="none" strike="noStrike" kern="1200" cap="none" spc="0" normalizeH="0" baseline="0" noProof="0">
                    <a:ln>
                      <a:noFill/>
                    </a:ln>
                    <a:solidFill>
                      <a:srgbClr val="001965"/>
                    </a:solidFill>
                    <a:effectLst/>
                    <a:uLnTx/>
                    <a:uFillTx/>
                    <a:latin typeface="Apis For Office"/>
                    <a:ea typeface="+mn-ea"/>
                    <a:cs typeface="+mn-cs"/>
                  </a:rPr>
                  <a:t>(death from CV causes, non-fatal MI and </a:t>
                </a:r>
                <a:br>
                  <a:rPr kumimoji="0" lang="en-GB" sz="1400" b="0" i="0" u="none" strike="noStrike" kern="1200" cap="none" spc="0" normalizeH="0" baseline="0" noProof="0">
                    <a:ln>
                      <a:noFill/>
                    </a:ln>
                    <a:solidFill>
                      <a:srgbClr val="001965"/>
                    </a:solidFill>
                    <a:effectLst/>
                    <a:uLnTx/>
                    <a:uFillTx/>
                    <a:latin typeface="Apis For Office"/>
                    <a:ea typeface="+mn-ea"/>
                    <a:cs typeface="+mn-cs"/>
                  </a:rPr>
                </a:br>
                <a:r>
                  <a:rPr kumimoji="0" lang="en-GB" sz="1400" b="0" i="0" u="none" strike="noStrike" kern="1200" cap="none" spc="0" normalizeH="0" baseline="0" noProof="0">
                    <a:ln>
                      <a:noFill/>
                    </a:ln>
                    <a:solidFill>
                      <a:srgbClr val="001965"/>
                    </a:solidFill>
                    <a:effectLst/>
                    <a:uLnTx/>
                    <a:uFillTx/>
                    <a:latin typeface="Apis For Office"/>
                    <a:ea typeface="+mn-ea"/>
                    <a:cs typeface="+mn-cs"/>
                  </a:rPr>
                  <a:t>non-fatal stroke) contributed to MACE risk reduction</a:t>
                </a:r>
                <a:endParaRPr kumimoji="0" lang="en-GB" sz="1800" b="0" i="0" u="none" strike="noStrike" kern="1200" cap="none" spc="0" normalizeH="0" baseline="0" noProof="0">
                  <a:ln>
                    <a:noFill/>
                  </a:ln>
                  <a:solidFill>
                    <a:srgbClr val="001965"/>
                  </a:solidFill>
                  <a:effectLst/>
                  <a:uLnTx/>
                  <a:uFillTx/>
                  <a:latin typeface="Apis For Office"/>
                  <a:ea typeface="+mn-ea"/>
                  <a:cs typeface="+mn-cs"/>
                </a:endParaRPr>
              </a:p>
            </p:txBody>
          </p:sp>
          <p:grpSp>
            <p:nvGrpSpPr>
              <p:cNvPr id="92" name="Group 91">
                <a:extLst>
                  <a:ext uri="{FF2B5EF4-FFF2-40B4-BE49-F238E27FC236}">
                    <a16:creationId xmlns:a16="http://schemas.microsoft.com/office/drawing/2014/main" id="{47869182-65E3-E055-8EBF-0DA964BD1C64}"/>
                  </a:ext>
                </a:extLst>
              </p:cNvPr>
              <p:cNvGrpSpPr/>
              <p:nvPr/>
            </p:nvGrpSpPr>
            <p:grpSpPr>
              <a:xfrm>
                <a:off x="8276692" y="3277761"/>
                <a:ext cx="1001466" cy="887191"/>
                <a:chOff x="7319870" y="3654053"/>
                <a:chExt cx="935965" cy="887191"/>
              </a:xfrm>
            </p:grpSpPr>
            <p:sp>
              <p:nvSpPr>
                <p:cNvPr id="87" name="Brain Stroke Icon">
                  <a:extLst>
                    <a:ext uri="{FF2B5EF4-FFF2-40B4-BE49-F238E27FC236}">
                      <a16:creationId xmlns:a16="http://schemas.microsoft.com/office/drawing/2014/main" id="{9A78BE58-469A-7ED4-5BA0-3BEC3542E89C}"/>
                    </a:ext>
                  </a:extLst>
                </p:cNvPr>
                <p:cNvSpPr>
                  <a:spLocks noChangeAspect="1"/>
                </p:cNvSpPr>
                <p:nvPr/>
              </p:nvSpPr>
              <p:spPr>
                <a:xfrm>
                  <a:off x="7817519" y="3839602"/>
                  <a:ext cx="438316" cy="432000"/>
                </a:xfrm>
                <a:custGeom>
                  <a:avLst/>
                  <a:gdLst>
                    <a:gd name="connsiteX0" fmla="*/ 408408 w 409498"/>
                    <a:gd name="connsiteY0" fmla="*/ 239254 h 403597"/>
                    <a:gd name="connsiteX1" fmla="*/ 371261 w 409498"/>
                    <a:gd name="connsiteY1" fmla="*/ 291356 h 403597"/>
                    <a:gd name="connsiteX2" fmla="*/ 253151 w 409498"/>
                    <a:gd name="connsiteY2" fmla="*/ 298404 h 403597"/>
                    <a:gd name="connsiteX3" fmla="*/ 182285 w 409498"/>
                    <a:gd name="connsiteY3" fmla="*/ 330027 h 403597"/>
                    <a:gd name="connsiteX4" fmla="*/ 143328 w 409498"/>
                    <a:gd name="connsiteY4" fmla="*/ 403560 h 403597"/>
                    <a:gd name="connsiteX5" fmla="*/ 96560 w 409498"/>
                    <a:gd name="connsiteY5" fmla="*/ 403560 h 403597"/>
                    <a:gd name="connsiteX6" fmla="*/ 98560 w 409498"/>
                    <a:gd name="connsiteY6" fmla="*/ 392321 h 403597"/>
                    <a:gd name="connsiteX7" fmla="*/ 108085 w 409498"/>
                    <a:gd name="connsiteY7" fmla="*/ 326789 h 403597"/>
                    <a:gd name="connsiteX8" fmla="*/ 91797 w 409498"/>
                    <a:gd name="connsiteY8" fmla="*/ 326789 h 403597"/>
                    <a:gd name="connsiteX9" fmla="*/ 15597 w 409498"/>
                    <a:gd name="connsiteY9" fmla="*/ 280973 h 403597"/>
                    <a:gd name="connsiteX10" fmla="*/ 20169 w 409498"/>
                    <a:gd name="connsiteY10" fmla="*/ 145623 h 403597"/>
                    <a:gd name="connsiteX11" fmla="*/ 33219 w 409498"/>
                    <a:gd name="connsiteY11" fmla="*/ 142289 h 403597"/>
                    <a:gd name="connsiteX12" fmla="*/ 36552 w 409498"/>
                    <a:gd name="connsiteY12" fmla="*/ 155339 h 403597"/>
                    <a:gd name="connsiteX13" fmla="*/ 32171 w 409498"/>
                    <a:gd name="connsiteY13" fmla="*/ 271544 h 403597"/>
                    <a:gd name="connsiteX14" fmla="*/ 91797 w 409498"/>
                    <a:gd name="connsiteY14" fmla="*/ 307739 h 403597"/>
                    <a:gd name="connsiteX15" fmla="*/ 129897 w 409498"/>
                    <a:gd name="connsiteY15" fmla="*/ 307739 h 403597"/>
                    <a:gd name="connsiteX16" fmla="*/ 128373 w 409498"/>
                    <a:gd name="connsiteY16" fmla="*/ 318597 h 403597"/>
                    <a:gd name="connsiteX17" fmla="*/ 118848 w 409498"/>
                    <a:gd name="connsiteY17" fmla="*/ 384415 h 403597"/>
                    <a:gd name="connsiteX18" fmla="*/ 131517 w 409498"/>
                    <a:gd name="connsiteY18" fmla="*/ 384415 h 403597"/>
                    <a:gd name="connsiteX19" fmla="*/ 172950 w 409498"/>
                    <a:gd name="connsiteY19" fmla="*/ 305738 h 403597"/>
                    <a:gd name="connsiteX20" fmla="*/ 180475 w 409498"/>
                    <a:gd name="connsiteY20" fmla="*/ 310215 h 403597"/>
                    <a:gd name="connsiteX21" fmla="*/ 238482 w 409498"/>
                    <a:gd name="connsiteY21" fmla="*/ 283545 h 403597"/>
                    <a:gd name="connsiteX22" fmla="*/ 241626 w 409498"/>
                    <a:gd name="connsiteY22" fmla="*/ 274592 h 403597"/>
                    <a:gd name="connsiteX23" fmla="*/ 250579 w 409498"/>
                    <a:gd name="connsiteY23" fmla="*/ 277640 h 403597"/>
                    <a:gd name="connsiteX24" fmla="*/ 360879 w 409498"/>
                    <a:gd name="connsiteY24" fmla="*/ 274973 h 403597"/>
                    <a:gd name="connsiteX25" fmla="*/ 389454 w 409498"/>
                    <a:gd name="connsiteY25" fmla="*/ 236206 h 403597"/>
                    <a:gd name="connsiteX26" fmla="*/ 344591 w 409498"/>
                    <a:gd name="connsiteY26" fmla="*/ 161244 h 403597"/>
                    <a:gd name="connsiteX27" fmla="*/ 339924 w 409498"/>
                    <a:gd name="connsiteY27" fmla="*/ 159149 h 403597"/>
                    <a:gd name="connsiteX28" fmla="*/ 339162 w 409498"/>
                    <a:gd name="connsiteY28" fmla="*/ 154100 h 403597"/>
                    <a:gd name="connsiteX29" fmla="*/ 315540 w 409498"/>
                    <a:gd name="connsiteY29" fmla="*/ 111143 h 403597"/>
                    <a:gd name="connsiteX30" fmla="*/ 264105 w 409498"/>
                    <a:gd name="connsiteY30" fmla="*/ 101046 h 403597"/>
                    <a:gd name="connsiteX31" fmla="*/ 258961 w 409498"/>
                    <a:gd name="connsiteY31" fmla="*/ 101998 h 403597"/>
                    <a:gd name="connsiteX32" fmla="*/ 255342 w 409498"/>
                    <a:gd name="connsiteY32" fmla="*/ 98189 h 403597"/>
                    <a:gd name="connsiteX33" fmla="*/ 159330 w 409498"/>
                    <a:gd name="connsiteY33" fmla="*/ 93331 h 403597"/>
                    <a:gd name="connsiteX34" fmla="*/ 145947 w 409498"/>
                    <a:gd name="connsiteY34" fmla="*/ 91759 h 403597"/>
                    <a:gd name="connsiteX35" fmla="*/ 147519 w 409498"/>
                    <a:gd name="connsiteY35" fmla="*/ 78377 h 403597"/>
                    <a:gd name="connsiteX36" fmla="*/ 265819 w 409498"/>
                    <a:gd name="connsiteY36" fmla="*/ 81615 h 403597"/>
                    <a:gd name="connsiteX37" fmla="*/ 326398 w 409498"/>
                    <a:gd name="connsiteY37" fmla="*/ 95522 h 403597"/>
                    <a:gd name="connsiteX38" fmla="*/ 357069 w 409498"/>
                    <a:gd name="connsiteY38" fmla="*/ 146290 h 403597"/>
                    <a:gd name="connsiteX39" fmla="*/ 408408 w 409498"/>
                    <a:gd name="connsiteY39" fmla="*/ 239254 h 403597"/>
                    <a:gd name="connsiteX40" fmla="*/ 150281 w 409498"/>
                    <a:gd name="connsiteY40" fmla="*/ 175246 h 403597"/>
                    <a:gd name="connsiteX41" fmla="*/ 119039 w 409498"/>
                    <a:gd name="connsiteY41" fmla="*/ 194296 h 403597"/>
                    <a:gd name="connsiteX42" fmla="*/ 86463 w 409498"/>
                    <a:gd name="connsiteY42" fmla="*/ 176865 h 403597"/>
                    <a:gd name="connsiteX43" fmla="*/ 75129 w 409498"/>
                    <a:gd name="connsiteY43" fmla="*/ 169150 h 403597"/>
                    <a:gd name="connsiteX44" fmla="*/ 67413 w 409498"/>
                    <a:gd name="connsiteY44" fmla="*/ 180485 h 403597"/>
                    <a:gd name="connsiteX45" fmla="*/ 110752 w 409498"/>
                    <a:gd name="connsiteY45" fmla="*/ 212679 h 403597"/>
                    <a:gd name="connsiteX46" fmla="*/ 109990 w 409498"/>
                    <a:gd name="connsiteY46" fmla="*/ 218775 h 403597"/>
                    <a:gd name="connsiteX47" fmla="*/ 112848 w 409498"/>
                    <a:gd name="connsiteY47" fmla="*/ 239063 h 403597"/>
                    <a:gd name="connsiteX48" fmla="*/ 84273 w 409498"/>
                    <a:gd name="connsiteY48" fmla="*/ 246493 h 403597"/>
                    <a:gd name="connsiteX49" fmla="*/ 80939 w 409498"/>
                    <a:gd name="connsiteY49" fmla="*/ 259542 h 403597"/>
                    <a:gd name="connsiteX50" fmla="*/ 89035 w 409498"/>
                    <a:gd name="connsiteY50" fmla="*/ 264209 h 403597"/>
                    <a:gd name="connsiteX51" fmla="*/ 93702 w 409498"/>
                    <a:gd name="connsiteY51" fmla="*/ 263066 h 403597"/>
                    <a:gd name="connsiteX52" fmla="*/ 123706 w 409498"/>
                    <a:gd name="connsiteY52" fmla="*/ 260876 h 403597"/>
                    <a:gd name="connsiteX53" fmla="*/ 125611 w 409498"/>
                    <a:gd name="connsiteY53" fmla="*/ 261542 h 403597"/>
                    <a:gd name="connsiteX54" fmla="*/ 144661 w 409498"/>
                    <a:gd name="connsiteY54" fmla="*/ 281259 h 403597"/>
                    <a:gd name="connsiteX55" fmla="*/ 151614 w 409498"/>
                    <a:gd name="connsiteY55" fmla="*/ 284117 h 403597"/>
                    <a:gd name="connsiteX56" fmla="*/ 161101 w 409498"/>
                    <a:gd name="connsiteY56" fmla="*/ 274554 h 403597"/>
                    <a:gd name="connsiteX57" fmla="*/ 158472 w 409498"/>
                    <a:gd name="connsiteY57" fmla="*/ 268019 h 403597"/>
                    <a:gd name="connsiteX58" fmla="*/ 138851 w 409498"/>
                    <a:gd name="connsiteY58" fmla="*/ 247636 h 403597"/>
                    <a:gd name="connsiteX59" fmla="*/ 129326 w 409498"/>
                    <a:gd name="connsiteY59" fmla="*/ 219537 h 403597"/>
                    <a:gd name="connsiteX60" fmla="*/ 153329 w 409498"/>
                    <a:gd name="connsiteY60" fmla="*/ 193724 h 403597"/>
                    <a:gd name="connsiteX61" fmla="*/ 174951 w 409498"/>
                    <a:gd name="connsiteY61" fmla="*/ 187343 h 403597"/>
                    <a:gd name="connsiteX62" fmla="*/ 187333 w 409498"/>
                    <a:gd name="connsiteY62" fmla="*/ 227252 h 403597"/>
                    <a:gd name="connsiteX63" fmla="*/ 192191 w 409498"/>
                    <a:gd name="connsiteY63" fmla="*/ 239825 h 403597"/>
                    <a:gd name="connsiteX64" fmla="*/ 204764 w 409498"/>
                    <a:gd name="connsiteY64" fmla="*/ 234968 h 403597"/>
                    <a:gd name="connsiteX65" fmla="*/ 203430 w 409498"/>
                    <a:gd name="connsiteY65" fmla="*/ 192962 h 403597"/>
                    <a:gd name="connsiteX66" fmla="*/ 219528 w 409498"/>
                    <a:gd name="connsiteY66" fmla="*/ 181723 h 403597"/>
                    <a:gd name="connsiteX67" fmla="*/ 249341 w 409498"/>
                    <a:gd name="connsiteY67" fmla="*/ 192962 h 403597"/>
                    <a:gd name="connsiteX68" fmla="*/ 263724 w 409498"/>
                    <a:gd name="connsiteY68" fmla="*/ 234682 h 403597"/>
                    <a:gd name="connsiteX69" fmla="*/ 306396 w 409498"/>
                    <a:gd name="connsiteY69" fmla="*/ 246302 h 403597"/>
                    <a:gd name="connsiteX70" fmla="*/ 312111 w 409498"/>
                    <a:gd name="connsiteY70" fmla="*/ 246302 h 403597"/>
                    <a:gd name="connsiteX71" fmla="*/ 323731 w 409498"/>
                    <a:gd name="connsiteY71" fmla="*/ 257256 h 403597"/>
                    <a:gd name="connsiteX72" fmla="*/ 333256 w 409498"/>
                    <a:gd name="connsiteY72" fmla="*/ 264400 h 403597"/>
                    <a:gd name="connsiteX73" fmla="*/ 335637 w 409498"/>
                    <a:gd name="connsiteY73" fmla="*/ 264400 h 403597"/>
                    <a:gd name="connsiteX74" fmla="*/ 342495 w 409498"/>
                    <a:gd name="connsiteY74" fmla="*/ 252875 h 403597"/>
                    <a:gd name="connsiteX75" fmla="*/ 312396 w 409498"/>
                    <a:gd name="connsiteY75" fmla="*/ 227538 h 403597"/>
                    <a:gd name="connsiteX76" fmla="*/ 305919 w 409498"/>
                    <a:gd name="connsiteY76" fmla="*/ 227538 h 403597"/>
                    <a:gd name="connsiteX77" fmla="*/ 291346 w 409498"/>
                    <a:gd name="connsiteY77" fmla="*/ 227538 h 403597"/>
                    <a:gd name="connsiteX78" fmla="*/ 320588 w 409498"/>
                    <a:gd name="connsiteY78" fmla="*/ 214679 h 403597"/>
                    <a:gd name="connsiteX79" fmla="*/ 331208 w 409498"/>
                    <a:gd name="connsiteY79" fmla="*/ 206250 h 403597"/>
                    <a:gd name="connsiteX80" fmla="*/ 322779 w 409498"/>
                    <a:gd name="connsiteY80" fmla="*/ 195629 h 403597"/>
                    <a:gd name="connsiteX81" fmla="*/ 274677 w 409498"/>
                    <a:gd name="connsiteY81" fmla="*/ 218108 h 403597"/>
                    <a:gd name="connsiteX82" fmla="*/ 268677 w 409498"/>
                    <a:gd name="connsiteY82" fmla="*/ 191153 h 403597"/>
                    <a:gd name="connsiteX83" fmla="*/ 302014 w 409498"/>
                    <a:gd name="connsiteY83" fmla="*/ 165911 h 403597"/>
                    <a:gd name="connsiteX84" fmla="*/ 299442 w 409498"/>
                    <a:gd name="connsiteY84" fmla="*/ 152767 h 403597"/>
                    <a:gd name="connsiteX85" fmla="*/ 286212 w 409498"/>
                    <a:gd name="connsiteY85" fmla="*/ 155320 h 403597"/>
                    <a:gd name="connsiteX86" fmla="*/ 286203 w 409498"/>
                    <a:gd name="connsiteY86" fmla="*/ 155339 h 403597"/>
                    <a:gd name="connsiteX87" fmla="*/ 257628 w 409498"/>
                    <a:gd name="connsiteY87" fmla="*/ 174389 h 403597"/>
                    <a:gd name="connsiteX88" fmla="*/ 228291 w 409498"/>
                    <a:gd name="connsiteY88" fmla="*/ 164864 h 403597"/>
                    <a:gd name="connsiteX89" fmla="*/ 230005 w 409498"/>
                    <a:gd name="connsiteY89" fmla="*/ 143051 h 403597"/>
                    <a:gd name="connsiteX90" fmla="*/ 219337 w 409498"/>
                    <a:gd name="connsiteY90" fmla="*/ 134669 h 403597"/>
                    <a:gd name="connsiteX91" fmla="*/ 210955 w 409498"/>
                    <a:gd name="connsiteY91" fmla="*/ 145337 h 403597"/>
                    <a:gd name="connsiteX92" fmla="*/ 191905 w 409498"/>
                    <a:gd name="connsiteY92" fmla="*/ 177341 h 403597"/>
                    <a:gd name="connsiteX93" fmla="*/ 187428 w 409498"/>
                    <a:gd name="connsiteY93" fmla="*/ 173436 h 403597"/>
                    <a:gd name="connsiteX94" fmla="*/ 162473 w 409498"/>
                    <a:gd name="connsiteY94" fmla="*/ 122763 h 403597"/>
                    <a:gd name="connsiteX95" fmla="*/ 149566 w 409498"/>
                    <a:gd name="connsiteY95" fmla="*/ 126811 h 403597"/>
                    <a:gd name="connsiteX96" fmla="*/ 153615 w 409498"/>
                    <a:gd name="connsiteY96" fmla="*/ 139718 h 403597"/>
                    <a:gd name="connsiteX97" fmla="*/ 168569 w 409498"/>
                    <a:gd name="connsiteY97" fmla="*/ 170293 h 403597"/>
                    <a:gd name="connsiteX98" fmla="*/ 150281 w 409498"/>
                    <a:gd name="connsiteY98" fmla="*/ 175246 h 403597"/>
                    <a:gd name="connsiteX99" fmla="*/ 80177 w 409498"/>
                    <a:gd name="connsiteY99" fmla="*/ 129240 h 403597"/>
                    <a:gd name="connsiteX100" fmla="*/ 85606 w 409498"/>
                    <a:gd name="connsiteY100" fmla="*/ 141527 h 403597"/>
                    <a:gd name="connsiteX101" fmla="*/ 89035 w 409498"/>
                    <a:gd name="connsiteY101" fmla="*/ 142099 h 403597"/>
                    <a:gd name="connsiteX102" fmla="*/ 97989 w 409498"/>
                    <a:gd name="connsiteY102" fmla="*/ 136003 h 403597"/>
                    <a:gd name="connsiteX103" fmla="*/ 126564 w 409498"/>
                    <a:gd name="connsiteY103" fmla="*/ 61327 h 403597"/>
                    <a:gd name="connsiteX104" fmla="*/ 80463 w 409498"/>
                    <a:gd name="connsiteY104" fmla="*/ 61327 h 403597"/>
                    <a:gd name="connsiteX105" fmla="*/ 103989 w 409498"/>
                    <a:gd name="connsiteY105" fmla="*/ 13702 h 403597"/>
                    <a:gd name="connsiteX106" fmla="*/ 99636 w 409498"/>
                    <a:gd name="connsiteY106" fmla="*/ 957 h 403597"/>
                    <a:gd name="connsiteX107" fmla="*/ 99608 w 409498"/>
                    <a:gd name="connsiteY107" fmla="*/ 938 h 403597"/>
                    <a:gd name="connsiteX108" fmla="*/ 86863 w 409498"/>
                    <a:gd name="connsiteY108" fmla="*/ 5291 h 403597"/>
                    <a:gd name="connsiteX109" fmla="*/ 86844 w 409498"/>
                    <a:gd name="connsiteY109" fmla="*/ 5320 h 403597"/>
                    <a:gd name="connsiteX110" fmla="*/ 49983 w 409498"/>
                    <a:gd name="connsiteY110" fmla="*/ 80853 h 403597"/>
                    <a:gd name="connsiteX111" fmla="*/ 98846 w 409498"/>
                    <a:gd name="connsiteY111" fmla="*/ 80853 h 40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09498" h="403597">
                      <a:moveTo>
                        <a:pt x="408408" y="239254"/>
                      </a:moveTo>
                      <a:cubicBezTo>
                        <a:pt x="404455" y="261314"/>
                        <a:pt x="390825" y="280430"/>
                        <a:pt x="371261" y="291356"/>
                      </a:cubicBezTo>
                      <a:cubicBezTo>
                        <a:pt x="340686" y="309834"/>
                        <a:pt x="298966" y="312311"/>
                        <a:pt x="253151" y="298404"/>
                      </a:cubicBezTo>
                      <a:cubicBezTo>
                        <a:pt x="238263" y="322493"/>
                        <a:pt x="210155" y="335037"/>
                        <a:pt x="182285" y="330027"/>
                      </a:cubicBezTo>
                      <a:lnTo>
                        <a:pt x="143328" y="403560"/>
                      </a:lnTo>
                      <a:lnTo>
                        <a:pt x="96560" y="403560"/>
                      </a:lnTo>
                      <a:lnTo>
                        <a:pt x="98560" y="392321"/>
                      </a:lnTo>
                      <a:cubicBezTo>
                        <a:pt x="100751" y="379557"/>
                        <a:pt x="105894" y="344696"/>
                        <a:pt x="108085" y="326789"/>
                      </a:cubicBezTo>
                      <a:lnTo>
                        <a:pt x="91797" y="326789"/>
                      </a:lnTo>
                      <a:cubicBezTo>
                        <a:pt x="59889" y="326741"/>
                        <a:pt x="30599" y="309129"/>
                        <a:pt x="15597" y="280973"/>
                      </a:cubicBezTo>
                      <a:cubicBezTo>
                        <a:pt x="-6777" y="238187"/>
                        <a:pt x="-5034" y="186800"/>
                        <a:pt x="20169" y="145623"/>
                      </a:cubicBezTo>
                      <a:cubicBezTo>
                        <a:pt x="22855" y="141099"/>
                        <a:pt x="28694" y="139603"/>
                        <a:pt x="33219" y="142289"/>
                      </a:cubicBezTo>
                      <a:cubicBezTo>
                        <a:pt x="37743" y="144975"/>
                        <a:pt x="39238" y="150814"/>
                        <a:pt x="36552" y="155339"/>
                      </a:cubicBezTo>
                      <a:cubicBezTo>
                        <a:pt x="15064" y="190695"/>
                        <a:pt x="13407" y="234663"/>
                        <a:pt x="32171" y="271544"/>
                      </a:cubicBezTo>
                      <a:cubicBezTo>
                        <a:pt x="43648" y="293870"/>
                        <a:pt x="66689" y="307862"/>
                        <a:pt x="91797" y="307739"/>
                      </a:cubicBezTo>
                      <a:lnTo>
                        <a:pt x="129897" y="307739"/>
                      </a:lnTo>
                      <a:lnTo>
                        <a:pt x="128373" y="318597"/>
                      </a:lnTo>
                      <a:cubicBezTo>
                        <a:pt x="128373" y="320597"/>
                        <a:pt x="122373" y="360983"/>
                        <a:pt x="118848" y="384415"/>
                      </a:cubicBezTo>
                      <a:lnTo>
                        <a:pt x="131517" y="384415"/>
                      </a:lnTo>
                      <a:lnTo>
                        <a:pt x="172950" y="305738"/>
                      </a:lnTo>
                      <a:lnTo>
                        <a:pt x="180475" y="310215"/>
                      </a:lnTo>
                      <a:cubicBezTo>
                        <a:pt x="203735" y="316759"/>
                        <a:pt x="228310" y="305462"/>
                        <a:pt x="238482" y="283545"/>
                      </a:cubicBezTo>
                      <a:lnTo>
                        <a:pt x="241626" y="274592"/>
                      </a:lnTo>
                      <a:lnTo>
                        <a:pt x="250579" y="277640"/>
                      </a:lnTo>
                      <a:cubicBezTo>
                        <a:pt x="293537" y="292308"/>
                        <a:pt x="333732" y="291356"/>
                        <a:pt x="360879" y="274973"/>
                      </a:cubicBezTo>
                      <a:cubicBezTo>
                        <a:pt x="375718" y="266972"/>
                        <a:pt x="386205" y="252751"/>
                        <a:pt x="389454" y="236206"/>
                      </a:cubicBezTo>
                      <a:cubicBezTo>
                        <a:pt x="397359" y="186200"/>
                        <a:pt x="345162" y="161530"/>
                        <a:pt x="344591" y="161244"/>
                      </a:cubicBezTo>
                      <a:lnTo>
                        <a:pt x="339924" y="159149"/>
                      </a:lnTo>
                      <a:lnTo>
                        <a:pt x="339162" y="154100"/>
                      </a:lnTo>
                      <a:cubicBezTo>
                        <a:pt x="337542" y="137136"/>
                        <a:pt x="328998" y="121591"/>
                        <a:pt x="315540" y="111143"/>
                      </a:cubicBezTo>
                      <a:cubicBezTo>
                        <a:pt x="300157" y="101732"/>
                        <a:pt x="281907" y="98150"/>
                        <a:pt x="264105" y="101046"/>
                      </a:cubicBezTo>
                      <a:lnTo>
                        <a:pt x="258961" y="101998"/>
                      </a:lnTo>
                      <a:lnTo>
                        <a:pt x="255342" y="98189"/>
                      </a:lnTo>
                      <a:cubicBezTo>
                        <a:pt x="212765" y="52183"/>
                        <a:pt x="161520" y="91616"/>
                        <a:pt x="159330" y="93331"/>
                      </a:cubicBezTo>
                      <a:cubicBezTo>
                        <a:pt x="155196" y="96588"/>
                        <a:pt x="149205" y="95893"/>
                        <a:pt x="145947" y="91759"/>
                      </a:cubicBezTo>
                      <a:cubicBezTo>
                        <a:pt x="142689" y="87625"/>
                        <a:pt x="143385" y="81634"/>
                        <a:pt x="147519" y="78377"/>
                      </a:cubicBezTo>
                      <a:cubicBezTo>
                        <a:pt x="169902" y="60565"/>
                        <a:pt x="222671" y="39229"/>
                        <a:pt x="265819" y="81615"/>
                      </a:cubicBezTo>
                      <a:cubicBezTo>
                        <a:pt x="287012" y="79072"/>
                        <a:pt x="308434" y="83987"/>
                        <a:pt x="326398" y="95522"/>
                      </a:cubicBezTo>
                      <a:cubicBezTo>
                        <a:pt x="342962" y="107695"/>
                        <a:pt x="354001" y="125963"/>
                        <a:pt x="357069" y="146290"/>
                      </a:cubicBezTo>
                      <a:cubicBezTo>
                        <a:pt x="380595" y="158863"/>
                        <a:pt x="416028" y="191248"/>
                        <a:pt x="408408" y="239254"/>
                      </a:cubicBezTo>
                      <a:close/>
                      <a:moveTo>
                        <a:pt x="150281" y="175246"/>
                      </a:moveTo>
                      <a:cubicBezTo>
                        <a:pt x="137775" y="177256"/>
                        <a:pt x="126554" y="184095"/>
                        <a:pt x="119039" y="194296"/>
                      </a:cubicBezTo>
                      <a:cubicBezTo>
                        <a:pt x="111514" y="193820"/>
                        <a:pt x="89321" y="191248"/>
                        <a:pt x="86463" y="176865"/>
                      </a:cubicBezTo>
                      <a:cubicBezTo>
                        <a:pt x="85463" y="171607"/>
                        <a:pt x="80386" y="168150"/>
                        <a:pt x="75129" y="169150"/>
                      </a:cubicBezTo>
                      <a:cubicBezTo>
                        <a:pt x="69871" y="170150"/>
                        <a:pt x="66413" y="175227"/>
                        <a:pt x="67413" y="180485"/>
                      </a:cubicBezTo>
                      <a:cubicBezTo>
                        <a:pt x="71985" y="204011"/>
                        <a:pt x="95988" y="210774"/>
                        <a:pt x="110752" y="212679"/>
                      </a:cubicBezTo>
                      <a:cubicBezTo>
                        <a:pt x="110752" y="214679"/>
                        <a:pt x="110085" y="216680"/>
                        <a:pt x="109990" y="218775"/>
                      </a:cubicBezTo>
                      <a:cubicBezTo>
                        <a:pt x="109752" y="225652"/>
                        <a:pt x="110723" y="232520"/>
                        <a:pt x="112848" y="239063"/>
                      </a:cubicBezTo>
                      <a:cubicBezTo>
                        <a:pt x="102865" y="239206"/>
                        <a:pt x="93064" y="241759"/>
                        <a:pt x="84273" y="246493"/>
                      </a:cubicBezTo>
                      <a:cubicBezTo>
                        <a:pt x="79748" y="249179"/>
                        <a:pt x="78253" y="255018"/>
                        <a:pt x="80939" y="259542"/>
                      </a:cubicBezTo>
                      <a:cubicBezTo>
                        <a:pt x="82634" y="262409"/>
                        <a:pt x="85711" y="264171"/>
                        <a:pt x="89035" y="264209"/>
                      </a:cubicBezTo>
                      <a:cubicBezTo>
                        <a:pt x="90664" y="264238"/>
                        <a:pt x="92274" y="263838"/>
                        <a:pt x="93702" y="263066"/>
                      </a:cubicBezTo>
                      <a:cubicBezTo>
                        <a:pt x="93702" y="263066"/>
                        <a:pt x="110943" y="253541"/>
                        <a:pt x="123706" y="260876"/>
                      </a:cubicBezTo>
                      <a:cubicBezTo>
                        <a:pt x="124316" y="261161"/>
                        <a:pt x="124954" y="261390"/>
                        <a:pt x="125611" y="261542"/>
                      </a:cubicBezTo>
                      <a:lnTo>
                        <a:pt x="144661" y="281259"/>
                      </a:lnTo>
                      <a:cubicBezTo>
                        <a:pt x="146490" y="283126"/>
                        <a:pt x="149004" y="284155"/>
                        <a:pt x="151614" y="284117"/>
                      </a:cubicBezTo>
                      <a:cubicBezTo>
                        <a:pt x="156872" y="284098"/>
                        <a:pt x="161120" y="279811"/>
                        <a:pt x="161101" y="274554"/>
                      </a:cubicBezTo>
                      <a:cubicBezTo>
                        <a:pt x="161092" y="272125"/>
                        <a:pt x="160149" y="269781"/>
                        <a:pt x="158472" y="268019"/>
                      </a:cubicBezTo>
                      <a:lnTo>
                        <a:pt x="138851" y="247636"/>
                      </a:lnTo>
                      <a:cubicBezTo>
                        <a:pt x="132650" y="239587"/>
                        <a:pt x="129297" y="229700"/>
                        <a:pt x="129326" y="219537"/>
                      </a:cubicBezTo>
                      <a:cubicBezTo>
                        <a:pt x="130231" y="206345"/>
                        <a:pt x="140241" y="195582"/>
                        <a:pt x="153329" y="193724"/>
                      </a:cubicBezTo>
                      <a:cubicBezTo>
                        <a:pt x="160758" y="192438"/>
                        <a:pt x="168016" y="190295"/>
                        <a:pt x="174951" y="187343"/>
                      </a:cubicBezTo>
                      <a:cubicBezTo>
                        <a:pt x="187819" y="196172"/>
                        <a:pt x="192943" y="212689"/>
                        <a:pt x="187333" y="227252"/>
                      </a:cubicBezTo>
                      <a:cubicBezTo>
                        <a:pt x="185199" y="232063"/>
                        <a:pt x="187381" y="237692"/>
                        <a:pt x="192191" y="239825"/>
                      </a:cubicBezTo>
                      <a:cubicBezTo>
                        <a:pt x="197001" y="241959"/>
                        <a:pt x="202630" y="239778"/>
                        <a:pt x="204764" y="234968"/>
                      </a:cubicBezTo>
                      <a:cubicBezTo>
                        <a:pt x="210269" y="221404"/>
                        <a:pt x="209784" y="206145"/>
                        <a:pt x="203430" y="192962"/>
                      </a:cubicBezTo>
                      <a:cubicBezTo>
                        <a:pt x="209688" y="190686"/>
                        <a:pt x="215232" y="186809"/>
                        <a:pt x="219528" y="181723"/>
                      </a:cubicBezTo>
                      <a:cubicBezTo>
                        <a:pt x="228281" y="188067"/>
                        <a:pt x="238578" y="191943"/>
                        <a:pt x="249341" y="192962"/>
                      </a:cubicBezTo>
                      <a:cubicBezTo>
                        <a:pt x="248531" y="208212"/>
                        <a:pt x="253694" y="223176"/>
                        <a:pt x="263724" y="234682"/>
                      </a:cubicBezTo>
                      <a:cubicBezTo>
                        <a:pt x="276773" y="247541"/>
                        <a:pt x="294680" y="246779"/>
                        <a:pt x="306396" y="246302"/>
                      </a:cubicBezTo>
                      <a:lnTo>
                        <a:pt x="312111" y="246302"/>
                      </a:lnTo>
                      <a:cubicBezTo>
                        <a:pt x="320493" y="246302"/>
                        <a:pt x="323445" y="255827"/>
                        <a:pt x="323731" y="257256"/>
                      </a:cubicBezTo>
                      <a:cubicBezTo>
                        <a:pt x="324846" y="261571"/>
                        <a:pt x="328798" y="264543"/>
                        <a:pt x="333256" y="264400"/>
                      </a:cubicBezTo>
                      <a:lnTo>
                        <a:pt x="335637" y="264400"/>
                      </a:lnTo>
                      <a:cubicBezTo>
                        <a:pt x="340695" y="263095"/>
                        <a:pt x="343762" y="257951"/>
                        <a:pt x="342495" y="252875"/>
                      </a:cubicBezTo>
                      <a:cubicBezTo>
                        <a:pt x="339304" y="238625"/>
                        <a:pt x="326989" y="228252"/>
                        <a:pt x="312396" y="227538"/>
                      </a:cubicBezTo>
                      <a:lnTo>
                        <a:pt x="305919" y="227538"/>
                      </a:lnTo>
                      <a:cubicBezTo>
                        <a:pt x="301071" y="227919"/>
                        <a:pt x="296194" y="227919"/>
                        <a:pt x="291346" y="227538"/>
                      </a:cubicBezTo>
                      <a:cubicBezTo>
                        <a:pt x="297566" y="217699"/>
                        <a:pt x="309129" y="212612"/>
                        <a:pt x="320588" y="214679"/>
                      </a:cubicBezTo>
                      <a:cubicBezTo>
                        <a:pt x="325846" y="215289"/>
                        <a:pt x="330599" y="211508"/>
                        <a:pt x="331208" y="206250"/>
                      </a:cubicBezTo>
                      <a:cubicBezTo>
                        <a:pt x="331818" y="200992"/>
                        <a:pt x="328036" y="196239"/>
                        <a:pt x="322779" y="195629"/>
                      </a:cubicBezTo>
                      <a:cubicBezTo>
                        <a:pt x="303710" y="192924"/>
                        <a:pt x="284840" y="201744"/>
                        <a:pt x="274677" y="218108"/>
                      </a:cubicBezTo>
                      <a:cubicBezTo>
                        <a:pt x="270258" y="209841"/>
                        <a:pt x="268181" y="200516"/>
                        <a:pt x="268677" y="191153"/>
                      </a:cubicBezTo>
                      <a:cubicBezTo>
                        <a:pt x="282107" y="186333"/>
                        <a:pt x="293737" y="177532"/>
                        <a:pt x="302014" y="165911"/>
                      </a:cubicBezTo>
                      <a:cubicBezTo>
                        <a:pt x="304900" y="161568"/>
                        <a:pt x="303757" y="155700"/>
                        <a:pt x="299442" y="152767"/>
                      </a:cubicBezTo>
                      <a:cubicBezTo>
                        <a:pt x="295089" y="149824"/>
                        <a:pt x="289165" y="150957"/>
                        <a:pt x="286212" y="155320"/>
                      </a:cubicBezTo>
                      <a:cubicBezTo>
                        <a:pt x="286212" y="155329"/>
                        <a:pt x="286203" y="155329"/>
                        <a:pt x="286203" y="155339"/>
                      </a:cubicBezTo>
                      <a:cubicBezTo>
                        <a:pt x="279383" y="165025"/>
                        <a:pt x="269191" y="171817"/>
                        <a:pt x="257628" y="174389"/>
                      </a:cubicBezTo>
                      <a:cubicBezTo>
                        <a:pt x="246969" y="175293"/>
                        <a:pt x="236387" y="171864"/>
                        <a:pt x="228291" y="164864"/>
                      </a:cubicBezTo>
                      <a:cubicBezTo>
                        <a:pt x="230157" y="157758"/>
                        <a:pt x="230739" y="150366"/>
                        <a:pt x="230005" y="143051"/>
                      </a:cubicBezTo>
                      <a:cubicBezTo>
                        <a:pt x="229376" y="137794"/>
                        <a:pt x="224595" y="134041"/>
                        <a:pt x="219337" y="134669"/>
                      </a:cubicBezTo>
                      <a:cubicBezTo>
                        <a:pt x="214079" y="135298"/>
                        <a:pt x="210326" y="140079"/>
                        <a:pt x="210955" y="145337"/>
                      </a:cubicBezTo>
                      <a:cubicBezTo>
                        <a:pt x="210955" y="148195"/>
                        <a:pt x="213336" y="172865"/>
                        <a:pt x="191905" y="177341"/>
                      </a:cubicBezTo>
                      <a:lnTo>
                        <a:pt x="187428" y="173436"/>
                      </a:lnTo>
                      <a:cubicBezTo>
                        <a:pt x="190943" y="152929"/>
                        <a:pt x="180875" y="132479"/>
                        <a:pt x="162473" y="122763"/>
                      </a:cubicBezTo>
                      <a:cubicBezTo>
                        <a:pt x="157787" y="120315"/>
                        <a:pt x="152014" y="122125"/>
                        <a:pt x="149566" y="126811"/>
                      </a:cubicBezTo>
                      <a:cubicBezTo>
                        <a:pt x="147118" y="131497"/>
                        <a:pt x="148928" y="137270"/>
                        <a:pt x="153615" y="139718"/>
                      </a:cubicBezTo>
                      <a:cubicBezTo>
                        <a:pt x="164787" y="145509"/>
                        <a:pt x="170864" y="157920"/>
                        <a:pt x="168569" y="170293"/>
                      </a:cubicBezTo>
                      <a:cubicBezTo>
                        <a:pt x="162682" y="172645"/>
                        <a:pt x="156548" y="174303"/>
                        <a:pt x="150281" y="175246"/>
                      </a:cubicBezTo>
                      <a:close/>
                      <a:moveTo>
                        <a:pt x="80177" y="129240"/>
                      </a:moveTo>
                      <a:cubicBezTo>
                        <a:pt x="78300" y="134136"/>
                        <a:pt x="80729" y="139622"/>
                        <a:pt x="85606" y="141527"/>
                      </a:cubicBezTo>
                      <a:cubicBezTo>
                        <a:pt x="86711" y="141899"/>
                        <a:pt x="87873" y="142099"/>
                        <a:pt x="89035" y="142099"/>
                      </a:cubicBezTo>
                      <a:cubicBezTo>
                        <a:pt x="92998" y="142127"/>
                        <a:pt x="96560" y="139699"/>
                        <a:pt x="97989" y="136003"/>
                      </a:cubicBezTo>
                      <a:lnTo>
                        <a:pt x="126564" y="61327"/>
                      </a:lnTo>
                      <a:lnTo>
                        <a:pt x="80463" y="61327"/>
                      </a:lnTo>
                      <a:lnTo>
                        <a:pt x="103989" y="13702"/>
                      </a:lnTo>
                      <a:cubicBezTo>
                        <a:pt x="106304" y="8977"/>
                        <a:pt x="104361" y="3272"/>
                        <a:pt x="99636" y="957"/>
                      </a:cubicBezTo>
                      <a:cubicBezTo>
                        <a:pt x="99627" y="948"/>
                        <a:pt x="99617" y="948"/>
                        <a:pt x="99608" y="938"/>
                      </a:cubicBezTo>
                      <a:cubicBezTo>
                        <a:pt x="94883" y="-1376"/>
                        <a:pt x="89178" y="567"/>
                        <a:pt x="86863" y="5291"/>
                      </a:cubicBezTo>
                      <a:cubicBezTo>
                        <a:pt x="86854" y="5301"/>
                        <a:pt x="86854" y="5310"/>
                        <a:pt x="86844" y="5320"/>
                      </a:cubicBezTo>
                      <a:lnTo>
                        <a:pt x="49983" y="80853"/>
                      </a:lnTo>
                      <a:lnTo>
                        <a:pt x="98846" y="80853"/>
                      </a:lnTo>
                      <a:close/>
                    </a:path>
                  </a:pathLst>
                </a:custGeom>
                <a:solidFill>
                  <a:srgbClr val="0019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grpSp>
              <p:nvGrpSpPr>
                <p:cNvPr id="90" name="Group 89">
                  <a:extLst>
                    <a:ext uri="{FF2B5EF4-FFF2-40B4-BE49-F238E27FC236}">
                      <a16:creationId xmlns:a16="http://schemas.microsoft.com/office/drawing/2014/main" id="{B23F8439-7B3B-E3B2-282F-63CFEF61C329}"/>
                    </a:ext>
                  </a:extLst>
                </p:cNvPr>
                <p:cNvGrpSpPr>
                  <a:grpSpLocks noChangeAspect="1"/>
                </p:cNvGrpSpPr>
                <p:nvPr/>
              </p:nvGrpSpPr>
              <p:grpSpPr>
                <a:xfrm>
                  <a:off x="7433616" y="3654053"/>
                  <a:ext cx="365073" cy="432000"/>
                  <a:chOff x="1253470" y="2457504"/>
                  <a:chExt cx="486765" cy="576000"/>
                </a:xfrm>
              </p:grpSpPr>
              <p:sp>
                <p:nvSpPr>
                  <p:cNvPr id="88" name="Heart Healthy Icon">
                    <a:extLst>
                      <a:ext uri="{FF2B5EF4-FFF2-40B4-BE49-F238E27FC236}">
                        <a16:creationId xmlns:a16="http://schemas.microsoft.com/office/drawing/2014/main" id="{388D3045-6E81-3337-B18F-D02FBE0110EA}"/>
                      </a:ext>
                    </a:extLst>
                  </p:cNvPr>
                  <p:cNvSpPr>
                    <a:spLocks noChangeAspect="1"/>
                  </p:cNvSpPr>
                  <p:nvPr/>
                </p:nvSpPr>
                <p:spPr>
                  <a:xfrm>
                    <a:off x="1253470" y="2457504"/>
                    <a:ext cx="486765" cy="576000"/>
                  </a:xfrm>
                  <a:custGeom>
                    <a:avLst/>
                    <a:gdLst>
                      <a:gd name="connsiteX0" fmla="*/ 83892 w 349257"/>
                      <a:gd name="connsiteY0" fmla="*/ 31580 h 413284"/>
                      <a:gd name="connsiteX1" fmla="*/ 87416 w 349257"/>
                      <a:gd name="connsiteY1" fmla="*/ 18531 h 413284"/>
                      <a:gd name="connsiteX2" fmla="*/ 100465 w 349257"/>
                      <a:gd name="connsiteY2" fmla="*/ 22055 h 413284"/>
                      <a:gd name="connsiteX3" fmla="*/ 123039 w 349257"/>
                      <a:gd name="connsiteY3" fmla="*/ 61870 h 413284"/>
                      <a:gd name="connsiteX4" fmla="*/ 153996 w 349257"/>
                      <a:gd name="connsiteY4" fmla="*/ 72061 h 413284"/>
                      <a:gd name="connsiteX5" fmla="*/ 163521 w 349257"/>
                      <a:gd name="connsiteY5" fmla="*/ 53011 h 413284"/>
                      <a:gd name="connsiteX6" fmla="*/ 150090 w 349257"/>
                      <a:gd name="connsiteY6" fmla="*/ 12530 h 413284"/>
                      <a:gd name="connsiteX7" fmla="*/ 156084 w 349257"/>
                      <a:gd name="connsiteY7" fmla="*/ 472 h 413284"/>
                      <a:gd name="connsiteX8" fmla="*/ 156186 w 349257"/>
                      <a:gd name="connsiteY8" fmla="*/ 433 h 413284"/>
                      <a:gd name="connsiteX9" fmla="*/ 168188 w 349257"/>
                      <a:gd name="connsiteY9" fmla="*/ 6530 h 413284"/>
                      <a:gd name="connsiteX10" fmla="*/ 184095 w 349257"/>
                      <a:gd name="connsiteY10" fmla="*/ 54155 h 413284"/>
                      <a:gd name="connsiteX11" fmla="*/ 164187 w 349257"/>
                      <a:gd name="connsiteY11" fmla="*/ 95683 h 413284"/>
                      <a:gd name="connsiteX12" fmla="*/ 110562 w 349257"/>
                      <a:gd name="connsiteY12" fmla="*/ 78062 h 413284"/>
                      <a:gd name="connsiteX13" fmla="*/ 329160 w 349257"/>
                      <a:gd name="connsiteY13" fmla="*/ 339619 h 413284"/>
                      <a:gd name="connsiteX14" fmla="*/ 240387 w 349257"/>
                      <a:gd name="connsiteY14" fmla="*/ 413247 h 413284"/>
                      <a:gd name="connsiteX15" fmla="*/ 235911 w 349257"/>
                      <a:gd name="connsiteY15" fmla="*/ 413247 h 413284"/>
                      <a:gd name="connsiteX16" fmla="*/ 54459 w 349257"/>
                      <a:gd name="connsiteY16" fmla="*/ 282659 h 413284"/>
                      <a:gd name="connsiteX17" fmla="*/ 45411 w 349257"/>
                      <a:gd name="connsiteY17" fmla="*/ 159406 h 413284"/>
                      <a:gd name="connsiteX18" fmla="*/ 157425 w 349257"/>
                      <a:gd name="connsiteY18" fmla="*/ 121306 h 413284"/>
                      <a:gd name="connsiteX19" fmla="*/ 164664 w 349257"/>
                      <a:gd name="connsiteY19" fmla="*/ 124163 h 413284"/>
                      <a:gd name="connsiteX20" fmla="*/ 180475 w 349257"/>
                      <a:gd name="connsiteY20" fmla="*/ 94445 h 413284"/>
                      <a:gd name="connsiteX21" fmla="*/ 237625 w 349257"/>
                      <a:gd name="connsiteY21" fmla="*/ 5767 h 413284"/>
                      <a:gd name="connsiteX22" fmla="*/ 257532 w 349257"/>
                      <a:gd name="connsiteY22" fmla="*/ 4148 h 413284"/>
                      <a:gd name="connsiteX23" fmla="*/ 276582 w 349257"/>
                      <a:gd name="connsiteY23" fmla="*/ 19960 h 413284"/>
                      <a:gd name="connsiteX24" fmla="*/ 281726 w 349257"/>
                      <a:gd name="connsiteY24" fmla="*/ 29485 h 413284"/>
                      <a:gd name="connsiteX25" fmla="*/ 278297 w 349257"/>
                      <a:gd name="connsiteY25" fmla="*/ 40057 h 413284"/>
                      <a:gd name="connsiteX26" fmla="*/ 264867 w 349257"/>
                      <a:gd name="connsiteY26" fmla="*/ 55583 h 413284"/>
                      <a:gd name="connsiteX27" fmla="*/ 247912 w 349257"/>
                      <a:gd name="connsiteY27" fmla="*/ 105875 h 413284"/>
                      <a:gd name="connsiteX28" fmla="*/ 249055 w 349257"/>
                      <a:gd name="connsiteY28" fmla="*/ 111305 h 413284"/>
                      <a:gd name="connsiteX29" fmla="*/ 290013 w 349257"/>
                      <a:gd name="connsiteY29" fmla="*/ 116924 h 413284"/>
                      <a:gd name="connsiteX30" fmla="*/ 329160 w 349257"/>
                      <a:gd name="connsiteY30" fmla="*/ 339619 h 413284"/>
                      <a:gd name="connsiteX31" fmla="*/ 283155 w 349257"/>
                      <a:gd name="connsiteY31" fmla="*/ 135117 h 413284"/>
                      <a:gd name="connsiteX32" fmla="*/ 252294 w 349257"/>
                      <a:gd name="connsiteY32" fmla="*/ 130735 h 413284"/>
                      <a:gd name="connsiteX33" fmla="*/ 209336 w 349257"/>
                      <a:gd name="connsiteY33" fmla="*/ 262847 h 413284"/>
                      <a:gd name="connsiteX34" fmla="*/ 195938 w 349257"/>
                      <a:gd name="connsiteY34" fmla="*/ 264247 h 413284"/>
                      <a:gd name="connsiteX35" fmla="*/ 194539 w 349257"/>
                      <a:gd name="connsiteY35" fmla="*/ 250846 h 413284"/>
                      <a:gd name="connsiteX36" fmla="*/ 195429 w 349257"/>
                      <a:gd name="connsiteY36" fmla="*/ 249893 h 413284"/>
                      <a:gd name="connsiteX37" fmla="*/ 229624 w 349257"/>
                      <a:gd name="connsiteY37" fmla="*/ 110066 h 413284"/>
                      <a:gd name="connsiteX38" fmla="*/ 229624 w 349257"/>
                      <a:gd name="connsiteY38" fmla="*/ 108542 h 413284"/>
                      <a:gd name="connsiteX39" fmla="*/ 251151 w 349257"/>
                      <a:gd name="connsiteY39" fmla="*/ 43677 h 413284"/>
                      <a:gd name="connsiteX40" fmla="*/ 261342 w 349257"/>
                      <a:gd name="connsiteY40" fmla="*/ 31866 h 413284"/>
                      <a:gd name="connsiteX41" fmla="*/ 249627 w 349257"/>
                      <a:gd name="connsiteY41" fmla="*/ 22341 h 413284"/>
                      <a:gd name="connsiteX42" fmla="*/ 198668 w 349257"/>
                      <a:gd name="connsiteY42" fmla="*/ 101494 h 413284"/>
                      <a:gd name="connsiteX43" fmla="*/ 176760 w 349257"/>
                      <a:gd name="connsiteY43" fmla="*/ 140927 h 413284"/>
                      <a:gd name="connsiteX44" fmla="*/ 174093 w 349257"/>
                      <a:gd name="connsiteY44" fmla="*/ 144356 h 413284"/>
                      <a:gd name="connsiteX45" fmla="*/ 169712 w 349257"/>
                      <a:gd name="connsiteY45" fmla="*/ 144356 h 413284"/>
                      <a:gd name="connsiteX46" fmla="*/ 150662 w 349257"/>
                      <a:gd name="connsiteY46" fmla="*/ 139022 h 413284"/>
                      <a:gd name="connsiteX47" fmla="*/ 117420 w 349257"/>
                      <a:gd name="connsiteY47" fmla="*/ 132164 h 413284"/>
                      <a:gd name="connsiteX48" fmla="*/ 63127 w 349257"/>
                      <a:gd name="connsiteY48" fmla="*/ 167883 h 413284"/>
                      <a:gd name="connsiteX49" fmla="*/ 71604 w 349257"/>
                      <a:gd name="connsiteY49" fmla="*/ 272658 h 413284"/>
                      <a:gd name="connsiteX50" fmla="*/ 237435 w 349257"/>
                      <a:gd name="connsiteY50" fmla="*/ 393816 h 413284"/>
                      <a:gd name="connsiteX51" fmla="*/ 311634 w 349257"/>
                      <a:gd name="connsiteY51" fmla="*/ 333808 h 413284"/>
                      <a:gd name="connsiteX52" fmla="*/ 283155 w 349257"/>
                      <a:gd name="connsiteY52" fmla="*/ 135117 h 413284"/>
                      <a:gd name="connsiteX53" fmla="*/ 87987 w 349257"/>
                      <a:gd name="connsiteY53" fmla="*/ 101875 h 413284"/>
                      <a:gd name="connsiteX54" fmla="*/ 95798 w 349257"/>
                      <a:gd name="connsiteY54" fmla="*/ 106066 h 413284"/>
                      <a:gd name="connsiteX55" fmla="*/ 101132 w 349257"/>
                      <a:gd name="connsiteY55" fmla="*/ 104447 h 413284"/>
                      <a:gd name="connsiteX56" fmla="*/ 103717 w 349257"/>
                      <a:gd name="connsiteY56" fmla="*/ 91226 h 413284"/>
                      <a:gd name="connsiteX57" fmla="*/ 103704 w 349257"/>
                      <a:gd name="connsiteY57" fmla="*/ 91207 h 413284"/>
                      <a:gd name="connsiteX58" fmla="*/ 75129 w 349257"/>
                      <a:gd name="connsiteY58" fmla="*/ 48535 h 413284"/>
                      <a:gd name="connsiteX59" fmla="*/ 6739 w 349257"/>
                      <a:gd name="connsiteY59" fmla="*/ 62917 h 413284"/>
                      <a:gd name="connsiteX60" fmla="*/ 372 w 349257"/>
                      <a:gd name="connsiteY60" fmla="*/ 74786 h 413284"/>
                      <a:gd name="connsiteX61" fmla="*/ 10644 w 349257"/>
                      <a:gd name="connsiteY61" fmla="*/ 81491 h 413284"/>
                      <a:gd name="connsiteX62" fmla="*/ 66556 w 349257"/>
                      <a:gd name="connsiteY62" fmla="*/ 69775 h 41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49257" h="413284">
                        <a:moveTo>
                          <a:pt x="83892" y="31580"/>
                        </a:moveTo>
                        <a:cubicBezTo>
                          <a:pt x="81262" y="26999"/>
                          <a:pt x="82839" y="21160"/>
                          <a:pt x="87416" y="18531"/>
                        </a:cubicBezTo>
                        <a:cubicBezTo>
                          <a:pt x="91993" y="15902"/>
                          <a:pt x="97835" y="17483"/>
                          <a:pt x="100465" y="22055"/>
                        </a:cubicBezTo>
                        <a:lnTo>
                          <a:pt x="123039" y="61870"/>
                        </a:lnTo>
                        <a:lnTo>
                          <a:pt x="153996" y="72061"/>
                        </a:lnTo>
                        <a:lnTo>
                          <a:pt x="163521" y="53011"/>
                        </a:lnTo>
                        <a:lnTo>
                          <a:pt x="150090" y="12530"/>
                        </a:lnTo>
                        <a:cubicBezTo>
                          <a:pt x="148415" y="7539"/>
                          <a:pt x="151098" y="2138"/>
                          <a:pt x="156084" y="472"/>
                        </a:cubicBezTo>
                        <a:cubicBezTo>
                          <a:pt x="156119" y="453"/>
                          <a:pt x="156152" y="443"/>
                          <a:pt x="156186" y="433"/>
                        </a:cubicBezTo>
                        <a:cubicBezTo>
                          <a:pt x="161183" y="-1195"/>
                          <a:pt x="166554" y="1538"/>
                          <a:pt x="168188" y="6530"/>
                        </a:cubicBezTo>
                        <a:lnTo>
                          <a:pt x="184095" y="54155"/>
                        </a:lnTo>
                        <a:lnTo>
                          <a:pt x="164187" y="95683"/>
                        </a:lnTo>
                        <a:lnTo>
                          <a:pt x="110562" y="78062"/>
                        </a:lnTo>
                        <a:close/>
                        <a:moveTo>
                          <a:pt x="329160" y="339619"/>
                        </a:moveTo>
                        <a:cubicBezTo>
                          <a:pt x="322779" y="364955"/>
                          <a:pt x="295728" y="413247"/>
                          <a:pt x="240387" y="413247"/>
                        </a:cubicBezTo>
                        <a:lnTo>
                          <a:pt x="235911" y="413247"/>
                        </a:lnTo>
                        <a:cubicBezTo>
                          <a:pt x="186762" y="410961"/>
                          <a:pt x="94941" y="352192"/>
                          <a:pt x="54459" y="282659"/>
                        </a:cubicBezTo>
                        <a:cubicBezTo>
                          <a:pt x="29409" y="239606"/>
                          <a:pt x="26361" y="196934"/>
                          <a:pt x="45411" y="159406"/>
                        </a:cubicBezTo>
                        <a:cubicBezTo>
                          <a:pt x="67223" y="116734"/>
                          <a:pt x="109133" y="102256"/>
                          <a:pt x="157425" y="121306"/>
                        </a:cubicBezTo>
                        <a:cubicBezTo>
                          <a:pt x="159777" y="122401"/>
                          <a:pt x="162195" y="123354"/>
                          <a:pt x="164664" y="124163"/>
                        </a:cubicBezTo>
                        <a:cubicBezTo>
                          <a:pt x="171217" y="114991"/>
                          <a:pt x="176533" y="104999"/>
                          <a:pt x="180475" y="94445"/>
                        </a:cubicBezTo>
                        <a:cubicBezTo>
                          <a:pt x="195231" y="62327"/>
                          <a:pt x="214473" y="32476"/>
                          <a:pt x="237625" y="5767"/>
                        </a:cubicBezTo>
                        <a:cubicBezTo>
                          <a:pt x="242743" y="-43"/>
                          <a:pt x="251543" y="-757"/>
                          <a:pt x="257532" y="4148"/>
                        </a:cubicBezTo>
                        <a:lnTo>
                          <a:pt x="276582" y="19960"/>
                        </a:lnTo>
                        <a:cubicBezTo>
                          <a:pt x="279448" y="22360"/>
                          <a:pt x="281289" y="25770"/>
                          <a:pt x="281726" y="29485"/>
                        </a:cubicBezTo>
                        <a:cubicBezTo>
                          <a:pt x="282068" y="33333"/>
                          <a:pt x="280830" y="37143"/>
                          <a:pt x="278297" y="40057"/>
                        </a:cubicBezTo>
                        <a:lnTo>
                          <a:pt x="264867" y="55583"/>
                        </a:lnTo>
                        <a:cubicBezTo>
                          <a:pt x="252905" y="69509"/>
                          <a:pt x="246825" y="87549"/>
                          <a:pt x="247912" y="105875"/>
                        </a:cubicBezTo>
                        <a:lnTo>
                          <a:pt x="249055" y="111305"/>
                        </a:lnTo>
                        <a:cubicBezTo>
                          <a:pt x="262964" y="109647"/>
                          <a:pt x="277065" y="111581"/>
                          <a:pt x="290013" y="116924"/>
                        </a:cubicBezTo>
                        <a:cubicBezTo>
                          <a:pt x="392121" y="159501"/>
                          <a:pt x="331732" y="332284"/>
                          <a:pt x="329160" y="339619"/>
                        </a:cubicBezTo>
                        <a:close/>
                        <a:moveTo>
                          <a:pt x="283155" y="135117"/>
                        </a:moveTo>
                        <a:cubicBezTo>
                          <a:pt x="273395" y="131097"/>
                          <a:pt x="262785" y="129592"/>
                          <a:pt x="252294" y="130735"/>
                        </a:cubicBezTo>
                        <a:cubicBezTo>
                          <a:pt x="257972" y="178932"/>
                          <a:pt x="242277" y="227205"/>
                          <a:pt x="209336" y="262847"/>
                        </a:cubicBezTo>
                        <a:cubicBezTo>
                          <a:pt x="206023" y="266933"/>
                          <a:pt x="200024" y="267562"/>
                          <a:pt x="195938" y="264247"/>
                        </a:cubicBezTo>
                        <a:cubicBezTo>
                          <a:pt x="191853" y="260933"/>
                          <a:pt x="191226" y="254932"/>
                          <a:pt x="194539" y="250846"/>
                        </a:cubicBezTo>
                        <a:cubicBezTo>
                          <a:pt x="194814" y="250512"/>
                          <a:pt x="195111" y="250189"/>
                          <a:pt x="195429" y="249893"/>
                        </a:cubicBezTo>
                        <a:cubicBezTo>
                          <a:pt x="243816" y="197887"/>
                          <a:pt x="235434" y="134831"/>
                          <a:pt x="229624" y="110066"/>
                        </a:cubicBezTo>
                        <a:lnTo>
                          <a:pt x="229624" y="108542"/>
                        </a:lnTo>
                        <a:cubicBezTo>
                          <a:pt x="227951" y="84930"/>
                          <a:pt x="235690" y="61603"/>
                          <a:pt x="251151" y="43677"/>
                        </a:cubicBezTo>
                        <a:lnTo>
                          <a:pt x="261342" y="31866"/>
                        </a:lnTo>
                        <a:lnTo>
                          <a:pt x="249627" y="22341"/>
                        </a:lnTo>
                        <a:cubicBezTo>
                          <a:pt x="229191" y="46334"/>
                          <a:pt x="212053" y="72957"/>
                          <a:pt x="198668" y="101494"/>
                        </a:cubicBezTo>
                        <a:cubicBezTo>
                          <a:pt x="193362" y="115648"/>
                          <a:pt x="185979" y="128945"/>
                          <a:pt x="176760" y="140927"/>
                        </a:cubicBezTo>
                        <a:lnTo>
                          <a:pt x="174093" y="144356"/>
                        </a:lnTo>
                        <a:lnTo>
                          <a:pt x="169712" y="144356"/>
                        </a:lnTo>
                        <a:cubicBezTo>
                          <a:pt x="163029" y="144109"/>
                          <a:pt x="156501" y="142280"/>
                          <a:pt x="150662" y="139022"/>
                        </a:cubicBezTo>
                        <a:cubicBezTo>
                          <a:pt x="140090" y="134736"/>
                          <a:pt x="128825" y="132412"/>
                          <a:pt x="117420" y="132164"/>
                        </a:cubicBezTo>
                        <a:cubicBezTo>
                          <a:pt x="93748" y="131945"/>
                          <a:pt x="72293" y="146061"/>
                          <a:pt x="63127" y="167883"/>
                        </a:cubicBezTo>
                        <a:cubicBezTo>
                          <a:pt x="46839" y="199792"/>
                          <a:pt x="49697" y="235130"/>
                          <a:pt x="71604" y="272658"/>
                        </a:cubicBezTo>
                        <a:cubicBezTo>
                          <a:pt x="110943" y="340285"/>
                          <a:pt x="197906" y="392006"/>
                          <a:pt x="237435" y="393816"/>
                        </a:cubicBezTo>
                        <a:cubicBezTo>
                          <a:pt x="295156" y="396578"/>
                          <a:pt x="310968" y="336666"/>
                          <a:pt x="311634" y="333808"/>
                        </a:cubicBezTo>
                        <a:cubicBezTo>
                          <a:pt x="312301" y="330951"/>
                          <a:pt x="368118" y="170169"/>
                          <a:pt x="283155" y="135117"/>
                        </a:cubicBezTo>
                        <a:close/>
                        <a:moveTo>
                          <a:pt x="87987" y="101875"/>
                        </a:moveTo>
                        <a:cubicBezTo>
                          <a:pt x="89743" y="104475"/>
                          <a:pt x="92663" y="106037"/>
                          <a:pt x="95798" y="106066"/>
                        </a:cubicBezTo>
                        <a:cubicBezTo>
                          <a:pt x="97697" y="106066"/>
                          <a:pt x="99555" y="105504"/>
                          <a:pt x="101132" y="104447"/>
                        </a:cubicBezTo>
                        <a:cubicBezTo>
                          <a:pt x="105496" y="101513"/>
                          <a:pt x="106654" y="95588"/>
                          <a:pt x="103717" y="91226"/>
                        </a:cubicBezTo>
                        <a:cubicBezTo>
                          <a:pt x="103712" y="91216"/>
                          <a:pt x="103708" y="91216"/>
                          <a:pt x="103704" y="91207"/>
                        </a:cubicBezTo>
                        <a:lnTo>
                          <a:pt x="75129" y="48535"/>
                        </a:lnTo>
                        <a:lnTo>
                          <a:pt x="6739" y="62917"/>
                        </a:lnTo>
                        <a:cubicBezTo>
                          <a:pt x="1703" y="64441"/>
                          <a:pt x="-1148" y="69757"/>
                          <a:pt x="372" y="74786"/>
                        </a:cubicBezTo>
                        <a:cubicBezTo>
                          <a:pt x="1711" y="79224"/>
                          <a:pt x="6046" y="82053"/>
                          <a:pt x="10644" y="81491"/>
                        </a:cubicBezTo>
                        <a:lnTo>
                          <a:pt x="66556" y="69775"/>
                        </a:lnTo>
                        <a:close/>
                      </a:path>
                    </a:pathLst>
                  </a:custGeom>
                  <a:solidFill>
                    <a:srgbClr val="0019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9" name="Brain Stroke Icon">
                    <a:extLst>
                      <a:ext uri="{FF2B5EF4-FFF2-40B4-BE49-F238E27FC236}">
                        <a16:creationId xmlns:a16="http://schemas.microsoft.com/office/drawing/2014/main" id="{FC068D29-E4DC-CEB2-0D5C-C15EFF98432A}"/>
                      </a:ext>
                    </a:extLst>
                  </p:cNvPr>
                  <p:cNvSpPr>
                    <a:spLocks noChangeAspect="1"/>
                  </p:cNvSpPr>
                  <p:nvPr/>
                </p:nvSpPr>
                <p:spPr>
                  <a:xfrm>
                    <a:off x="1398363" y="2690623"/>
                    <a:ext cx="109293" cy="202852"/>
                  </a:xfrm>
                  <a:custGeom>
                    <a:avLst/>
                    <a:gdLst>
                      <a:gd name="connsiteX0" fmla="*/ 408408 w 409498"/>
                      <a:gd name="connsiteY0" fmla="*/ 239254 h 403597"/>
                      <a:gd name="connsiteX1" fmla="*/ 371261 w 409498"/>
                      <a:gd name="connsiteY1" fmla="*/ 291356 h 403597"/>
                      <a:gd name="connsiteX2" fmla="*/ 253151 w 409498"/>
                      <a:gd name="connsiteY2" fmla="*/ 298404 h 403597"/>
                      <a:gd name="connsiteX3" fmla="*/ 182285 w 409498"/>
                      <a:gd name="connsiteY3" fmla="*/ 330027 h 403597"/>
                      <a:gd name="connsiteX4" fmla="*/ 143328 w 409498"/>
                      <a:gd name="connsiteY4" fmla="*/ 403560 h 403597"/>
                      <a:gd name="connsiteX5" fmla="*/ 96560 w 409498"/>
                      <a:gd name="connsiteY5" fmla="*/ 403560 h 403597"/>
                      <a:gd name="connsiteX6" fmla="*/ 98560 w 409498"/>
                      <a:gd name="connsiteY6" fmla="*/ 392321 h 403597"/>
                      <a:gd name="connsiteX7" fmla="*/ 108085 w 409498"/>
                      <a:gd name="connsiteY7" fmla="*/ 326789 h 403597"/>
                      <a:gd name="connsiteX8" fmla="*/ 91797 w 409498"/>
                      <a:gd name="connsiteY8" fmla="*/ 326789 h 403597"/>
                      <a:gd name="connsiteX9" fmla="*/ 15597 w 409498"/>
                      <a:gd name="connsiteY9" fmla="*/ 280973 h 403597"/>
                      <a:gd name="connsiteX10" fmla="*/ 20169 w 409498"/>
                      <a:gd name="connsiteY10" fmla="*/ 145623 h 403597"/>
                      <a:gd name="connsiteX11" fmla="*/ 33219 w 409498"/>
                      <a:gd name="connsiteY11" fmla="*/ 142289 h 403597"/>
                      <a:gd name="connsiteX12" fmla="*/ 36552 w 409498"/>
                      <a:gd name="connsiteY12" fmla="*/ 155339 h 403597"/>
                      <a:gd name="connsiteX13" fmla="*/ 32171 w 409498"/>
                      <a:gd name="connsiteY13" fmla="*/ 271544 h 403597"/>
                      <a:gd name="connsiteX14" fmla="*/ 91797 w 409498"/>
                      <a:gd name="connsiteY14" fmla="*/ 307739 h 403597"/>
                      <a:gd name="connsiteX15" fmla="*/ 129897 w 409498"/>
                      <a:gd name="connsiteY15" fmla="*/ 307739 h 403597"/>
                      <a:gd name="connsiteX16" fmla="*/ 128373 w 409498"/>
                      <a:gd name="connsiteY16" fmla="*/ 318597 h 403597"/>
                      <a:gd name="connsiteX17" fmla="*/ 118848 w 409498"/>
                      <a:gd name="connsiteY17" fmla="*/ 384415 h 403597"/>
                      <a:gd name="connsiteX18" fmla="*/ 131517 w 409498"/>
                      <a:gd name="connsiteY18" fmla="*/ 384415 h 403597"/>
                      <a:gd name="connsiteX19" fmla="*/ 172950 w 409498"/>
                      <a:gd name="connsiteY19" fmla="*/ 305738 h 403597"/>
                      <a:gd name="connsiteX20" fmla="*/ 180475 w 409498"/>
                      <a:gd name="connsiteY20" fmla="*/ 310215 h 403597"/>
                      <a:gd name="connsiteX21" fmla="*/ 238482 w 409498"/>
                      <a:gd name="connsiteY21" fmla="*/ 283545 h 403597"/>
                      <a:gd name="connsiteX22" fmla="*/ 241626 w 409498"/>
                      <a:gd name="connsiteY22" fmla="*/ 274592 h 403597"/>
                      <a:gd name="connsiteX23" fmla="*/ 250579 w 409498"/>
                      <a:gd name="connsiteY23" fmla="*/ 277640 h 403597"/>
                      <a:gd name="connsiteX24" fmla="*/ 360879 w 409498"/>
                      <a:gd name="connsiteY24" fmla="*/ 274973 h 403597"/>
                      <a:gd name="connsiteX25" fmla="*/ 389454 w 409498"/>
                      <a:gd name="connsiteY25" fmla="*/ 236206 h 403597"/>
                      <a:gd name="connsiteX26" fmla="*/ 344591 w 409498"/>
                      <a:gd name="connsiteY26" fmla="*/ 161244 h 403597"/>
                      <a:gd name="connsiteX27" fmla="*/ 339924 w 409498"/>
                      <a:gd name="connsiteY27" fmla="*/ 159149 h 403597"/>
                      <a:gd name="connsiteX28" fmla="*/ 339162 w 409498"/>
                      <a:gd name="connsiteY28" fmla="*/ 154100 h 403597"/>
                      <a:gd name="connsiteX29" fmla="*/ 315540 w 409498"/>
                      <a:gd name="connsiteY29" fmla="*/ 111143 h 403597"/>
                      <a:gd name="connsiteX30" fmla="*/ 264105 w 409498"/>
                      <a:gd name="connsiteY30" fmla="*/ 101046 h 403597"/>
                      <a:gd name="connsiteX31" fmla="*/ 258961 w 409498"/>
                      <a:gd name="connsiteY31" fmla="*/ 101998 h 403597"/>
                      <a:gd name="connsiteX32" fmla="*/ 255342 w 409498"/>
                      <a:gd name="connsiteY32" fmla="*/ 98189 h 403597"/>
                      <a:gd name="connsiteX33" fmla="*/ 159330 w 409498"/>
                      <a:gd name="connsiteY33" fmla="*/ 93331 h 403597"/>
                      <a:gd name="connsiteX34" fmla="*/ 145947 w 409498"/>
                      <a:gd name="connsiteY34" fmla="*/ 91759 h 403597"/>
                      <a:gd name="connsiteX35" fmla="*/ 147519 w 409498"/>
                      <a:gd name="connsiteY35" fmla="*/ 78377 h 403597"/>
                      <a:gd name="connsiteX36" fmla="*/ 265819 w 409498"/>
                      <a:gd name="connsiteY36" fmla="*/ 81615 h 403597"/>
                      <a:gd name="connsiteX37" fmla="*/ 326398 w 409498"/>
                      <a:gd name="connsiteY37" fmla="*/ 95522 h 403597"/>
                      <a:gd name="connsiteX38" fmla="*/ 357069 w 409498"/>
                      <a:gd name="connsiteY38" fmla="*/ 146290 h 403597"/>
                      <a:gd name="connsiteX39" fmla="*/ 408408 w 409498"/>
                      <a:gd name="connsiteY39" fmla="*/ 239254 h 403597"/>
                      <a:gd name="connsiteX40" fmla="*/ 150281 w 409498"/>
                      <a:gd name="connsiteY40" fmla="*/ 175246 h 403597"/>
                      <a:gd name="connsiteX41" fmla="*/ 119039 w 409498"/>
                      <a:gd name="connsiteY41" fmla="*/ 194296 h 403597"/>
                      <a:gd name="connsiteX42" fmla="*/ 86463 w 409498"/>
                      <a:gd name="connsiteY42" fmla="*/ 176865 h 403597"/>
                      <a:gd name="connsiteX43" fmla="*/ 75129 w 409498"/>
                      <a:gd name="connsiteY43" fmla="*/ 169150 h 403597"/>
                      <a:gd name="connsiteX44" fmla="*/ 67413 w 409498"/>
                      <a:gd name="connsiteY44" fmla="*/ 180485 h 403597"/>
                      <a:gd name="connsiteX45" fmla="*/ 110752 w 409498"/>
                      <a:gd name="connsiteY45" fmla="*/ 212679 h 403597"/>
                      <a:gd name="connsiteX46" fmla="*/ 109990 w 409498"/>
                      <a:gd name="connsiteY46" fmla="*/ 218775 h 403597"/>
                      <a:gd name="connsiteX47" fmla="*/ 112848 w 409498"/>
                      <a:gd name="connsiteY47" fmla="*/ 239063 h 403597"/>
                      <a:gd name="connsiteX48" fmla="*/ 84273 w 409498"/>
                      <a:gd name="connsiteY48" fmla="*/ 246493 h 403597"/>
                      <a:gd name="connsiteX49" fmla="*/ 80939 w 409498"/>
                      <a:gd name="connsiteY49" fmla="*/ 259542 h 403597"/>
                      <a:gd name="connsiteX50" fmla="*/ 89035 w 409498"/>
                      <a:gd name="connsiteY50" fmla="*/ 264209 h 403597"/>
                      <a:gd name="connsiteX51" fmla="*/ 93702 w 409498"/>
                      <a:gd name="connsiteY51" fmla="*/ 263066 h 403597"/>
                      <a:gd name="connsiteX52" fmla="*/ 123706 w 409498"/>
                      <a:gd name="connsiteY52" fmla="*/ 260876 h 403597"/>
                      <a:gd name="connsiteX53" fmla="*/ 125611 w 409498"/>
                      <a:gd name="connsiteY53" fmla="*/ 261542 h 403597"/>
                      <a:gd name="connsiteX54" fmla="*/ 144661 w 409498"/>
                      <a:gd name="connsiteY54" fmla="*/ 281259 h 403597"/>
                      <a:gd name="connsiteX55" fmla="*/ 151614 w 409498"/>
                      <a:gd name="connsiteY55" fmla="*/ 284117 h 403597"/>
                      <a:gd name="connsiteX56" fmla="*/ 161101 w 409498"/>
                      <a:gd name="connsiteY56" fmla="*/ 274554 h 403597"/>
                      <a:gd name="connsiteX57" fmla="*/ 158472 w 409498"/>
                      <a:gd name="connsiteY57" fmla="*/ 268019 h 403597"/>
                      <a:gd name="connsiteX58" fmla="*/ 138851 w 409498"/>
                      <a:gd name="connsiteY58" fmla="*/ 247636 h 403597"/>
                      <a:gd name="connsiteX59" fmla="*/ 129326 w 409498"/>
                      <a:gd name="connsiteY59" fmla="*/ 219537 h 403597"/>
                      <a:gd name="connsiteX60" fmla="*/ 153329 w 409498"/>
                      <a:gd name="connsiteY60" fmla="*/ 193724 h 403597"/>
                      <a:gd name="connsiteX61" fmla="*/ 174951 w 409498"/>
                      <a:gd name="connsiteY61" fmla="*/ 187343 h 403597"/>
                      <a:gd name="connsiteX62" fmla="*/ 187333 w 409498"/>
                      <a:gd name="connsiteY62" fmla="*/ 227252 h 403597"/>
                      <a:gd name="connsiteX63" fmla="*/ 192191 w 409498"/>
                      <a:gd name="connsiteY63" fmla="*/ 239825 h 403597"/>
                      <a:gd name="connsiteX64" fmla="*/ 204764 w 409498"/>
                      <a:gd name="connsiteY64" fmla="*/ 234968 h 403597"/>
                      <a:gd name="connsiteX65" fmla="*/ 203430 w 409498"/>
                      <a:gd name="connsiteY65" fmla="*/ 192962 h 403597"/>
                      <a:gd name="connsiteX66" fmla="*/ 219528 w 409498"/>
                      <a:gd name="connsiteY66" fmla="*/ 181723 h 403597"/>
                      <a:gd name="connsiteX67" fmla="*/ 249341 w 409498"/>
                      <a:gd name="connsiteY67" fmla="*/ 192962 h 403597"/>
                      <a:gd name="connsiteX68" fmla="*/ 263724 w 409498"/>
                      <a:gd name="connsiteY68" fmla="*/ 234682 h 403597"/>
                      <a:gd name="connsiteX69" fmla="*/ 306396 w 409498"/>
                      <a:gd name="connsiteY69" fmla="*/ 246302 h 403597"/>
                      <a:gd name="connsiteX70" fmla="*/ 312111 w 409498"/>
                      <a:gd name="connsiteY70" fmla="*/ 246302 h 403597"/>
                      <a:gd name="connsiteX71" fmla="*/ 323731 w 409498"/>
                      <a:gd name="connsiteY71" fmla="*/ 257256 h 403597"/>
                      <a:gd name="connsiteX72" fmla="*/ 333256 w 409498"/>
                      <a:gd name="connsiteY72" fmla="*/ 264400 h 403597"/>
                      <a:gd name="connsiteX73" fmla="*/ 335637 w 409498"/>
                      <a:gd name="connsiteY73" fmla="*/ 264400 h 403597"/>
                      <a:gd name="connsiteX74" fmla="*/ 342495 w 409498"/>
                      <a:gd name="connsiteY74" fmla="*/ 252875 h 403597"/>
                      <a:gd name="connsiteX75" fmla="*/ 312396 w 409498"/>
                      <a:gd name="connsiteY75" fmla="*/ 227538 h 403597"/>
                      <a:gd name="connsiteX76" fmla="*/ 305919 w 409498"/>
                      <a:gd name="connsiteY76" fmla="*/ 227538 h 403597"/>
                      <a:gd name="connsiteX77" fmla="*/ 291346 w 409498"/>
                      <a:gd name="connsiteY77" fmla="*/ 227538 h 403597"/>
                      <a:gd name="connsiteX78" fmla="*/ 320588 w 409498"/>
                      <a:gd name="connsiteY78" fmla="*/ 214679 h 403597"/>
                      <a:gd name="connsiteX79" fmla="*/ 331208 w 409498"/>
                      <a:gd name="connsiteY79" fmla="*/ 206250 h 403597"/>
                      <a:gd name="connsiteX80" fmla="*/ 322779 w 409498"/>
                      <a:gd name="connsiteY80" fmla="*/ 195629 h 403597"/>
                      <a:gd name="connsiteX81" fmla="*/ 274677 w 409498"/>
                      <a:gd name="connsiteY81" fmla="*/ 218108 h 403597"/>
                      <a:gd name="connsiteX82" fmla="*/ 268677 w 409498"/>
                      <a:gd name="connsiteY82" fmla="*/ 191153 h 403597"/>
                      <a:gd name="connsiteX83" fmla="*/ 302014 w 409498"/>
                      <a:gd name="connsiteY83" fmla="*/ 165911 h 403597"/>
                      <a:gd name="connsiteX84" fmla="*/ 299442 w 409498"/>
                      <a:gd name="connsiteY84" fmla="*/ 152767 h 403597"/>
                      <a:gd name="connsiteX85" fmla="*/ 286212 w 409498"/>
                      <a:gd name="connsiteY85" fmla="*/ 155320 h 403597"/>
                      <a:gd name="connsiteX86" fmla="*/ 286203 w 409498"/>
                      <a:gd name="connsiteY86" fmla="*/ 155339 h 403597"/>
                      <a:gd name="connsiteX87" fmla="*/ 257628 w 409498"/>
                      <a:gd name="connsiteY87" fmla="*/ 174389 h 403597"/>
                      <a:gd name="connsiteX88" fmla="*/ 228291 w 409498"/>
                      <a:gd name="connsiteY88" fmla="*/ 164864 h 403597"/>
                      <a:gd name="connsiteX89" fmla="*/ 230005 w 409498"/>
                      <a:gd name="connsiteY89" fmla="*/ 143051 h 403597"/>
                      <a:gd name="connsiteX90" fmla="*/ 219337 w 409498"/>
                      <a:gd name="connsiteY90" fmla="*/ 134669 h 403597"/>
                      <a:gd name="connsiteX91" fmla="*/ 210955 w 409498"/>
                      <a:gd name="connsiteY91" fmla="*/ 145337 h 403597"/>
                      <a:gd name="connsiteX92" fmla="*/ 191905 w 409498"/>
                      <a:gd name="connsiteY92" fmla="*/ 177341 h 403597"/>
                      <a:gd name="connsiteX93" fmla="*/ 187428 w 409498"/>
                      <a:gd name="connsiteY93" fmla="*/ 173436 h 403597"/>
                      <a:gd name="connsiteX94" fmla="*/ 162473 w 409498"/>
                      <a:gd name="connsiteY94" fmla="*/ 122763 h 403597"/>
                      <a:gd name="connsiteX95" fmla="*/ 149566 w 409498"/>
                      <a:gd name="connsiteY95" fmla="*/ 126811 h 403597"/>
                      <a:gd name="connsiteX96" fmla="*/ 153615 w 409498"/>
                      <a:gd name="connsiteY96" fmla="*/ 139718 h 403597"/>
                      <a:gd name="connsiteX97" fmla="*/ 168569 w 409498"/>
                      <a:gd name="connsiteY97" fmla="*/ 170293 h 403597"/>
                      <a:gd name="connsiteX98" fmla="*/ 150281 w 409498"/>
                      <a:gd name="connsiteY98" fmla="*/ 175246 h 403597"/>
                      <a:gd name="connsiteX99" fmla="*/ 80177 w 409498"/>
                      <a:gd name="connsiteY99" fmla="*/ 129240 h 403597"/>
                      <a:gd name="connsiteX100" fmla="*/ 85606 w 409498"/>
                      <a:gd name="connsiteY100" fmla="*/ 141527 h 403597"/>
                      <a:gd name="connsiteX101" fmla="*/ 89035 w 409498"/>
                      <a:gd name="connsiteY101" fmla="*/ 142099 h 403597"/>
                      <a:gd name="connsiteX102" fmla="*/ 97989 w 409498"/>
                      <a:gd name="connsiteY102" fmla="*/ 136003 h 403597"/>
                      <a:gd name="connsiteX103" fmla="*/ 126564 w 409498"/>
                      <a:gd name="connsiteY103" fmla="*/ 61327 h 403597"/>
                      <a:gd name="connsiteX104" fmla="*/ 80463 w 409498"/>
                      <a:gd name="connsiteY104" fmla="*/ 61327 h 403597"/>
                      <a:gd name="connsiteX105" fmla="*/ 103989 w 409498"/>
                      <a:gd name="connsiteY105" fmla="*/ 13702 h 403597"/>
                      <a:gd name="connsiteX106" fmla="*/ 99636 w 409498"/>
                      <a:gd name="connsiteY106" fmla="*/ 957 h 403597"/>
                      <a:gd name="connsiteX107" fmla="*/ 99608 w 409498"/>
                      <a:gd name="connsiteY107" fmla="*/ 938 h 403597"/>
                      <a:gd name="connsiteX108" fmla="*/ 86863 w 409498"/>
                      <a:gd name="connsiteY108" fmla="*/ 5291 h 403597"/>
                      <a:gd name="connsiteX109" fmla="*/ 86844 w 409498"/>
                      <a:gd name="connsiteY109" fmla="*/ 5320 h 403597"/>
                      <a:gd name="connsiteX110" fmla="*/ 49983 w 409498"/>
                      <a:gd name="connsiteY110" fmla="*/ 80853 h 403597"/>
                      <a:gd name="connsiteX111" fmla="*/ 98846 w 409498"/>
                      <a:gd name="connsiteY111" fmla="*/ 80853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264141 w 409497"/>
                      <a:gd name="connsiteY30" fmla="*/ 101083 h 403597"/>
                      <a:gd name="connsiteX31" fmla="*/ 258997 w 409497"/>
                      <a:gd name="connsiteY31" fmla="*/ 102035 h 403597"/>
                      <a:gd name="connsiteX32" fmla="*/ 255378 w 409497"/>
                      <a:gd name="connsiteY32" fmla="*/ 98226 h 403597"/>
                      <a:gd name="connsiteX33" fmla="*/ 159366 w 409497"/>
                      <a:gd name="connsiteY33" fmla="*/ 93368 h 403597"/>
                      <a:gd name="connsiteX34" fmla="*/ 145983 w 409497"/>
                      <a:gd name="connsiteY34" fmla="*/ 91796 h 403597"/>
                      <a:gd name="connsiteX35" fmla="*/ 265855 w 409497"/>
                      <a:gd name="connsiteY35" fmla="*/ 81652 h 403597"/>
                      <a:gd name="connsiteX36" fmla="*/ 326434 w 409497"/>
                      <a:gd name="connsiteY36" fmla="*/ 95559 h 403597"/>
                      <a:gd name="connsiteX37" fmla="*/ 357105 w 409497"/>
                      <a:gd name="connsiteY37" fmla="*/ 146327 h 403597"/>
                      <a:gd name="connsiteX38" fmla="*/ 408444 w 409497"/>
                      <a:gd name="connsiteY38" fmla="*/ 239291 h 403597"/>
                      <a:gd name="connsiteX39" fmla="*/ 150317 w 409497"/>
                      <a:gd name="connsiteY39" fmla="*/ 175283 h 403597"/>
                      <a:gd name="connsiteX40" fmla="*/ 119075 w 409497"/>
                      <a:gd name="connsiteY40" fmla="*/ 194333 h 403597"/>
                      <a:gd name="connsiteX41" fmla="*/ 86499 w 409497"/>
                      <a:gd name="connsiteY41" fmla="*/ 176902 h 403597"/>
                      <a:gd name="connsiteX42" fmla="*/ 75165 w 409497"/>
                      <a:gd name="connsiteY42" fmla="*/ 169187 h 403597"/>
                      <a:gd name="connsiteX43" fmla="*/ 67449 w 409497"/>
                      <a:gd name="connsiteY43" fmla="*/ 180522 h 403597"/>
                      <a:gd name="connsiteX44" fmla="*/ 110788 w 409497"/>
                      <a:gd name="connsiteY44" fmla="*/ 212716 h 403597"/>
                      <a:gd name="connsiteX45" fmla="*/ 110026 w 409497"/>
                      <a:gd name="connsiteY45" fmla="*/ 218812 h 403597"/>
                      <a:gd name="connsiteX46" fmla="*/ 112884 w 409497"/>
                      <a:gd name="connsiteY46" fmla="*/ 239100 h 403597"/>
                      <a:gd name="connsiteX47" fmla="*/ 84309 w 409497"/>
                      <a:gd name="connsiteY47" fmla="*/ 246530 h 403597"/>
                      <a:gd name="connsiteX48" fmla="*/ 80975 w 409497"/>
                      <a:gd name="connsiteY48" fmla="*/ 259579 h 403597"/>
                      <a:gd name="connsiteX49" fmla="*/ 89071 w 409497"/>
                      <a:gd name="connsiteY49" fmla="*/ 264246 h 403597"/>
                      <a:gd name="connsiteX50" fmla="*/ 93738 w 409497"/>
                      <a:gd name="connsiteY50" fmla="*/ 263103 h 403597"/>
                      <a:gd name="connsiteX51" fmla="*/ 123742 w 409497"/>
                      <a:gd name="connsiteY51" fmla="*/ 260913 h 403597"/>
                      <a:gd name="connsiteX52" fmla="*/ 125647 w 409497"/>
                      <a:gd name="connsiteY52" fmla="*/ 261579 h 403597"/>
                      <a:gd name="connsiteX53" fmla="*/ 144697 w 409497"/>
                      <a:gd name="connsiteY53" fmla="*/ 281296 h 403597"/>
                      <a:gd name="connsiteX54" fmla="*/ 151650 w 409497"/>
                      <a:gd name="connsiteY54" fmla="*/ 284154 h 403597"/>
                      <a:gd name="connsiteX55" fmla="*/ 161137 w 409497"/>
                      <a:gd name="connsiteY55" fmla="*/ 274591 h 403597"/>
                      <a:gd name="connsiteX56" fmla="*/ 158508 w 409497"/>
                      <a:gd name="connsiteY56" fmla="*/ 268056 h 403597"/>
                      <a:gd name="connsiteX57" fmla="*/ 138887 w 409497"/>
                      <a:gd name="connsiteY57" fmla="*/ 247673 h 403597"/>
                      <a:gd name="connsiteX58" fmla="*/ 129362 w 409497"/>
                      <a:gd name="connsiteY58" fmla="*/ 219574 h 403597"/>
                      <a:gd name="connsiteX59" fmla="*/ 153365 w 409497"/>
                      <a:gd name="connsiteY59" fmla="*/ 193761 h 403597"/>
                      <a:gd name="connsiteX60" fmla="*/ 174987 w 409497"/>
                      <a:gd name="connsiteY60" fmla="*/ 187380 h 403597"/>
                      <a:gd name="connsiteX61" fmla="*/ 187369 w 409497"/>
                      <a:gd name="connsiteY61" fmla="*/ 227289 h 403597"/>
                      <a:gd name="connsiteX62" fmla="*/ 192227 w 409497"/>
                      <a:gd name="connsiteY62" fmla="*/ 239862 h 403597"/>
                      <a:gd name="connsiteX63" fmla="*/ 204800 w 409497"/>
                      <a:gd name="connsiteY63" fmla="*/ 235005 h 403597"/>
                      <a:gd name="connsiteX64" fmla="*/ 203466 w 409497"/>
                      <a:gd name="connsiteY64" fmla="*/ 192999 h 403597"/>
                      <a:gd name="connsiteX65" fmla="*/ 219564 w 409497"/>
                      <a:gd name="connsiteY65" fmla="*/ 181760 h 403597"/>
                      <a:gd name="connsiteX66" fmla="*/ 249377 w 409497"/>
                      <a:gd name="connsiteY66" fmla="*/ 192999 h 403597"/>
                      <a:gd name="connsiteX67" fmla="*/ 263760 w 409497"/>
                      <a:gd name="connsiteY67" fmla="*/ 234719 h 403597"/>
                      <a:gd name="connsiteX68" fmla="*/ 306432 w 409497"/>
                      <a:gd name="connsiteY68" fmla="*/ 246339 h 403597"/>
                      <a:gd name="connsiteX69" fmla="*/ 312147 w 409497"/>
                      <a:gd name="connsiteY69" fmla="*/ 246339 h 403597"/>
                      <a:gd name="connsiteX70" fmla="*/ 323767 w 409497"/>
                      <a:gd name="connsiteY70" fmla="*/ 257293 h 403597"/>
                      <a:gd name="connsiteX71" fmla="*/ 333292 w 409497"/>
                      <a:gd name="connsiteY71" fmla="*/ 264437 h 403597"/>
                      <a:gd name="connsiteX72" fmla="*/ 335673 w 409497"/>
                      <a:gd name="connsiteY72" fmla="*/ 264437 h 403597"/>
                      <a:gd name="connsiteX73" fmla="*/ 342531 w 409497"/>
                      <a:gd name="connsiteY73" fmla="*/ 252912 h 403597"/>
                      <a:gd name="connsiteX74" fmla="*/ 312432 w 409497"/>
                      <a:gd name="connsiteY74" fmla="*/ 227575 h 403597"/>
                      <a:gd name="connsiteX75" fmla="*/ 305955 w 409497"/>
                      <a:gd name="connsiteY75" fmla="*/ 227575 h 403597"/>
                      <a:gd name="connsiteX76" fmla="*/ 291382 w 409497"/>
                      <a:gd name="connsiteY76" fmla="*/ 227575 h 403597"/>
                      <a:gd name="connsiteX77" fmla="*/ 320624 w 409497"/>
                      <a:gd name="connsiteY77" fmla="*/ 214716 h 403597"/>
                      <a:gd name="connsiteX78" fmla="*/ 331244 w 409497"/>
                      <a:gd name="connsiteY78" fmla="*/ 206287 h 403597"/>
                      <a:gd name="connsiteX79" fmla="*/ 322815 w 409497"/>
                      <a:gd name="connsiteY79" fmla="*/ 195666 h 403597"/>
                      <a:gd name="connsiteX80" fmla="*/ 274713 w 409497"/>
                      <a:gd name="connsiteY80" fmla="*/ 218145 h 403597"/>
                      <a:gd name="connsiteX81" fmla="*/ 268713 w 409497"/>
                      <a:gd name="connsiteY81" fmla="*/ 191190 h 403597"/>
                      <a:gd name="connsiteX82" fmla="*/ 302050 w 409497"/>
                      <a:gd name="connsiteY82" fmla="*/ 165948 h 403597"/>
                      <a:gd name="connsiteX83" fmla="*/ 299478 w 409497"/>
                      <a:gd name="connsiteY83" fmla="*/ 152804 h 403597"/>
                      <a:gd name="connsiteX84" fmla="*/ 286248 w 409497"/>
                      <a:gd name="connsiteY84" fmla="*/ 155357 h 403597"/>
                      <a:gd name="connsiteX85" fmla="*/ 286239 w 409497"/>
                      <a:gd name="connsiteY85" fmla="*/ 155376 h 403597"/>
                      <a:gd name="connsiteX86" fmla="*/ 257664 w 409497"/>
                      <a:gd name="connsiteY86" fmla="*/ 174426 h 403597"/>
                      <a:gd name="connsiteX87" fmla="*/ 228327 w 409497"/>
                      <a:gd name="connsiteY87" fmla="*/ 164901 h 403597"/>
                      <a:gd name="connsiteX88" fmla="*/ 230041 w 409497"/>
                      <a:gd name="connsiteY88" fmla="*/ 143088 h 403597"/>
                      <a:gd name="connsiteX89" fmla="*/ 219373 w 409497"/>
                      <a:gd name="connsiteY89" fmla="*/ 134706 h 403597"/>
                      <a:gd name="connsiteX90" fmla="*/ 210991 w 409497"/>
                      <a:gd name="connsiteY90" fmla="*/ 145374 h 403597"/>
                      <a:gd name="connsiteX91" fmla="*/ 191941 w 409497"/>
                      <a:gd name="connsiteY91" fmla="*/ 177378 h 403597"/>
                      <a:gd name="connsiteX92" fmla="*/ 187464 w 409497"/>
                      <a:gd name="connsiteY92" fmla="*/ 173473 h 403597"/>
                      <a:gd name="connsiteX93" fmla="*/ 162509 w 409497"/>
                      <a:gd name="connsiteY93" fmla="*/ 122800 h 403597"/>
                      <a:gd name="connsiteX94" fmla="*/ 149602 w 409497"/>
                      <a:gd name="connsiteY94" fmla="*/ 126848 h 403597"/>
                      <a:gd name="connsiteX95" fmla="*/ 153651 w 409497"/>
                      <a:gd name="connsiteY95" fmla="*/ 139755 h 403597"/>
                      <a:gd name="connsiteX96" fmla="*/ 168605 w 409497"/>
                      <a:gd name="connsiteY96" fmla="*/ 170330 h 403597"/>
                      <a:gd name="connsiteX97" fmla="*/ 150317 w 409497"/>
                      <a:gd name="connsiteY97" fmla="*/ 175283 h 403597"/>
                      <a:gd name="connsiteX98" fmla="*/ 80213 w 409497"/>
                      <a:gd name="connsiteY98" fmla="*/ 129277 h 403597"/>
                      <a:gd name="connsiteX99" fmla="*/ 85642 w 409497"/>
                      <a:gd name="connsiteY99" fmla="*/ 141564 h 403597"/>
                      <a:gd name="connsiteX100" fmla="*/ 89071 w 409497"/>
                      <a:gd name="connsiteY100" fmla="*/ 142136 h 403597"/>
                      <a:gd name="connsiteX101" fmla="*/ 98025 w 409497"/>
                      <a:gd name="connsiteY101" fmla="*/ 136040 h 403597"/>
                      <a:gd name="connsiteX102" fmla="*/ 126600 w 409497"/>
                      <a:gd name="connsiteY102" fmla="*/ 61364 h 403597"/>
                      <a:gd name="connsiteX103" fmla="*/ 80499 w 409497"/>
                      <a:gd name="connsiteY103" fmla="*/ 61364 h 403597"/>
                      <a:gd name="connsiteX104" fmla="*/ 104025 w 409497"/>
                      <a:gd name="connsiteY104" fmla="*/ 13739 h 403597"/>
                      <a:gd name="connsiteX105" fmla="*/ 99672 w 409497"/>
                      <a:gd name="connsiteY105" fmla="*/ 994 h 403597"/>
                      <a:gd name="connsiteX106" fmla="*/ 99644 w 409497"/>
                      <a:gd name="connsiteY106" fmla="*/ 975 h 403597"/>
                      <a:gd name="connsiteX107" fmla="*/ 86899 w 409497"/>
                      <a:gd name="connsiteY107" fmla="*/ 5328 h 403597"/>
                      <a:gd name="connsiteX108" fmla="*/ 86880 w 409497"/>
                      <a:gd name="connsiteY108" fmla="*/ 5357 h 403597"/>
                      <a:gd name="connsiteX109" fmla="*/ 50019 w 409497"/>
                      <a:gd name="connsiteY109" fmla="*/ 80890 h 403597"/>
                      <a:gd name="connsiteX110" fmla="*/ 98882 w 409497"/>
                      <a:gd name="connsiteY110" fmla="*/ 80890 h 403597"/>
                      <a:gd name="connsiteX111" fmla="*/ 80213 w 409497"/>
                      <a:gd name="connsiteY111"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264141 w 409497"/>
                      <a:gd name="connsiteY30" fmla="*/ 101083 h 403597"/>
                      <a:gd name="connsiteX31" fmla="*/ 258997 w 409497"/>
                      <a:gd name="connsiteY31" fmla="*/ 102035 h 403597"/>
                      <a:gd name="connsiteX32" fmla="*/ 255378 w 409497"/>
                      <a:gd name="connsiteY32" fmla="*/ 98226 h 403597"/>
                      <a:gd name="connsiteX33" fmla="*/ 159366 w 409497"/>
                      <a:gd name="connsiteY33" fmla="*/ 93368 h 403597"/>
                      <a:gd name="connsiteX34" fmla="*/ 265855 w 409497"/>
                      <a:gd name="connsiteY34" fmla="*/ 81652 h 403597"/>
                      <a:gd name="connsiteX35" fmla="*/ 326434 w 409497"/>
                      <a:gd name="connsiteY35" fmla="*/ 95559 h 403597"/>
                      <a:gd name="connsiteX36" fmla="*/ 357105 w 409497"/>
                      <a:gd name="connsiteY36" fmla="*/ 146327 h 403597"/>
                      <a:gd name="connsiteX37" fmla="*/ 408444 w 409497"/>
                      <a:gd name="connsiteY37" fmla="*/ 239291 h 403597"/>
                      <a:gd name="connsiteX38" fmla="*/ 150317 w 409497"/>
                      <a:gd name="connsiteY38" fmla="*/ 175283 h 403597"/>
                      <a:gd name="connsiteX39" fmla="*/ 119075 w 409497"/>
                      <a:gd name="connsiteY39" fmla="*/ 194333 h 403597"/>
                      <a:gd name="connsiteX40" fmla="*/ 86499 w 409497"/>
                      <a:gd name="connsiteY40" fmla="*/ 176902 h 403597"/>
                      <a:gd name="connsiteX41" fmla="*/ 75165 w 409497"/>
                      <a:gd name="connsiteY41" fmla="*/ 169187 h 403597"/>
                      <a:gd name="connsiteX42" fmla="*/ 67449 w 409497"/>
                      <a:gd name="connsiteY42" fmla="*/ 180522 h 403597"/>
                      <a:gd name="connsiteX43" fmla="*/ 110788 w 409497"/>
                      <a:gd name="connsiteY43" fmla="*/ 212716 h 403597"/>
                      <a:gd name="connsiteX44" fmla="*/ 110026 w 409497"/>
                      <a:gd name="connsiteY44" fmla="*/ 218812 h 403597"/>
                      <a:gd name="connsiteX45" fmla="*/ 112884 w 409497"/>
                      <a:gd name="connsiteY45" fmla="*/ 239100 h 403597"/>
                      <a:gd name="connsiteX46" fmla="*/ 84309 w 409497"/>
                      <a:gd name="connsiteY46" fmla="*/ 246530 h 403597"/>
                      <a:gd name="connsiteX47" fmla="*/ 80975 w 409497"/>
                      <a:gd name="connsiteY47" fmla="*/ 259579 h 403597"/>
                      <a:gd name="connsiteX48" fmla="*/ 89071 w 409497"/>
                      <a:gd name="connsiteY48" fmla="*/ 264246 h 403597"/>
                      <a:gd name="connsiteX49" fmla="*/ 93738 w 409497"/>
                      <a:gd name="connsiteY49" fmla="*/ 263103 h 403597"/>
                      <a:gd name="connsiteX50" fmla="*/ 123742 w 409497"/>
                      <a:gd name="connsiteY50" fmla="*/ 260913 h 403597"/>
                      <a:gd name="connsiteX51" fmla="*/ 125647 w 409497"/>
                      <a:gd name="connsiteY51" fmla="*/ 261579 h 403597"/>
                      <a:gd name="connsiteX52" fmla="*/ 144697 w 409497"/>
                      <a:gd name="connsiteY52" fmla="*/ 281296 h 403597"/>
                      <a:gd name="connsiteX53" fmla="*/ 151650 w 409497"/>
                      <a:gd name="connsiteY53" fmla="*/ 284154 h 403597"/>
                      <a:gd name="connsiteX54" fmla="*/ 161137 w 409497"/>
                      <a:gd name="connsiteY54" fmla="*/ 274591 h 403597"/>
                      <a:gd name="connsiteX55" fmla="*/ 158508 w 409497"/>
                      <a:gd name="connsiteY55" fmla="*/ 268056 h 403597"/>
                      <a:gd name="connsiteX56" fmla="*/ 138887 w 409497"/>
                      <a:gd name="connsiteY56" fmla="*/ 247673 h 403597"/>
                      <a:gd name="connsiteX57" fmla="*/ 129362 w 409497"/>
                      <a:gd name="connsiteY57" fmla="*/ 219574 h 403597"/>
                      <a:gd name="connsiteX58" fmla="*/ 153365 w 409497"/>
                      <a:gd name="connsiteY58" fmla="*/ 193761 h 403597"/>
                      <a:gd name="connsiteX59" fmla="*/ 174987 w 409497"/>
                      <a:gd name="connsiteY59" fmla="*/ 187380 h 403597"/>
                      <a:gd name="connsiteX60" fmla="*/ 187369 w 409497"/>
                      <a:gd name="connsiteY60" fmla="*/ 227289 h 403597"/>
                      <a:gd name="connsiteX61" fmla="*/ 192227 w 409497"/>
                      <a:gd name="connsiteY61" fmla="*/ 239862 h 403597"/>
                      <a:gd name="connsiteX62" fmla="*/ 204800 w 409497"/>
                      <a:gd name="connsiteY62" fmla="*/ 235005 h 403597"/>
                      <a:gd name="connsiteX63" fmla="*/ 203466 w 409497"/>
                      <a:gd name="connsiteY63" fmla="*/ 192999 h 403597"/>
                      <a:gd name="connsiteX64" fmla="*/ 219564 w 409497"/>
                      <a:gd name="connsiteY64" fmla="*/ 181760 h 403597"/>
                      <a:gd name="connsiteX65" fmla="*/ 249377 w 409497"/>
                      <a:gd name="connsiteY65" fmla="*/ 192999 h 403597"/>
                      <a:gd name="connsiteX66" fmla="*/ 263760 w 409497"/>
                      <a:gd name="connsiteY66" fmla="*/ 234719 h 403597"/>
                      <a:gd name="connsiteX67" fmla="*/ 306432 w 409497"/>
                      <a:gd name="connsiteY67" fmla="*/ 246339 h 403597"/>
                      <a:gd name="connsiteX68" fmla="*/ 312147 w 409497"/>
                      <a:gd name="connsiteY68" fmla="*/ 246339 h 403597"/>
                      <a:gd name="connsiteX69" fmla="*/ 323767 w 409497"/>
                      <a:gd name="connsiteY69" fmla="*/ 257293 h 403597"/>
                      <a:gd name="connsiteX70" fmla="*/ 333292 w 409497"/>
                      <a:gd name="connsiteY70" fmla="*/ 264437 h 403597"/>
                      <a:gd name="connsiteX71" fmla="*/ 335673 w 409497"/>
                      <a:gd name="connsiteY71" fmla="*/ 264437 h 403597"/>
                      <a:gd name="connsiteX72" fmla="*/ 342531 w 409497"/>
                      <a:gd name="connsiteY72" fmla="*/ 252912 h 403597"/>
                      <a:gd name="connsiteX73" fmla="*/ 312432 w 409497"/>
                      <a:gd name="connsiteY73" fmla="*/ 227575 h 403597"/>
                      <a:gd name="connsiteX74" fmla="*/ 305955 w 409497"/>
                      <a:gd name="connsiteY74" fmla="*/ 227575 h 403597"/>
                      <a:gd name="connsiteX75" fmla="*/ 291382 w 409497"/>
                      <a:gd name="connsiteY75" fmla="*/ 227575 h 403597"/>
                      <a:gd name="connsiteX76" fmla="*/ 320624 w 409497"/>
                      <a:gd name="connsiteY76" fmla="*/ 214716 h 403597"/>
                      <a:gd name="connsiteX77" fmla="*/ 331244 w 409497"/>
                      <a:gd name="connsiteY77" fmla="*/ 206287 h 403597"/>
                      <a:gd name="connsiteX78" fmla="*/ 322815 w 409497"/>
                      <a:gd name="connsiteY78" fmla="*/ 195666 h 403597"/>
                      <a:gd name="connsiteX79" fmla="*/ 274713 w 409497"/>
                      <a:gd name="connsiteY79" fmla="*/ 218145 h 403597"/>
                      <a:gd name="connsiteX80" fmla="*/ 268713 w 409497"/>
                      <a:gd name="connsiteY80" fmla="*/ 191190 h 403597"/>
                      <a:gd name="connsiteX81" fmla="*/ 302050 w 409497"/>
                      <a:gd name="connsiteY81" fmla="*/ 165948 h 403597"/>
                      <a:gd name="connsiteX82" fmla="*/ 299478 w 409497"/>
                      <a:gd name="connsiteY82" fmla="*/ 152804 h 403597"/>
                      <a:gd name="connsiteX83" fmla="*/ 286248 w 409497"/>
                      <a:gd name="connsiteY83" fmla="*/ 155357 h 403597"/>
                      <a:gd name="connsiteX84" fmla="*/ 286239 w 409497"/>
                      <a:gd name="connsiteY84" fmla="*/ 155376 h 403597"/>
                      <a:gd name="connsiteX85" fmla="*/ 257664 w 409497"/>
                      <a:gd name="connsiteY85" fmla="*/ 174426 h 403597"/>
                      <a:gd name="connsiteX86" fmla="*/ 228327 w 409497"/>
                      <a:gd name="connsiteY86" fmla="*/ 164901 h 403597"/>
                      <a:gd name="connsiteX87" fmla="*/ 230041 w 409497"/>
                      <a:gd name="connsiteY87" fmla="*/ 143088 h 403597"/>
                      <a:gd name="connsiteX88" fmla="*/ 219373 w 409497"/>
                      <a:gd name="connsiteY88" fmla="*/ 134706 h 403597"/>
                      <a:gd name="connsiteX89" fmla="*/ 210991 w 409497"/>
                      <a:gd name="connsiteY89" fmla="*/ 145374 h 403597"/>
                      <a:gd name="connsiteX90" fmla="*/ 191941 w 409497"/>
                      <a:gd name="connsiteY90" fmla="*/ 177378 h 403597"/>
                      <a:gd name="connsiteX91" fmla="*/ 187464 w 409497"/>
                      <a:gd name="connsiteY91" fmla="*/ 173473 h 403597"/>
                      <a:gd name="connsiteX92" fmla="*/ 162509 w 409497"/>
                      <a:gd name="connsiteY92" fmla="*/ 122800 h 403597"/>
                      <a:gd name="connsiteX93" fmla="*/ 149602 w 409497"/>
                      <a:gd name="connsiteY93" fmla="*/ 126848 h 403597"/>
                      <a:gd name="connsiteX94" fmla="*/ 153651 w 409497"/>
                      <a:gd name="connsiteY94" fmla="*/ 139755 h 403597"/>
                      <a:gd name="connsiteX95" fmla="*/ 168605 w 409497"/>
                      <a:gd name="connsiteY95" fmla="*/ 170330 h 403597"/>
                      <a:gd name="connsiteX96" fmla="*/ 150317 w 409497"/>
                      <a:gd name="connsiteY96" fmla="*/ 175283 h 403597"/>
                      <a:gd name="connsiteX97" fmla="*/ 80213 w 409497"/>
                      <a:gd name="connsiteY97" fmla="*/ 129277 h 403597"/>
                      <a:gd name="connsiteX98" fmla="*/ 85642 w 409497"/>
                      <a:gd name="connsiteY98" fmla="*/ 141564 h 403597"/>
                      <a:gd name="connsiteX99" fmla="*/ 89071 w 409497"/>
                      <a:gd name="connsiteY99" fmla="*/ 142136 h 403597"/>
                      <a:gd name="connsiteX100" fmla="*/ 98025 w 409497"/>
                      <a:gd name="connsiteY100" fmla="*/ 136040 h 403597"/>
                      <a:gd name="connsiteX101" fmla="*/ 126600 w 409497"/>
                      <a:gd name="connsiteY101" fmla="*/ 61364 h 403597"/>
                      <a:gd name="connsiteX102" fmla="*/ 80499 w 409497"/>
                      <a:gd name="connsiteY102" fmla="*/ 61364 h 403597"/>
                      <a:gd name="connsiteX103" fmla="*/ 104025 w 409497"/>
                      <a:gd name="connsiteY103" fmla="*/ 13739 h 403597"/>
                      <a:gd name="connsiteX104" fmla="*/ 99672 w 409497"/>
                      <a:gd name="connsiteY104" fmla="*/ 994 h 403597"/>
                      <a:gd name="connsiteX105" fmla="*/ 99644 w 409497"/>
                      <a:gd name="connsiteY105" fmla="*/ 975 h 403597"/>
                      <a:gd name="connsiteX106" fmla="*/ 86899 w 409497"/>
                      <a:gd name="connsiteY106" fmla="*/ 5328 h 403597"/>
                      <a:gd name="connsiteX107" fmla="*/ 86880 w 409497"/>
                      <a:gd name="connsiteY107" fmla="*/ 5357 h 403597"/>
                      <a:gd name="connsiteX108" fmla="*/ 50019 w 409497"/>
                      <a:gd name="connsiteY108" fmla="*/ 80890 h 403597"/>
                      <a:gd name="connsiteX109" fmla="*/ 98882 w 409497"/>
                      <a:gd name="connsiteY109" fmla="*/ 80890 h 403597"/>
                      <a:gd name="connsiteX110" fmla="*/ 80213 w 409497"/>
                      <a:gd name="connsiteY110"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264141 w 409497"/>
                      <a:gd name="connsiteY30" fmla="*/ 101083 h 403597"/>
                      <a:gd name="connsiteX31" fmla="*/ 258997 w 409497"/>
                      <a:gd name="connsiteY31" fmla="*/ 102035 h 403597"/>
                      <a:gd name="connsiteX32" fmla="*/ 255378 w 409497"/>
                      <a:gd name="connsiteY32" fmla="*/ 98226 h 403597"/>
                      <a:gd name="connsiteX33" fmla="*/ 265855 w 409497"/>
                      <a:gd name="connsiteY33" fmla="*/ 81652 h 403597"/>
                      <a:gd name="connsiteX34" fmla="*/ 326434 w 409497"/>
                      <a:gd name="connsiteY34" fmla="*/ 95559 h 403597"/>
                      <a:gd name="connsiteX35" fmla="*/ 357105 w 409497"/>
                      <a:gd name="connsiteY35" fmla="*/ 146327 h 403597"/>
                      <a:gd name="connsiteX36" fmla="*/ 408444 w 409497"/>
                      <a:gd name="connsiteY36" fmla="*/ 239291 h 403597"/>
                      <a:gd name="connsiteX37" fmla="*/ 150317 w 409497"/>
                      <a:gd name="connsiteY37" fmla="*/ 175283 h 403597"/>
                      <a:gd name="connsiteX38" fmla="*/ 119075 w 409497"/>
                      <a:gd name="connsiteY38" fmla="*/ 194333 h 403597"/>
                      <a:gd name="connsiteX39" fmla="*/ 86499 w 409497"/>
                      <a:gd name="connsiteY39" fmla="*/ 176902 h 403597"/>
                      <a:gd name="connsiteX40" fmla="*/ 75165 w 409497"/>
                      <a:gd name="connsiteY40" fmla="*/ 169187 h 403597"/>
                      <a:gd name="connsiteX41" fmla="*/ 67449 w 409497"/>
                      <a:gd name="connsiteY41" fmla="*/ 180522 h 403597"/>
                      <a:gd name="connsiteX42" fmla="*/ 110788 w 409497"/>
                      <a:gd name="connsiteY42" fmla="*/ 212716 h 403597"/>
                      <a:gd name="connsiteX43" fmla="*/ 110026 w 409497"/>
                      <a:gd name="connsiteY43" fmla="*/ 218812 h 403597"/>
                      <a:gd name="connsiteX44" fmla="*/ 112884 w 409497"/>
                      <a:gd name="connsiteY44" fmla="*/ 239100 h 403597"/>
                      <a:gd name="connsiteX45" fmla="*/ 84309 w 409497"/>
                      <a:gd name="connsiteY45" fmla="*/ 246530 h 403597"/>
                      <a:gd name="connsiteX46" fmla="*/ 80975 w 409497"/>
                      <a:gd name="connsiteY46" fmla="*/ 259579 h 403597"/>
                      <a:gd name="connsiteX47" fmla="*/ 89071 w 409497"/>
                      <a:gd name="connsiteY47" fmla="*/ 264246 h 403597"/>
                      <a:gd name="connsiteX48" fmla="*/ 93738 w 409497"/>
                      <a:gd name="connsiteY48" fmla="*/ 263103 h 403597"/>
                      <a:gd name="connsiteX49" fmla="*/ 123742 w 409497"/>
                      <a:gd name="connsiteY49" fmla="*/ 260913 h 403597"/>
                      <a:gd name="connsiteX50" fmla="*/ 125647 w 409497"/>
                      <a:gd name="connsiteY50" fmla="*/ 261579 h 403597"/>
                      <a:gd name="connsiteX51" fmla="*/ 144697 w 409497"/>
                      <a:gd name="connsiteY51" fmla="*/ 281296 h 403597"/>
                      <a:gd name="connsiteX52" fmla="*/ 151650 w 409497"/>
                      <a:gd name="connsiteY52" fmla="*/ 284154 h 403597"/>
                      <a:gd name="connsiteX53" fmla="*/ 161137 w 409497"/>
                      <a:gd name="connsiteY53" fmla="*/ 274591 h 403597"/>
                      <a:gd name="connsiteX54" fmla="*/ 158508 w 409497"/>
                      <a:gd name="connsiteY54" fmla="*/ 268056 h 403597"/>
                      <a:gd name="connsiteX55" fmla="*/ 138887 w 409497"/>
                      <a:gd name="connsiteY55" fmla="*/ 247673 h 403597"/>
                      <a:gd name="connsiteX56" fmla="*/ 129362 w 409497"/>
                      <a:gd name="connsiteY56" fmla="*/ 219574 h 403597"/>
                      <a:gd name="connsiteX57" fmla="*/ 153365 w 409497"/>
                      <a:gd name="connsiteY57" fmla="*/ 193761 h 403597"/>
                      <a:gd name="connsiteX58" fmla="*/ 174987 w 409497"/>
                      <a:gd name="connsiteY58" fmla="*/ 187380 h 403597"/>
                      <a:gd name="connsiteX59" fmla="*/ 187369 w 409497"/>
                      <a:gd name="connsiteY59" fmla="*/ 227289 h 403597"/>
                      <a:gd name="connsiteX60" fmla="*/ 192227 w 409497"/>
                      <a:gd name="connsiteY60" fmla="*/ 239862 h 403597"/>
                      <a:gd name="connsiteX61" fmla="*/ 204800 w 409497"/>
                      <a:gd name="connsiteY61" fmla="*/ 235005 h 403597"/>
                      <a:gd name="connsiteX62" fmla="*/ 203466 w 409497"/>
                      <a:gd name="connsiteY62" fmla="*/ 192999 h 403597"/>
                      <a:gd name="connsiteX63" fmla="*/ 219564 w 409497"/>
                      <a:gd name="connsiteY63" fmla="*/ 181760 h 403597"/>
                      <a:gd name="connsiteX64" fmla="*/ 249377 w 409497"/>
                      <a:gd name="connsiteY64" fmla="*/ 192999 h 403597"/>
                      <a:gd name="connsiteX65" fmla="*/ 263760 w 409497"/>
                      <a:gd name="connsiteY65" fmla="*/ 234719 h 403597"/>
                      <a:gd name="connsiteX66" fmla="*/ 306432 w 409497"/>
                      <a:gd name="connsiteY66" fmla="*/ 246339 h 403597"/>
                      <a:gd name="connsiteX67" fmla="*/ 312147 w 409497"/>
                      <a:gd name="connsiteY67" fmla="*/ 246339 h 403597"/>
                      <a:gd name="connsiteX68" fmla="*/ 323767 w 409497"/>
                      <a:gd name="connsiteY68" fmla="*/ 257293 h 403597"/>
                      <a:gd name="connsiteX69" fmla="*/ 333292 w 409497"/>
                      <a:gd name="connsiteY69" fmla="*/ 264437 h 403597"/>
                      <a:gd name="connsiteX70" fmla="*/ 335673 w 409497"/>
                      <a:gd name="connsiteY70" fmla="*/ 264437 h 403597"/>
                      <a:gd name="connsiteX71" fmla="*/ 342531 w 409497"/>
                      <a:gd name="connsiteY71" fmla="*/ 252912 h 403597"/>
                      <a:gd name="connsiteX72" fmla="*/ 312432 w 409497"/>
                      <a:gd name="connsiteY72" fmla="*/ 227575 h 403597"/>
                      <a:gd name="connsiteX73" fmla="*/ 305955 w 409497"/>
                      <a:gd name="connsiteY73" fmla="*/ 227575 h 403597"/>
                      <a:gd name="connsiteX74" fmla="*/ 291382 w 409497"/>
                      <a:gd name="connsiteY74" fmla="*/ 227575 h 403597"/>
                      <a:gd name="connsiteX75" fmla="*/ 320624 w 409497"/>
                      <a:gd name="connsiteY75" fmla="*/ 214716 h 403597"/>
                      <a:gd name="connsiteX76" fmla="*/ 331244 w 409497"/>
                      <a:gd name="connsiteY76" fmla="*/ 206287 h 403597"/>
                      <a:gd name="connsiteX77" fmla="*/ 322815 w 409497"/>
                      <a:gd name="connsiteY77" fmla="*/ 195666 h 403597"/>
                      <a:gd name="connsiteX78" fmla="*/ 274713 w 409497"/>
                      <a:gd name="connsiteY78" fmla="*/ 218145 h 403597"/>
                      <a:gd name="connsiteX79" fmla="*/ 268713 w 409497"/>
                      <a:gd name="connsiteY79" fmla="*/ 191190 h 403597"/>
                      <a:gd name="connsiteX80" fmla="*/ 302050 w 409497"/>
                      <a:gd name="connsiteY80" fmla="*/ 165948 h 403597"/>
                      <a:gd name="connsiteX81" fmla="*/ 299478 w 409497"/>
                      <a:gd name="connsiteY81" fmla="*/ 152804 h 403597"/>
                      <a:gd name="connsiteX82" fmla="*/ 286248 w 409497"/>
                      <a:gd name="connsiteY82" fmla="*/ 155357 h 403597"/>
                      <a:gd name="connsiteX83" fmla="*/ 286239 w 409497"/>
                      <a:gd name="connsiteY83" fmla="*/ 155376 h 403597"/>
                      <a:gd name="connsiteX84" fmla="*/ 257664 w 409497"/>
                      <a:gd name="connsiteY84" fmla="*/ 174426 h 403597"/>
                      <a:gd name="connsiteX85" fmla="*/ 228327 w 409497"/>
                      <a:gd name="connsiteY85" fmla="*/ 164901 h 403597"/>
                      <a:gd name="connsiteX86" fmla="*/ 230041 w 409497"/>
                      <a:gd name="connsiteY86" fmla="*/ 143088 h 403597"/>
                      <a:gd name="connsiteX87" fmla="*/ 219373 w 409497"/>
                      <a:gd name="connsiteY87" fmla="*/ 134706 h 403597"/>
                      <a:gd name="connsiteX88" fmla="*/ 210991 w 409497"/>
                      <a:gd name="connsiteY88" fmla="*/ 145374 h 403597"/>
                      <a:gd name="connsiteX89" fmla="*/ 191941 w 409497"/>
                      <a:gd name="connsiteY89" fmla="*/ 177378 h 403597"/>
                      <a:gd name="connsiteX90" fmla="*/ 187464 w 409497"/>
                      <a:gd name="connsiteY90" fmla="*/ 173473 h 403597"/>
                      <a:gd name="connsiteX91" fmla="*/ 162509 w 409497"/>
                      <a:gd name="connsiteY91" fmla="*/ 122800 h 403597"/>
                      <a:gd name="connsiteX92" fmla="*/ 149602 w 409497"/>
                      <a:gd name="connsiteY92" fmla="*/ 126848 h 403597"/>
                      <a:gd name="connsiteX93" fmla="*/ 153651 w 409497"/>
                      <a:gd name="connsiteY93" fmla="*/ 139755 h 403597"/>
                      <a:gd name="connsiteX94" fmla="*/ 168605 w 409497"/>
                      <a:gd name="connsiteY94" fmla="*/ 170330 h 403597"/>
                      <a:gd name="connsiteX95" fmla="*/ 150317 w 409497"/>
                      <a:gd name="connsiteY95" fmla="*/ 175283 h 403597"/>
                      <a:gd name="connsiteX96" fmla="*/ 80213 w 409497"/>
                      <a:gd name="connsiteY96" fmla="*/ 129277 h 403597"/>
                      <a:gd name="connsiteX97" fmla="*/ 85642 w 409497"/>
                      <a:gd name="connsiteY97" fmla="*/ 141564 h 403597"/>
                      <a:gd name="connsiteX98" fmla="*/ 89071 w 409497"/>
                      <a:gd name="connsiteY98" fmla="*/ 142136 h 403597"/>
                      <a:gd name="connsiteX99" fmla="*/ 98025 w 409497"/>
                      <a:gd name="connsiteY99" fmla="*/ 136040 h 403597"/>
                      <a:gd name="connsiteX100" fmla="*/ 126600 w 409497"/>
                      <a:gd name="connsiteY100" fmla="*/ 61364 h 403597"/>
                      <a:gd name="connsiteX101" fmla="*/ 80499 w 409497"/>
                      <a:gd name="connsiteY101" fmla="*/ 61364 h 403597"/>
                      <a:gd name="connsiteX102" fmla="*/ 104025 w 409497"/>
                      <a:gd name="connsiteY102" fmla="*/ 13739 h 403597"/>
                      <a:gd name="connsiteX103" fmla="*/ 99672 w 409497"/>
                      <a:gd name="connsiteY103" fmla="*/ 994 h 403597"/>
                      <a:gd name="connsiteX104" fmla="*/ 99644 w 409497"/>
                      <a:gd name="connsiteY104" fmla="*/ 975 h 403597"/>
                      <a:gd name="connsiteX105" fmla="*/ 86899 w 409497"/>
                      <a:gd name="connsiteY105" fmla="*/ 5328 h 403597"/>
                      <a:gd name="connsiteX106" fmla="*/ 86880 w 409497"/>
                      <a:gd name="connsiteY106" fmla="*/ 5357 h 403597"/>
                      <a:gd name="connsiteX107" fmla="*/ 50019 w 409497"/>
                      <a:gd name="connsiteY107" fmla="*/ 80890 h 403597"/>
                      <a:gd name="connsiteX108" fmla="*/ 98882 w 409497"/>
                      <a:gd name="connsiteY108" fmla="*/ 80890 h 403597"/>
                      <a:gd name="connsiteX109" fmla="*/ 80213 w 409497"/>
                      <a:gd name="connsiteY109"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264141 w 409497"/>
                      <a:gd name="connsiteY30" fmla="*/ 101083 h 403597"/>
                      <a:gd name="connsiteX31" fmla="*/ 258997 w 409497"/>
                      <a:gd name="connsiteY31" fmla="*/ 102035 h 403597"/>
                      <a:gd name="connsiteX32" fmla="*/ 265855 w 409497"/>
                      <a:gd name="connsiteY32" fmla="*/ 81652 h 403597"/>
                      <a:gd name="connsiteX33" fmla="*/ 326434 w 409497"/>
                      <a:gd name="connsiteY33" fmla="*/ 95559 h 403597"/>
                      <a:gd name="connsiteX34" fmla="*/ 357105 w 409497"/>
                      <a:gd name="connsiteY34" fmla="*/ 146327 h 403597"/>
                      <a:gd name="connsiteX35" fmla="*/ 408444 w 409497"/>
                      <a:gd name="connsiteY35" fmla="*/ 239291 h 403597"/>
                      <a:gd name="connsiteX36" fmla="*/ 150317 w 409497"/>
                      <a:gd name="connsiteY36" fmla="*/ 175283 h 403597"/>
                      <a:gd name="connsiteX37" fmla="*/ 119075 w 409497"/>
                      <a:gd name="connsiteY37" fmla="*/ 194333 h 403597"/>
                      <a:gd name="connsiteX38" fmla="*/ 86499 w 409497"/>
                      <a:gd name="connsiteY38" fmla="*/ 176902 h 403597"/>
                      <a:gd name="connsiteX39" fmla="*/ 75165 w 409497"/>
                      <a:gd name="connsiteY39" fmla="*/ 169187 h 403597"/>
                      <a:gd name="connsiteX40" fmla="*/ 67449 w 409497"/>
                      <a:gd name="connsiteY40" fmla="*/ 180522 h 403597"/>
                      <a:gd name="connsiteX41" fmla="*/ 110788 w 409497"/>
                      <a:gd name="connsiteY41" fmla="*/ 212716 h 403597"/>
                      <a:gd name="connsiteX42" fmla="*/ 110026 w 409497"/>
                      <a:gd name="connsiteY42" fmla="*/ 218812 h 403597"/>
                      <a:gd name="connsiteX43" fmla="*/ 112884 w 409497"/>
                      <a:gd name="connsiteY43" fmla="*/ 239100 h 403597"/>
                      <a:gd name="connsiteX44" fmla="*/ 84309 w 409497"/>
                      <a:gd name="connsiteY44" fmla="*/ 246530 h 403597"/>
                      <a:gd name="connsiteX45" fmla="*/ 80975 w 409497"/>
                      <a:gd name="connsiteY45" fmla="*/ 259579 h 403597"/>
                      <a:gd name="connsiteX46" fmla="*/ 89071 w 409497"/>
                      <a:gd name="connsiteY46" fmla="*/ 264246 h 403597"/>
                      <a:gd name="connsiteX47" fmla="*/ 93738 w 409497"/>
                      <a:gd name="connsiteY47" fmla="*/ 263103 h 403597"/>
                      <a:gd name="connsiteX48" fmla="*/ 123742 w 409497"/>
                      <a:gd name="connsiteY48" fmla="*/ 260913 h 403597"/>
                      <a:gd name="connsiteX49" fmla="*/ 125647 w 409497"/>
                      <a:gd name="connsiteY49" fmla="*/ 261579 h 403597"/>
                      <a:gd name="connsiteX50" fmla="*/ 144697 w 409497"/>
                      <a:gd name="connsiteY50" fmla="*/ 281296 h 403597"/>
                      <a:gd name="connsiteX51" fmla="*/ 151650 w 409497"/>
                      <a:gd name="connsiteY51" fmla="*/ 284154 h 403597"/>
                      <a:gd name="connsiteX52" fmla="*/ 161137 w 409497"/>
                      <a:gd name="connsiteY52" fmla="*/ 274591 h 403597"/>
                      <a:gd name="connsiteX53" fmla="*/ 158508 w 409497"/>
                      <a:gd name="connsiteY53" fmla="*/ 268056 h 403597"/>
                      <a:gd name="connsiteX54" fmla="*/ 138887 w 409497"/>
                      <a:gd name="connsiteY54" fmla="*/ 247673 h 403597"/>
                      <a:gd name="connsiteX55" fmla="*/ 129362 w 409497"/>
                      <a:gd name="connsiteY55" fmla="*/ 219574 h 403597"/>
                      <a:gd name="connsiteX56" fmla="*/ 153365 w 409497"/>
                      <a:gd name="connsiteY56" fmla="*/ 193761 h 403597"/>
                      <a:gd name="connsiteX57" fmla="*/ 174987 w 409497"/>
                      <a:gd name="connsiteY57" fmla="*/ 187380 h 403597"/>
                      <a:gd name="connsiteX58" fmla="*/ 187369 w 409497"/>
                      <a:gd name="connsiteY58" fmla="*/ 227289 h 403597"/>
                      <a:gd name="connsiteX59" fmla="*/ 192227 w 409497"/>
                      <a:gd name="connsiteY59" fmla="*/ 239862 h 403597"/>
                      <a:gd name="connsiteX60" fmla="*/ 204800 w 409497"/>
                      <a:gd name="connsiteY60" fmla="*/ 235005 h 403597"/>
                      <a:gd name="connsiteX61" fmla="*/ 203466 w 409497"/>
                      <a:gd name="connsiteY61" fmla="*/ 192999 h 403597"/>
                      <a:gd name="connsiteX62" fmla="*/ 219564 w 409497"/>
                      <a:gd name="connsiteY62" fmla="*/ 181760 h 403597"/>
                      <a:gd name="connsiteX63" fmla="*/ 249377 w 409497"/>
                      <a:gd name="connsiteY63" fmla="*/ 192999 h 403597"/>
                      <a:gd name="connsiteX64" fmla="*/ 263760 w 409497"/>
                      <a:gd name="connsiteY64" fmla="*/ 234719 h 403597"/>
                      <a:gd name="connsiteX65" fmla="*/ 306432 w 409497"/>
                      <a:gd name="connsiteY65" fmla="*/ 246339 h 403597"/>
                      <a:gd name="connsiteX66" fmla="*/ 312147 w 409497"/>
                      <a:gd name="connsiteY66" fmla="*/ 246339 h 403597"/>
                      <a:gd name="connsiteX67" fmla="*/ 323767 w 409497"/>
                      <a:gd name="connsiteY67" fmla="*/ 257293 h 403597"/>
                      <a:gd name="connsiteX68" fmla="*/ 333292 w 409497"/>
                      <a:gd name="connsiteY68" fmla="*/ 264437 h 403597"/>
                      <a:gd name="connsiteX69" fmla="*/ 335673 w 409497"/>
                      <a:gd name="connsiteY69" fmla="*/ 264437 h 403597"/>
                      <a:gd name="connsiteX70" fmla="*/ 342531 w 409497"/>
                      <a:gd name="connsiteY70" fmla="*/ 252912 h 403597"/>
                      <a:gd name="connsiteX71" fmla="*/ 312432 w 409497"/>
                      <a:gd name="connsiteY71" fmla="*/ 227575 h 403597"/>
                      <a:gd name="connsiteX72" fmla="*/ 305955 w 409497"/>
                      <a:gd name="connsiteY72" fmla="*/ 227575 h 403597"/>
                      <a:gd name="connsiteX73" fmla="*/ 291382 w 409497"/>
                      <a:gd name="connsiteY73" fmla="*/ 227575 h 403597"/>
                      <a:gd name="connsiteX74" fmla="*/ 320624 w 409497"/>
                      <a:gd name="connsiteY74" fmla="*/ 214716 h 403597"/>
                      <a:gd name="connsiteX75" fmla="*/ 331244 w 409497"/>
                      <a:gd name="connsiteY75" fmla="*/ 206287 h 403597"/>
                      <a:gd name="connsiteX76" fmla="*/ 322815 w 409497"/>
                      <a:gd name="connsiteY76" fmla="*/ 195666 h 403597"/>
                      <a:gd name="connsiteX77" fmla="*/ 274713 w 409497"/>
                      <a:gd name="connsiteY77" fmla="*/ 218145 h 403597"/>
                      <a:gd name="connsiteX78" fmla="*/ 268713 w 409497"/>
                      <a:gd name="connsiteY78" fmla="*/ 191190 h 403597"/>
                      <a:gd name="connsiteX79" fmla="*/ 302050 w 409497"/>
                      <a:gd name="connsiteY79" fmla="*/ 165948 h 403597"/>
                      <a:gd name="connsiteX80" fmla="*/ 299478 w 409497"/>
                      <a:gd name="connsiteY80" fmla="*/ 152804 h 403597"/>
                      <a:gd name="connsiteX81" fmla="*/ 286248 w 409497"/>
                      <a:gd name="connsiteY81" fmla="*/ 155357 h 403597"/>
                      <a:gd name="connsiteX82" fmla="*/ 286239 w 409497"/>
                      <a:gd name="connsiteY82" fmla="*/ 155376 h 403597"/>
                      <a:gd name="connsiteX83" fmla="*/ 257664 w 409497"/>
                      <a:gd name="connsiteY83" fmla="*/ 174426 h 403597"/>
                      <a:gd name="connsiteX84" fmla="*/ 228327 w 409497"/>
                      <a:gd name="connsiteY84" fmla="*/ 164901 h 403597"/>
                      <a:gd name="connsiteX85" fmla="*/ 230041 w 409497"/>
                      <a:gd name="connsiteY85" fmla="*/ 143088 h 403597"/>
                      <a:gd name="connsiteX86" fmla="*/ 219373 w 409497"/>
                      <a:gd name="connsiteY86" fmla="*/ 134706 h 403597"/>
                      <a:gd name="connsiteX87" fmla="*/ 210991 w 409497"/>
                      <a:gd name="connsiteY87" fmla="*/ 145374 h 403597"/>
                      <a:gd name="connsiteX88" fmla="*/ 191941 w 409497"/>
                      <a:gd name="connsiteY88" fmla="*/ 177378 h 403597"/>
                      <a:gd name="connsiteX89" fmla="*/ 187464 w 409497"/>
                      <a:gd name="connsiteY89" fmla="*/ 173473 h 403597"/>
                      <a:gd name="connsiteX90" fmla="*/ 162509 w 409497"/>
                      <a:gd name="connsiteY90" fmla="*/ 122800 h 403597"/>
                      <a:gd name="connsiteX91" fmla="*/ 149602 w 409497"/>
                      <a:gd name="connsiteY91" fmla="*/ 126848 h 403597"/>
                      <a:gd name="connsiteX92" fmla="*/ 153651 w 409497"/>
                      <a:gd name="connsiteY92" fmla="*/ 139755 h 403597"/>
                      <a:gd name="connsiteX93" fmla="*/ 168605 w 409497"/>
                      <a:gd name="connsiteY93" fmla="*/ 170330 h 403597"/>
                      <a:gd name="connsiteX94" fmla="*/ 150317 w 409497"/>
                      <a:gd name="connsiteY94" fmla="*/ 175283 h 403597"/>
                      <a:gd name="connsiteX95" fmla="*/ 80213 w 409497"/>
                      <a:gd name="connsiteY95" fmla="*/ 129277 h 403597"/>
                      <a:gd name="connsiteX96" fmla="*/ 85642 w 409497"/>
                      <a:gd name="connsiteY96" fmla="*/ 141564 h 403597"/>
                      <a:gd name="connsiteX97" fmla="*/ 89071 w 409497"/>
                      <a:gd name="connsiteY97" fmla="*/ 142136 h 403597"/>
                      <a:gd name="connsiteX98" fmla="*/ 98025 w 409497"/>
                      <a:gd name="connsiteY98" fmla="*/ 136040 h 403597"/>
                      <a:gd name="connsiteX99" fmla="*/ 126600 w 409497"/>
                      <a:gd name="connsiteY99" fmla="*/ 61364 h 403597"/>
                      <a:gd name="connsiteX100" fmla="*/ 80499 w 409497"/>
                      <a:gd name="connsiteY100" fmla="*/ 61364 h 403597"/>
                      <a:gd name="connsiteX101" fmla="*/ 104025 w 409497"/>
                      <a:gd name="connsiteY101" fmla="*/ 13739 h 403597"/>
                      <a:gd name="connsiteX102" fmla="*/ 99672 w 409497"/>
                      <a:gd name="connsiteY102" fmla="*/ 994 h 403597"/>
                      <a:gd name="connsiteX103" fmla="*/ 99644 w 409497"/>
                      <a:gd name="connsiteY103" fmla="*/ 975 h 403597"/>
                      <a:gd name="connsiteX104" fmla="*/ 86899 w 409497"/>
                      <a:gd name="connsiteY104" fmla="*/ 5328 h 403597"/>
                      <a:gd name="connsiteX105" fmla="*/ 86880 w 409497"/>
                      <a:gd name="connsiteY105" fmla="*/ 5357 h 403597"/>
                      <a:gd name="connsiteX106" fmla="*/ 50019 w 409497"/>
                      <a:gd name="connsiteY106" fmla="*/ 80890 h 403597"/>
                      <a:gd name="connsiteX107" fmla="*/ 98882 w 409497"/>
                      <a:gd name="connsiteY107" fmla="*/ 80890 h 403597"/>
                      <a:gd name="connsiteX108" fmla="*/ 80213 w 409497"/>
                      <a:gd name="connsiteY108"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264141 w 409497"/>
                      <a:gd name="connsiteY30" fmla="*/ 101083 h 403597"/>
                      <a:gd name="connsiteX31" fmla="*/ 265855 w 409497"/>
                      <a:gd name="connsiteY31" fmla="*/ 81652 h 403597"/>
                      <a:gd name="connsiteX32" fmla="*/ 326434 w 409497"/>
                      <a:gd name="connsiteY32" fmla="*/ 95559 h 403597"/>
                      <a:gd name="connsiteX33" fmla="*/ 357105 w 409497"/>
                      <a:gd name="connsiteY33" fmla="*/ 146327 h 403597"/>
                      <a:gd name="connsiteX34" fmla="*/ 408444 w 409497"/>
                      <a:gd name="connsiteY34" fmla="*/ 239291 h 403597"/>
                      <a:gd name="connsiteX35" fmla="*/ 150317 w 409497"/>
                      <a:gd name="connsiteY35" fmla="*/ 175283 h 403597"/>
                      <a:gd name="connsiteX36" fmla="*/ 119075 w 409497"/>
                      <a:gd name="connsiteY36" fmla="*/ 194333 h 403597"/>
                      <a:gd name="connsiteX37" fmla="*/ 86499 w 409497"/>
                      <a:gd name="connsiteY37" fmla="*/ 176902 h 403597"/>
                      <a:gd name="connsiteX38" fmla="*/ 75165 w 409497"/>
                      <a:gd name="connsiteY38" fmla="*/ 169187 h 403597"/>
                      <a:gd name="connsiteX39" fmla="*/ 67449 w 409497"/>
                      <a:gd name="connsiteY39" fmla="*/ 180522 h 403597"/>
                      <a:gd name="connsiteX40" fmla="*/ 110788 w 409497"/>
                      <a:gd name="connsiteY40" fmla="*/ 212716 h 403597"/>
                      <a:gd name="connsiteX41" fmla="*/ 110026 w 409497"/>
                      <a:gd name="connsiteY41" fmla="*/ 218812 h 403597"/>
                      <a:gd name="connsiteX42" fmla="*/ 112884 w 409497"/>
                      <a:gd name="connsiteY42" fmla="*/ 239100 h 403597"/>
                      <a:gd name="connsiteX43" fmla="*/ 84309 w 409497"/>
                      <a:gd name="connsiteY43" fmla="*/ 246530 h 403597"/>
                      <a:gd name="connsiteX44" fmla="*/ 80975 w 409497"/>
                      <a:gd name="connsiteY44" fmla="*/ 259579 h 403597"/>
                      <a:gd name="connsiteX45" fmla="*/ 89071 w 409497"/>
                      <a:gd name="connsiteY45" fmla="*/ 264246 h 403597"/>
                      <a:gd name="connsiteX46" fmla="*/ 93738 w 409497"/>
                      <a:gd name="connsiteY46" fmla="*/ 263103 h 403597"/>
                      <a:gd name="connsiteX47" fmla="*/ 123742 w 409497"/>
                      <a:gd name="connsiteY47" fmla="*/ 260913 h 403597"/>
                      <a:gd name="connsiteX48" fmla="*/ 125647 w 409497"/>
                      <a:gd name="connsiteY48" fmla="*/ 261579 h 403597"/>
                      <a:gd name="connsiteX49" fmla="*/ 144697 w 409497"/>
                      <a:gd name="connsiteY49" fmla="*/ 281296 h 403597"/>
                      <a:gd name="connsiteX50" fmla="*/ 151650 w 409497"/>
                      <a:gd name="connsiteY50" fmla="*/ 284154 h 403597"/>
                      <a:gd name="connsiteX51" fmla="*/ 161137 w 409497"/>
                      <a:gd name="connsiteY51" fmla="*/ 274591 h 403597"/>
                      <a:gd name="connsiteX52" fmla="*/ 158508 w 409497"/>
                      <a:gd name="connsiteY52" fmla="*/ 268056 h 403597"/>
                      <a:gd name="connsiteX53" fmla="*/ 138887 w 409497"/>
                      <a:gd name="connsiteY53" fmla="*/ 247673 h 403597"/>
                      <a:gd name="connsiteX54" fmla="*/ 129362 w 409497"/>
                      <a:gd name="connsiteY54" fmla="*/ 219574 h 403597"/>
                      <a:gd name="connsiteX55" fmla="*/ 153365 w 409497"/>
                      <a:gd name="connsiteY55" fmla="*/ 193761 h 403597"/>
                      <a:gd name="connsiteX56" fmla="*/ 174987 w 409497"/>
                      <a:gd name="connsiteY56" fmla="*/ 187380 h 403597"/>
                      <a:gd name="connsiteX57" fmla="*/ 187369 w 409497"/>
                      <a:gd name="connsiteY57" fmla="*/ 227289 h 403597"/>
                      <a:gd name="connsiteX58" fmla="*/ 192227 w 409497"/>
                      <a:gd name="connsiteY58" fmla="*/ 239862 h 403597"/>
                      <a:gd name="connsiteX59" fmla="*/ 204800 w 409497"/>
                      <a:gd name="connsiteY59" fmla="*/ 235005 h 403597"/>
                      <a:gd name="connsiteX60" fmla="*/ 203466 w 409497"/>
                      <a:gd name="connsiteY60" fmla="*/ 192999 h 403597"/>
                      <a:gd name="connsiteX61" fmla="*/ 219564 w 409497"/>
                      <a:gd name="connsiteY61" fmla="*/ 181760 h 403597"/>
                      <a:gd name="connsiteX62" fmla="*/ 249377 w 409497"/>
                      <a:gd name="connsiteY62" fmla="*/ 192999 h 403597"/>
                      <a:gd name="connsiteX63" fmla="*/ 263760 w 409497"/>
                      <a:gd name="connsiteY63" fmla="*/ 234719 h 403597"/>
                      <a:gd name="connsiteX64" fmla="*/ 306432 w 409497"/>
                      <a:gd name="connsiteY64" fmla="*/ 246339 h 403597"/>
                      <a:gd name="connsiteX65" fmla="*/ 312147 w 409497"/>
                      <a:gd name="connsiteY65" fmla="*/ 246339 h 403597"/>
                      <a:gd name="connsiteX66" fmla="*/ 323767 w 409497"/>
                      <a:gd name="connsiteY66" fmla="*/ 257293 h 403597"/>
                      <a:gd name="connsiteX67" fmla="*/ 333292 w 409497"/>
                      <a:gd name="connsiteY67" fmla="*/ 264437 h 403597"/>
                      <a:gd name="connsiteX68" fmla="*/ 335673 w 409497"/>
                      <a:gd name="connsiteY68" fmla="*/ 264437 h 403597"/>
                      <a:gd name="connsiteX69" fmla="*/ 342531 w 409497"/>
                      <a:gd name="connsiteY69" fmla="*/ 252912 h 403597"/>
                      <a:gd name="connsiteX70" fmla="*/ 312432 w 409497"/>
                      <a:gd name="connsiteY70" fmla="*/ 227575 h 403597"/>
                      <a:gd name="connsiteX71" fmla="*/ 305955 w 409497"/>
                      <a:gd name="connsiteY71" fmla="*/ 227575 h 403597"/>
                      <a:gd name="connsiteX72" fmla="*/ 291382 w 409497"/>
                      <a:gd name="connsiteY72" fmla="*/ 227575 h 403597"/>
                      <a:gd name="connsiteX73" fmla="*/ 320624 w 409497"/>
                      <a:gd name="connsiteY73" fmla="*/ 214716 h 403597"/>
                      <a:gd name="connsiteX74" fmla="*/ 331244 w 409497"/>
                      <a:gd name="connsiteY74" fmla="*/ 206287 h 403597"/>
                      <a:gd name="connsiteX75" fmla="*/ 322815 w 409497"/>
                      <a:gd name="connsiteY75" fmla="*/ 195666 h 403597"/>
                      <a:gd name="connsiteX76" fmla="*/ 274713 w 409497"/>
                      <a:gd name="connsiteY76" fmla="*/ 218145 h 403597"/>
                      <a:gd name="connsiteX77" fmla="*/ 268713 w 409497"/>
                      <a:gd name="connsiteY77" fmla="*/ 191190 h 403597"/>
                      <a:gd name="connsiteX78" fmla="*/ 302050 w 409497"/>
                      <a:gd name="connsiteY78" fmla="*/ 165948 h 403597"/>
                      <a:gd name="connsiteX79" fmla="*/ 299478 w 409497"/>
                      <a:gd name="connsiteY79" fmla="*/ 152804 h 403597"/>
                      <a:gd name="connsiteX80" fmla="*/ 286248 w 409497"/>
                      <a:gd name="connsiteY80" fmla="*/ 155357 h 403597"/>
                      <a:gd name="connsiteX81" fmla="*/ 286239 w 409497"/>
                      <a:gd name="connsiteY81" fmla="*/ 155376 h 403597"/>
                      <a:gd name="connsiteX82" fmla="*/ 257664 w 409497"/>
                      <a:gd name="connsiteY82" fmla="*/ 174426 h 403597"/>
                      <a:gd name="connsiteX83" fmla="*/ 228327 w 409497"/>
                      <a:gd name="connsiteY83" fmla="*/ 164901 h 403597"/>
                      <a:gd name="connsiteX84" fmla="*/ 230041 w 409497"/>
                      <a:gd name="connsiteY84" fmla="*/ 143088 h 403597"/>
                      <a:gd name="connsiteX85" fmla="*/ 219373 w 409497"/>
                      <a:gd name="connsiteY85" fmla="*/ 134706 h 403597"/>
                      <a:gd name="connsiteX86" fmla="*/ 210991 w 409497"/>
                      <a:gd name="connsiteY86" fmla="*/ 145374 h 403597"/>
                      <a:gd name="connsiteX87" fmla="*/ 191941 w 409497"/>
                      <a:gd name="connsiteY87" fmla="*/ 177378 h 403597"/>
                      <a:gd name="connsiteX88" fmla="*/ 187464 w 409497"/>
                      <a:gd name="connsiteY88" fmla="*/ 173473 h 403597"/>
                      <a:gd name="connsiteX89" fmla="*/ 162509 w 409497"/>
                      <a:gd name="connsiteY89" fmla="*/ 122800 h 403597"/>
                      <a:gd name="connsiteX90" fmla="*/ 149602 w 409497"/>
                      <a:gd name="connsiteY90" fmla="*/ 126848 h 403597"/>
                      <a:gd name="connsiteX91" fmla="*/ 153651 w 409497"/>
                      <a:gd name="connsiteY91" fmla="*/ 139755 h 403597"/>
                      <a:gd name="connsiteX92" fmla="*/ 168605 w 409497"/>
                      <a:gd name="connsiteY92" fmla="*/ 170330 h 403597"/>
                      <a:gd name="connsiteX93" fmla="*/ 150317 w 409497"/>
                      <a:gd name="connsiteY93" fmla="*/ 175283 h 403597"/>
                      <a:gd name="connsiteX94" fmla="*/ 80213 w 409497"/>
                      <a:gd name="connsiteY94" fmla="*/ 129277 h 403597"/>
                      <a:gd name="connsiteX95" fmla="*/ 85642 w 409497"/>
                      <a:gd name="connsiteY95" fmla="*/ 141564 h 403597"/>
                      <a:gd name="connsiteX96" fmla="*/ 89071 w 409497"/>
                      <a:gd name="connsiteY96" fmla="*/ 142136 h 403597"/>
                      <a:gd name="connsiteX97" fmla="*/ 98025 w 409497"/>
                      <a:gd name="connsiteY97" fmla="*/ 136040 h 403597"/>
                      <a:gd name="connsiteX98" fmla="*/ 126600 w 409497"/>
                      <a:gd name="connsiteY98" fmla="*/ 61364 h 403597"/>
                      <a:gd name="connsiteX99" fmla="*/ 80499 w 409497"/>
                      <a:gd name="connsiteY99" fmla="*/ 61364 h 403597"/>
                      <a:gd name="connsiteX100" fmla="*/ 104025 w 409497"/>
                      <a:gd name="connsiteY100" fmla="*/ 13739 h 403597"/>
                      <a:gd name="connsiteX101" fmla="*/ 99672 w 409497"/>
                      <a:gd name="connsiteY101" fmla="*/ 994 h 403597"/>
                      <a:gd name="connsiteX102" fmla="*/ 99644 w 409497"/>
                      <a:gd name="connsiteY102" fmla="*/ 975 h 403597"/>
                      <a:gd name="connsiteX103" fmla="*/ 86899 w 409497"/>
                      <a:gd name="connsiteY103" fmla="*/ 5328 h 403597"/>
                      <a:gd name="connsiteX104" fmla="*/ 86880 w 409497"/>
                      <a:gd name="connsiteY104" fmla="*/ 5357 h 403597"/>
                      <a:gd name="connsiteX105" fmla="*/ 50019 w 409497"/>
                      <a:gd name="connsiteY105" fmla="*/ 80890 h 403597"/>
                      <a:gd name="connsiteX106" fmla="*/ 98882 w 409497"/>
                      <a:gd name="connsiteY106" fmla="*/ 80890 h 403597"/>
                      <a:gd name="connsiteX107" fmla="*/ 80213 w 409497"/>
                      <a:gd name="connsiteY107"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265855 w 409497"/>
                      <a:gd name="connsiteY30" fmla="*/ 81652 h 403597"/>
                      <a:gd name="connsiteX31" fmla="*/ 326434 w 409497"/>
                      <a:gd name="connsiteY31" fmla="*/ 95559 h 403597"/>
                      <a:gd name="connsiteX32" fmla="*/ 357105 w 409497"/>
                      <a:gd name="connsiteY32" fmla="*/ 146327 h 403597"/>
                      <a:gd name="connsiteX33" fmla="*/ 408444 w 409497"/>
                      <a:gd name="connsiteY33" fmla="*/ 239291 h 403597"/>
                      <a:gd name="connsiteX34" fmla="*/ 150317 w 409497"/>
                      <a:gd name="connsiteY34" fmla="*/ 175283 h 403597"/>
                      <a:gd name="connsiteX35" fmla="*/ 119075 w 409497"/>
                      <a:gd name="connsiteY35" fmla="*/ 194333 h 403597"/>
                      <a:gd name="connsiteX36" fmla="*/ 86499 w 409497"/>
                      <a:gd name="connsiteY36" fmla="*/ 176902 h 403597"/>
                      <a:gd name="connsiteX37" fmla="*/ 75165 w 409497"/>
                      <a:gd name="connsiteY37" fmla="*/ 169187 h 403597"/>
                      <a:gd name="connsiteX38" fmla="*/ 67449 w 409497"/>
                      <a:gd name="connsiteY38" fmla="*/ 180522 h 403597"/>
                      <a:gd name="connsiteX39" fmla="*/ 110788 w 409497"/>
                      <a:gd name="connsiteY39" fmla="*/ 212716 h 403597"/>
                      <a:gd name="connsiteX40" fmla="*/ 110026 w 409497"/>
                      <a:gd name="connsiteY40" fmla="*/ 218812 h 403597"/>
                      <a:gd name="connsiteX41" fmla="*/ 112884 w 409497"/>
                      <a:gd name="connsiteY41" fmla="*/ 239100 h 403597"/>
                      <a:gd name="connsiteX42" fmla="*/ 84309 w 409497"/>
                      <a:gd name="connsiteY42" fmla="*/ 246530 h 403597"/>
                      <a:gd name="connsiteX43" fmla="*/ 80975 w 409497"/>
                      <a:gd name="connsiteY43" fmla="*/ 259579 h 403597"/>
                      <a:gd name="connsiteX44" fmla="*/ 89071 w 409497"/>
                      <a:gd name="connsiteY44" fmla="*/ 264246 h 403597"/>
                      <a:gd name="connsiteX45" fmla="*/ 93738 w 409497"/>
                      <a:gd name="connsiteY45" fmla="*/ 263103 h 403597"/>
                      <a:gd name="connsiteX46" fmla="*/ 123742 w 409497"/>
                      <a:gd name="connsiteY46" fmla="*/ 260913 h 403597"/>
                      <a:gd name="connsiteX47" fmla="*/ 125647 w 409497"/>
                      <a:gd name="connsiteY47" fmla="*/ 261579 h 403597"/>
                      <a:gd name="connsiteX48" fmla="*/ 144697 w 409497"/>
                      <a:gd name="connsiteY48" fmla="*/ 281296 h 403597"/>
                      <a:gd name="connsiteX49" fmla="*/ 151650 w 409497"/>
                      <a:gd name="connsiteY49" fmla="*/ 284154 h 403597"/>
                      <a:gd name="connsiteX50" fmla="*/ 161137 w 409497"/>
                      <a:gd name="connsiteY50" fmla="*/ 274591 h 403597"/>
                      <a:gd name="connsiteX51" fmla="*/ 158508 w 409497"/>
                      <a:gd name="connsiteY51" fmla="*/ 268056 h 403597"/>
                      <a:gd name="connsiteX52" fmla="*/ 138887 w 409497"/>
                      <a:gd name="connsiteY52" fmla="*/ 247673 h 403597"/>
                      <a:gd name="connsiteX53" fmla="*/ 129362 w 409497"/>
                      <a:gd name="connsiteY53" fmla="*/ 219574 h 403597"/>
                      <a:gd name="connsiteX54" fmla="*/ 153365 w 409497"/>
                      <a:gd name="connsiteY54" fmla="*/ 193761 h 403597"/>
                      <a:gd name="connsiteX55" fmla="*/ 174987 w 409497"/>
                      <a:gd name="connsiteY55" fmla="*/ 187380 h 403597"/>
                      <a:gd name="connsiteX56" fmla="*/ 187369 w 409497"/>
                      <a:gd name="connsiteY56" fmla="*/ 227289 h 403597"/>
                      <a:gd name="connsiteX57" fmla="*/ 192227 w 409497"/>
                      <a:gd name="connsiteY57" fmla="*/ 239862 h 403597"/>
                      <a:gd name="connsiteX58" fmla="*/ 204800 w 409497"/>
                      <a:gd name="connsiteY58" fmla="*/ 235005 h 403597"/>
                      <a:gd name="connsiteX59" fmla="*/ 203466 w 409497"/>
                      <a:gd name="connsiteY59" fmla="*/ 192999 h 403597"/>
                      <a:gd name="connsiteX60" fmla="*/ 219564 w 409497"/>
                      <a:gd name="connsiteY60" fmla="*/ 181760 h 403597"/>
                      <a:gd name="connsiteX61" fmla="*/ 249377 w 409497"/>
                      <a:gd name="connsiteY61" fmla="*/ 192999 h 403597"/>
                      <a:gd name="connsiteX62" fmla="*/ 263760 w 409497"/>
                      <a:gd name="connsiteY62" fmla="*/ 234719 h 403597"/>
                      <a:gd name="connsiteX63" fmla="*/ 306432 w 409497"/>
                      <a:gd name="connsiteY63" fmla="*/ 246339 h 403597"/>
                      <a:gd name="connsiteX64" fmla="*/ 312147 w 409497"/>
                      <a:gd name="connsiteY64" fmla="*/ 246339 h 403597"/>
                      <a:gd name="connsiteX65" fmla="*/ 323767 w 409497"/>
                      <a:gd name="connsiteY65" fmla="*/ 257293 h 403597"/>
                      <a:gd name="connsiteX66" fmla="*/ 333292 w 409497"/>
                      <a:gd name="connsiteY66" fmla="*/ 264437 h 403597"/>
                      <a:gd name="connsiteX67" fmla="*/ 335673 w 409497"/>
                      <a:gd name="connsiteY67" fmla="*/ 264437 h 403597"/>
                      <a:gd name="connsiteX68" fmla="*/ 342531 w 409497"/>
                      <a:gd name="connsiteY68" fmla="*/ 252912 h 403597"/>
                      <a:gd name="connsiteX69" fmla="*/ 312432 w 409497"/>
                      <a:gd name="connsiteY69" fmla="*/ 227575 h 403597"/>
                      <a:gd name="connsiteX70" fmla="*/ 305955 w 409497"/>
                      <a:gd name="connsiteY70" fmla="*/ 227575 h 403597"/>
                      <a:gd name="connsiteX71" fmla="*/ 291382 w 409497"/>
                      <a:gd name="connsiteY71" fmla="*/ 227575 h 403597"/>
                      <a:gd name="connsiteX72" fmla="*/ 320624 w 409497"/>
                      <a:gd name="connsiteY72" fmla="*/ 214716 h 403597"/>
                      <a:gd name="connsiteX73" fmla="*/ 331244 w 409497"/>
                      <a:gd name="connsiteY73" fmla="*/ 206287 h 403597"/>
                      <a:gd name="connsiteX74" fmla="*/ 322815 w 409497"/>
                      <a:gd name="connsiteY74" fmla="*/ 195666 h 403597"/>
                      <a:gd name="connsiteX75" fmla="*/ 274713 w 409497"/>
                      <a:gd name="connsiteY75" fmla="*/ 218145 h 403597"/>
                      <a:gd name="connsiteX76" fmla="*/ 268713 w 409497"/>
                      <a:gd name="connsiteY76" fmla="*/ 191190 h 403597"/>
                      <a:gd name="connsiteX77" fmla="*/ 302050 w 409497"/>
                      <a:gd name="connsiteY77" fmla="*/ 165948 h 403597"/>
                      <a:gd name="connsiteX78" fmla="*/ 299478 w 409497"/>
                      <a:gd name="connsiteY78" fmla="*/ 152804 h 403597"/>
                      <a:gd name="connsiteX79" fmla="*/ 286248 w 409497"/>
                      <a:gd name="connsiteY79" fmla="*/ 155357 h 403597"/>
                      <a:gd name="connsiteX80" fmla="*/ 286239 w 409497"/>
                      <a:gd name="connsiteY80" fmla="*/ 155376 h 403597"/>
                      <a:gd name="connsiteX81" fmla="*/ 257664 w 409497"/>
                      <a:gd name="connsiteY81" fmla="*/ 174426 h 403597"/>
                      <a:gd name="connsiteX82" fmla="*/ 228327 w 409497"/>
                      <a:gd name="connsiteY82" fmla="*/ 164901 h 403597"/>
                      <a:gd name="connsiteX83" fmla="*/ 230041 w 409497"/>
                      <a:gd name="connsiteY83" fmla="*/ 143088 h 403597"/>
                      <a:gd name="connsiteX84" fmla="*/ 219373 w 409497"/>
                      <a:gd name="connsiteY84" fmla="*/ 134706 h 403597"/>
                      <a:gd name="connsiteX85" fmla="*/ 210991 w 409497"/>
                      <a:gd name="connsiteY85" fmla="*/ 145374 h 403597"/>
                      <a:gd name="connsiteX86" fmla="*/ 191941 w 409497"/>
                      <a:gd name="connsiteY86" fmla="*/ 177378 h 403597"/>
                      <a:gd name="connsiteX87" fmla="*/ 187464 w 409497"/>
                      <a:gd name="connsiteY87" fmla="*/ 173473 h 403597"/>
                      <a:gd name="connsiteX88" fmla="*/ 162509 w 409497"/>
                      <a:gd name="connsiteY88" fmla="*/ 122800 h 403597"/>
                      <a:gd name="connsiteX89" fmla="*/ 149602 w 409497"/>
                      <a:gd name="connsiteY89" fmla="*/ 126848 h 403597"/>
                      <a:gd name="connsiteX90" fmla="*/ 153651 w 409497"/>
                      <a:gd name="connsiteY90" fmla="*/ 139755 h 403597"/>
                      <a:gd name="connsiteX91" fmla="*/ 168605 w 409497"/>
                      <a:gd name="connsiteY91" fmla="*/ 170330 h 403597"/>
                      <a:gd name="connsiteX92" fmla="*/ 150317 w 409497"/>
                      <a:gd name="connsiteY92" fmla="*/ 175283 h 403597"/>
                      <a:gd name="connsiteX93" fmla="*/ 80213 w 409497"/>
                      <a:gd name="connsiteY93" fmla="*/ 129277 h 403597"/>
                      <a:gd name="connsiteX94" fmla="*/ 85642 w 409497"/>
                      <a:gd name="connsiteY94" fmla="*/ 141564 h 403597"/>
                      <a:gd name="connsiteX95" fmla="*/ 89071 w 409497"/>
                      <a:gd name="connsiteY95" fmla="*/ 142136 h 403597"/>
                      <a:gd name="connsiteX96" fmla="*/ 98025 w 409497"/>
                      <a:gd name="connsiteY96" fmla="*/ 136040 h 403597"/>
                      <a:gd name="connsiteX97" fmla="*/ 126600 w 409497"/>
                      <a:gd name="connsiteY97" fmla="*/ 61364 h 403597"/>
                      <a:gd name="connsiteX98" fmla="*/ 80499 w 409497"/>
                      <a:gd name="connsiteY98" fmla="*/ 61364 h 403597"/>
                      <a:gd name="connsiteX99" fmla="*/ 104025 w 409497"/>
                      <a:gd name="connsiteY99" fmla="*/ 13739 h 403597"/>
                      <a:gd name="connsiteX100" fmla="*/ 99672 w 409497"/>
                      <a:gd name="connsiteY100" fmla="*/ 994 h 403597"/>
                      <a:gd name="connsiteX101" fmla="*/ 99644 w 409497"/>
                      <a:gd name="connsiteY101" fmla="*/ 975 h 403597"/>
                      <a:gd name="connsiteX102" fmla="*/ 86899 w 409497"/>
                      <a:gd name="connsiteY102" fmla="*/ 5328 h 403597"/>
                      <a:gd name="connsiteX103" fmla="*/ 86880 w 409497"/>
                      <a:gd name="connsiteY103" fmla="*/ 5357 h 403597"/>
                      <a:gd name="connsiteX104" fmla="*/ 50019 w 409497"/>
                      <a:gd name="connsiteY104" fmla="*/ 80890 h 403597"/>
                      <a:gd name="connsiteX105" fmla="*/ 98882 w 409497"/>
                      <a:gd name="connsiteY105" fmla="*/ 80890 h 403597"/>
                      <a:gd name="connsiteX106" fmla="*/ 80213 w 409497"/>
                      <a:gd name="connsiteY106"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15576 w 409497"/>
                      <a:gd name="connsiteY29" fmla="*/ 111180 h 403597"/>
                      <a:gd name="connsiteX30" fmla="*/ 326434 w 409497"/>
                      <a:gd name="connsiteY30" fmla="*/ 95559 h 403597"/>
                      <a:gd name="connsiteX31" fmla="*/ 357105 w 409497"/>
                      <a:gd name="connsiteY31" fmla="*/ 146327 h 403597"/>
                      <a:gd name="connsiteX32" fmla="*/ 408444 w 409497"/>
                      <a:gd name="connsiteY32" fmla="*/ 239291 h 403597"/>
                      <a:gd name="connsiteX33" fmla="*/ 150317 w 409497"/>
                      <a:gd name="connsiteY33" fmla="*/ 175283 h 403597"/>
                      <a:gd name="connsiteX34" fmla="*/ 119075 w 409497"/>
                      <a:gd name="connsiteY34" fmla="*/ 194333 h 403597"/>
                      <a:gd name="connsiteX35" fmla="*/ 86499 w 409497"/>
                      <a:gd name="connsiteY35" fmla="*/ 176902 h 403597"/>
                      <a:gd name="connsiteX36" fmla="*/ 75165 w 409497"/>
                      <a:gd name="connsiteY36" fmla="*/ 169187 h 403597"/>
                      <a:gd name="connsiteX37" fmla="*/ 67449 w 409497"/>
                      <a:gd name="connsiteY37" fmla="*/ 180522 h 403597"/>
                      <a:gd name="connsiteX38" fmla="*/ 110788 w 409497"/>
                      <a:gd name="connsiteY38" fmla="*/ 212716 h 403597"/>
                      <a:gd name="connsiteX39" fmla="*/ 110026 w 409497"/>
                      <a:gd name="connsiteY39" fmla="*/ 218812 h 403597"/>
                      <a:gd name="connsiteX40" fmla="*/ 112884 w 409497"/>
                      <a:gd name="connsiteY40" fmla="*/ 239100 h 403597"/>
                      <a:gd name="connsiteX41" fmla="*/ 84309 w 409497"/>
                      <a:gd name="connsiteY41" fmla="*/ 246530 h 403597"/>
                      <a:gd name="connsiteX42" fmla="*/ 80975 w 409497"/>
                      <a:gd name="connsiteY42" fmla="*/ 259579 h 403597"/>
                      <a:gd name="connsiteX43" fmla="*/ 89071 w 409497"/>
                      <a:gd name="connsiteY43" fmla="*/ 264246 h 403597"/>
                      <a:gd name="connsiteX44" fmla="*/ 93738 w 409497"/>
                      <a:gd name="connsiteY44" fmla="*/ 263103 h 403597"/>
                      <a:gd name="connsiteX45" fmla="*/ 123742 w 409497"/>
                      <a:gd name="connsiteY45" fmla="*/ 260913 h 403597"/>
                      <a:gd name="connsiteX46" fmla="*/ 125647 w 409497"/>
                      <a:gd name="connsiteY46" fmla="*/ 261579 h 403597"/>
                      <a:gd name="connsiteX47" fmla="*/ 144697 w 409497"/>
                      <a:gd name="connsiteY47" fmla="*/ 281296 h 403597"/>
                      <a:gd name="connsiteX48" fmla="*/ 151650 w 409497"/>
                      <a:gd name="connsiteY48" fmla="*/ 284154 h 403597"/>
                      <a:gd name="connsiteX49" fmla="*/ 161137 w 409497"/>
                      <a:gd name="connsiteY49" fmla="*/ 274591 h 403597"/>
                      <a:gd name="connsiteX50" fmla="*/ 158508 w 409497"/>
                      <a:gd name="connsiteY50" fmla="*/ 268056 h 403597"/>
                      <a:gd name="connsiteX51" fmla="*/ 138887 w 409497"/>
                      <a:gd name="connsiteY51" fmla="*/ 247673 h 403597"/>
                      <a:gd name="connsiteX52" fmla="*/ 129362 w 409497"/>
                      <a:gd name="connsiteY52" fmla="*/ 219574 h 403597"/>
                      <a:gd name="connsiteX53" fmla="*/ 153365 w 409497"/>
                      <a:gd name="connsiteY53" fmla="*/ 193761 h 403597"/>
                      <a:gd name="connsiteX54" fmla="*/ 174987 w 409497"/>
                      <a:gd name="connsiteY54" fmla="*/ 187380 h 403597"/>
                      <a:gd name="connsiteX55" fmla="*/ 187369 w 409497"/>
                      <a:gd name="connsiteY55" fmla="*/ 227289 h 403597"/>
                      <a:gd name="connsiteX56" fmla="*/ 192227 w 409497"/>
                      <a:gd name="connsiteY56" fmla="*/ 239862 h 403597"/>
                      <a:gd name="connsiteX57" fmla="*/ 204800 w 409497"/>
                      <a:gd name="connsiteY57" fmla="*/ 235005 h 403597"/>
                      <a:gd name="connsiteX58" fmla="*/ 203466 w 409497"/>
                      <a:gd name="connsiteY58" fmla="*/ 192999 h 403597"/>
                      <a:gd name="connsiteX59" fmla="*/ 219564 w 409497"/>
                      <a:gd name="connsiteY59" fmla="*/ 181760 h 403597"/>
                      <a:gd name="connsiteX60" fmla="*/ 249377 w 409497"/>
                      <a:gd name="connsiteY60" fmla="*/ 192999 h 403597"/>
                      <a:gd name="connsiteX61" fmla="*/ 263760 w 409497"/>
                      <a:gd name="connsiteY61" fmla="*/ 234719 h 403597"/>
                      <a:gd name="connsiteX62" fmla="*/ 306432 w 409497"/>
                      <a:gd name="connsiteY62" fmla="*/ 246339 h 403597"/>
                      <a:gd name="connsiteX63" fmla="*/ 312147 w 409497"/>
                      <a:gd name="connsiteY63" fmla="*/ 246339 h 403597"/>
                      <a:gd name="connsiteX64" fmla="*/ 323767 w 409497"/>
                      <a:gd name="connsiteY64" fmla="*/ 257293 h 403597"/>
                      <a:gd name="connsiteX65" fmla="*/ 333292 w 409497"/>
                      <a:gd name="connsiteY65" fmla="*/ 264437 h 403597"/>
                      <a:gd name="connsiteX66" fmla="*/ 335673 w 409497"/>
                      <a:gd name="connsiteY66" fmla="*/ 264437 h 403597"/>
                      <a:gd name="connsiteX67" fmla="*/ 342531 w 409497"/>
                      <a:gd name="connsiteY67" fmla="*/ 252912 h 403597"/>
                      <a:gd name="connsiteX68" fmla="*/ 312432 w 409497"/>
                      <a:gd name="connsiteY68" fmla="*/ 227575 h 403597"/>
                      <a:gd name="connsiteX69" fmla="*/ 305955 w 409497"/>
                      <a:gd name="connsiteY69" fmla="*/ 227575 h 403597"/>
                      <a:gd name="connsiteX70" fmla="*/ 291382 w 409497"/>
                      <a:gd name="connsiteY70" fmla="*/ 227575 h 403597"/>
                      <a:gd name="connsiteX71" fmla="*/ 320624 w 409497"/>
                      <a:gd name="connsiteY71" fmla="*/ 214716 h 403597"/>
                      <a:gd name="connsiteX72" fmla="*/ 331244 w 409497"/>
                      <a:gd name="connsiteY72" fmla="*/ 206287 h 403597"/>
                      <a:gd name="connsiteX73" fmla="*/ 322815 w 409497"/>
                      <a:gd name="connsiteY73" fmla="*/ 195666 h 403597"/>
                      <a:gd name="connsiteX74" fmla="*/ 274713 w 409497"/>
                      <a:gd name="connsiteY74" fmla="*/ 218145 h 403597"/>
                      <a:gd name="connsiteX75" fmla="*/ 268713 w 409497"/>
                      <a:gd name="connsiteY75" fmla="*/ 191190 h 403597"/>
                      <a:gd name="connsiteX76" fmla="*/ 302050 w 409497"/>
                      <a:gd name="connsiteY76" fmla="*/ 165948 h 403597"/>
                      <a:gd name="connsiteX77" fmla="*/ 299478 w 409497"/>
                      <a:gd name="connsiteY77" fmla="*/ 152804 h 403597"/>
                      <a:gd name="connsiteX78" fmla="*/ 286248 w 409497"/>
                      <a:gd name="connsiteY78" fmla="*/ 155357 h 403597"/>
                      <a:gd name="connsiteX79" fmla="*/ 286239 w 409497"/>
                      <a:gd name="connsiteY79" fmla="*/ 155376 h 403597"/>
                      <a:gd name="connsiteX80" fmla="*/ 257664 w 409497"/>
                      <a:gd name="connsiteY80" fmla="*/ 174426 h 403597"/>
                      <a:gd name="connsiteX81" fmla="*/ 228327 w 409497"/>
                      <a:gd name="connsiteY81" fmla="*/ 164901 h 403597"/>
                      <a:gd name="connsiteX82" fmla="*/ 230041 w 409497"/>
                      <a:gd name="connsiteY82" fmla="*/ 143088 h 403597"/>
                      <a:gd name="connsiteX83" fmla="*/ 219373 w 409497"/>
                      <a:gd name="connsiteY83" fmla="*/ 134706 h 403597"/>
                      <a:gd name="connsiteX84" fmla="*/ 210991 w 409497"/>
                      <a:gd name="connsiteY84" fmla="*/ 145374 h 403597"/>
                      <a:gd name="connsiteX85" fmla="*/ 191941 w 409497"/>
                      <a:gd name="connsiteY85" fmla="*/ 177378 h 403597"/>
                      <a:gd name="connsiteX86" fmla="*/ 187464 w 409497"/>
                      <a:gd name="connsiteY86" fmla="*/ 173473 h 403597"/>
                      <a:gd name="connsiteX87" fmla="*/ 162509 w 409497"/>
                      <a:gd name="connsiteY87" fmla="*/ 122800 h 403597"/>
                      <a:gd name="connsiteX88" fmla="*/ 149602 w 409497"/>
                      <a:gd name="connsiteY88" fmla="*/ 126848 h 403597"/>
                      <a:gd name="connsiteX89" fmla="*/ 153651 w 409497"/>
                      <a:gd name="connsiteY89" fmla="*/ 139755 h 403597"/>
                      <a:gd name="connsiteX90" fmla="*/ 168605 w 409497"/>
                      <a:gd name="connsiteY90" fmla="*/ 170330 h 403597"/>
                      <a:gd name="connsiteX91" fmla="*/ 150317 w 409497"/>
                      <a:gd name="connsiteY91" fmla="*/ 175283 h 403597"/>
                      <a:gd name="connsiteX92" fmla="*/ 80213 w 409497"/>
                      <a:gd name="connsiteY92" fmla="*/ 129277 h 403597"/>
                      <a:gd name="connsiteX93" fmla="*/ 85642 w 409497"/>
                      <a:gd name="connsiteY93" fmla="*/ 141564 h 403597"/>
                      <a:gd name="connsiteX94" fmla="*/ 89071 w 409497"/>
                      <a:gd name="connsiteY94" fmla="*/ 142136 h 403597"/>
                      <a:gd name="connsiteX95" fmla="*/ 98025 w 409497"/>
                      <a:gd name="connsiteY95" fmla="*/ 136040 h 403597"/>
                      <a:gd name="connsiteX96" fmla="*/ 126600 w 409497"/>
                      <a:gd name="connsiteY96" fmla="*/ 61364 h 403597"/>
                      <a:gd name="connsiteX97" fmla="*/ 80499 w 409497"/>
                      <a:gd name="connsiteY97" fmla="*/ 61364 h 403597"/>
                      <a:gd name="connsiteX98" fmla="*/ 104025 w 409497"/>
                      <a:gd name="connsiteY98" fmla="*/ 13739 h 403597"/>
                      <a:gd name="connsiteX99" fmla="*/ 99672 w 409497"/>
                      <a:gd name="connsiteY99" fmla="*/ 994 h 403597"/>
                      <a:gd name="connsiteX100" fmla="*/ 99644 w 409497"/>
                      <a:gd name="connsiteY100" fmla="*/ 975 h 403597"/>
                      <a:gd name="connsiteX101" fmla="*/ 86899 w 409497"/>
                      <a:gd name="connsiteY101" fmla="*/ 5328 h 403597"/>
                      <a:gd name="connsiteX102" fmla="*/ 86880 w 409497"/>
                      <a:gd name="connsiteY102" fmla="*/ 5357 h 403597"/>
                      <a:gd name="connsiteX103" fmla="*/ 50019 w 409497"/>
                      <a:gd name="connsiteY103" fmla="*/ 80890 h 403597"/>
                      <a:gd name="connsiteX104" fmla="*/ 98882 w 409497"/>
                      <a:gd name="connsiteY104" fmla="*/ 80890 h 403597"/>
                      <a:gd name="connsiteX105" fmla="*/ 80213 w 409497"/>
                      <a:gd name="connsiteY105"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26434 w 409497"/>
                      <a:gd name="connsiteY29" fmla="*/ 95559 h 403597"/>
                      <a:gd name="connsiteX30" fmla="*/ 357105 w 409497"/>
                      <a:gd name="connsiteY30" fmla="*/ 146327 h 403597"/>
                      <a:gd name="connsiteX31" fmla="*/ 408444 w 409497"/>
                      <a:gd name="connsiteY31" fmla="*/ 239291 h 403597"/>
                      <a:gd name="connsiteX32" fmla="*/ 150317 w 409497"/>
                      <a:gd name="connsiteY32" fmla="*/ 175283 h 403597"/>
                      <a:gd name="connsiteX33" fmla="*/ 119075 w 409497"/>
                      <a:gd name="connsiteY33" fmla="*/ 194333 h 403597"/>
                      <a:gd name="connsiteX34" fmla="*/ 86499 w 409497"/>
                      <a:gd name="connsiteY34" fmla="*/ 176902 h 403597"/>
                      <a:gd name="connsiteX35" fmla="*/ 75165 w 409497"/>
                      <a:gd name="connsiteY35" fmla="*/ 169187 h 403597"/>
                      <a:gd name="connsiteX36" fmla="*/ 67449 w 409497"/>
                      <a:gd name="connsiteY36" fmla="*/ 180522 h 403597"/>
                      <a:gd name="connsiteX37" fmla="*/ 110788 w 409497"/>
                      <a:gd name="connsiteY37" fmla="*/ 212716 h 403597"/>
                      <a:gd name="connsiteX38" fmla="*/ 110026 w 409497"/>
                      <a:gd name="connsiteY38" fmla="*/ 218812 h 403597"/>
                      <a:gd name="connsiteX39" fmla="*/ 112884 w 409497"/>
                      <a:gd name="connsiteY39" fmla="*/ 239100 h 403597"/>
                      <a:gd name="connsiteX40" fmla="*/ 84309 w 409497"/>
                      <a:gd name="connsiteY40" fmla="*/ 246530 h 403597"/>
                      <a:gd name="connsiteX41" fmla="*/ 80975 w 409497"/>
                      <a:gd name="connsiteY41" fmla="*/ 259579 h 403597"/>
                      <a:gd name="connsiteX42" fmla="*/ 89071 w 409497"/>
                      <a:gd name="connsiteY42" fmla="*/ 264246 h 403597"/>
                      <a:gd name="connsiteX43" fmla="*/ 93738 w 409497"/>
                      <a:gd name="connsiteY43" fmla="*/ 263103 h 403597"/>
                      <a:gd name="connsiteX44" fmla="*/ 123742 w 409497"/>
                      <a:gd name="connsiteY44" fmla="*/ 260913 h 403597"/>
                      <a:gd name="connsiteX45" fmla="*/ 125647 w 409497"/>
                      <a:gd name="connsiteY45" fmla="*/ 261579 h 403597"/>
                      <a:gd name="connsiteX46" fmla="*/ 144697 w 409497"/>
                      <a:gd name="connsiteY46" fmla="*/ 281296 h 403597"/>
                      <a:gd name="connsiteX47" fmla="*/ 151650 w 409497"/>
                      <a:gd name="connsiteY47" fmla="*/ 284154 h 403597"/>
                      <a:gd name="connsiteX48" fmla="*/ 161137 w 409497"/>
                      <a:gd name="connsiteY48" fmla="*/ 274591 h 403597"/>
                      <a:gd name="connsiteX49" fmla="*/ 158508 w 409497"/>
                      <a:gd name="connsiteY49" fmla="*/ 268056 h 403597"/>
                      <a:gd name="connsiteX50" fmla="*/ 138887 w 409497"/>
                      <a:gd name="connsiteY50" fmla="*/ 247673 h 403597"/>
                      <a:gd name="connsiteX51" fmla="*/ 129362 w 409497"/>
                      <a:gd name="connsiteY51" fmla="*/ 219574 h 403597"/>
                      <a:gd name="connsiteX52" fmla="*/ 153365 w 409497"/>
                      <a:gd name="connsiteY52" fmla="*/ 193761 h 403597"/>
                      <a:gd name="connsiteX53" fmla="*/ 174987 w 409497"/>
                      <a:gd name="connsiteY53" fmla="*/ 187380 h 403597"/>
                      <a:gd name="connsiteX54" fmla="*/ 187369 w 409497"/>
                      <a:gd name="connsiteY54" fmla="*/ 227289 h 403597"/>
                      <a:gd name="connsiteX55" fmla="*/ 192227 w 409497"/>
                      <a:gd name="connsiteY55" fmla="*/ 239862 h 403597"/>
                      <a:gd name="connsiteX56" fmla="*/ 204800 w 409497"/>
                      <a:gd name="connsiteY56" fmla="*/ 235005 h 403597"/>
                      <a:gd name="connsiteX57" fmla="*/ 203466 w 409497"/>
                      <a:gd name="connsiteY57" fmla="*/ 192999 h 403597"/>
                      <a:gd name="connsiteX58" fmla="*/ 219564 w 409497"/>
                      <a:gd name="connsiteY58" fmla="*/ 181760 h 403597"/>
                      <a:gd name="connsiteX59" fmla="*/ 249377 w 409497"/>
                      <a:gd name="connsiteY59" fmla="*/ 192999 h 403597"/>
                      <a:gd name="connsiteX60" fmla="*/ 263760 w 409497"/>
                      <a:gd name="connsiteY60" fmla="*/ 234719 h 403597"/>
                      <a:gd name="connsiteX61" fmla="*/ 306432 w 409497"/>
                      <a:gd name="connsiteY61" fmla="*/ 246339 h 403597"/>
                      <a:gd name="connsiteX62" fmla="*/ 312147 w 409497"/>
                      <a:gd name="connsiteY62" fmla="*/ 246339 h 403597"/>
                      <a:gd name="connsiteX63" fmla="*/ 323767 w 409497"/>
                      <a:gd name="connsiteY63" fmla="*/ 257293 h 403597"/>
                      <a:gd name="connsiteX64" fmla="*/ 333292 w 409497"/>
                      <a:gd name="connsiteY64" fmla="*/ 264437 h 403597"/>
                      <a:gd name="connsiteX65" fmla="*/ 335673 w 409497"/>
                      <a:gd name="connsiteY65" fmla="*/ 264437 h 403597"/>
                      <a:gd name="connsiteX66" fmla="*/ 342531 w 409497"/>
                      <a:gd name="connsiteY66" fmla="*/ 252912 h 403597"/>
                      <a:gd name="connsiteX67" fmla="*/ 312432 w 409497"/>
                      <a:gd name="connsiteY67" fmla="*/ 227575 h 403597"/>
                      <a:gd name="connsiteX68" fmla="*/ 305955 w 409497"/>
                      <a:gd name="connsiteY68" fmla="*/ 227575 h 403597"/>
                      <a:gd name="connsiteX69" fmla="*/ 291382 w 409497"/>
                      <a:gd name="connsiteY69" fmla="*/ 227575 h 403597"/>
                      <a:gd name="connsiteX70" fmla="*/ 320624 w 409497"/>
                      <a:gd name="connsiteY70" fmla="*/ 214716 h 403597"/>
                      <a:gd name="connsiteX71" fmla="*/ 331244 w 409497"/>
                      <a:gd name="connsiteY71" fmla="*/ 206287 h 403597"/>
                      <a:gd name="connsiteX72" fmla="*/ 322815 w 409497"/>
                      <a:gd name="connsiteY72" fmla="*/ 195666 h 403597"/>
                      <a:gd name="connsiteX73" fmla="*/ 274713 w 409497"/>
                      <a:gd name="connsiteY73" fmla="*/ 218145 h 403597"/>
                      <a:gd name="connsiteX74" fmla="*/ 268713 w 409497"/>
                      <a:gd name="connsiteY74" fmla="*/ 191190 h 403597"/>
                      <a:gd name="connsiteX75" fmla="*/ 302050 w 409497"/>
                      <a:gd name="connsiteY75" fmla="*/ 165948 h 403597"/>
                      <a:gd name="connsiteX76" fmla="*/ 299478 w 409497"/>
                      <a:gd name="connsiteY76" fmla="*/ 152804 h 403597"/>
                      <a:gd name="connsiteX77" fmla="*/ 286248 w 409497"/>
                      <a:gd name="connsiteY77" fmla="*/ 155357 h 403597"/>
                      <a:gd name="connsiteX78" fmla="*/ 286239 w 409497"/>
                      <a:gd name="connsiteY78" fmla="*/ 155376 h 403597"/>
                      <a:gd name="connsiteX79" fmla="*/ 257664 w 409497"/>
                      <a:gd name="connsiteY79" fmla="*/ 174426 h 403597"/>
                      <a:gd name="connsiteX80" fmla="*/ 228327 w 409497"/>
                      <a:gd name="connsiteY80" fmla="*/ 164901 h 403597"/>
                      <a:gd name="connsiteX81" fmla="*/ 230041 w 409497"/>
                      <a:gd name="connsiteY81" fmla="*/ 143088 h 403597"/>
                      <a:gd name="connsiteX82" fmla="*/ 219373 w 409497"/>
                      <a:gd name="connsiteY82" fmla="*/ 134706 h 403597"/>
                      <a:gd name="connsiteX83" fmla="*/ 210991 w 409497"/>
                      <a:gd name="connsiteY83" fmla="*/ 145374 h 403597"/>
                      <a:gd name="connsiteX84" fmla="*/ 191941 w 409497"/>
                      <a:gd name="connsiteY84" fmla="*/ 177378 h 403597"/>
                      <a:gd name="connsiteX85" fmla="*/ 187464 w 409497"/>
                      <a:gd name="connsiteY85" fmla="*/ 173473 h 403597"/>
                      <a:gd name="connsiteX86" fmla="*/ 162509 w 409497"/>
                      <a:gd name="connsiteY86" fmla="*/ 122800 h 403597"/>
                      <a:gd name="connsiteX87" fmla="*/ 149602 w 409497"/>
                      <a:gd name="connsiteY87" fmla="*/ 126848 h 403597"/>
                      <a:gd name="connsiteX88" fmla="*/ 153651 w 409497"/>
                      <a:gd name="connsiteY88" fmla="*/ 139755 h 403597"/>
                      <a:gd name="connsiteX89" fmla="*/ 168605 w 409497"/>
                      <a:gd name="connsiteY89" fmla="*/ 170330 h 403597"/>
                      <a:gd name="connsiteX90" fmla="*/ 150317 w 409497"/>
                      <a:gd name="connsiteY90" fmla="*/ 175283 h 403597"/>
                      <a:gd name="connsiteX91" fmla="*/ 80213 w 409497"/>
                      <a:gd name="connsiteY91" fmla="*/ 129277 h 403597"/>
                      <a:gd name="connsiteX92" fmla="*/ 85642 w 409497"/>
                      <a:gd name="connsiteY92" fmla="*/ 141564 h 403597"/>
                      <a:gd name="connsiteX93" fmla="*/ 89071 w 409497"/>
                      <a:gd name="connsiteY93" fmla="*/ 142136 h 403597"/>
                      <a:gd name="connsiteX94" fmla="*/ 98025 w 409497"/>
                      <a:gd name="connsiteY94" fmla="*/ 136040 h 403597"/>
                      <a:gd name="connsiteX95" fmla="*/ 126600 w 409497"/>
                      <a:gd name="connsiteY95" fmla="*/ 61364 h 403597"/>
                      <a:gd name="connsiteX96" fmla="*/ 80499 w 409497"/>
                      <a:gd name="connsiteY96" fmla="*/ 61364 h 403597"/>
                      <a:gd name="connsiteX97" fmla="*/ 104025 w 409497"/>
                      <a:gd name="connsiteY97" fmla="*/ 13739 h 403597"/>
                      <a:gd name="connsiteX98" fmla="*/ 99672 w 409497"/>
                      <a:gd name="connsiteY98" fmla="*/ 994 h 403597"/>
                      <a:gd name="connsiteX99" fmla="*/ 99644 w 409497"/>
                      <a:gd name="connsiteY99" fmla="*/ 975 h 403597"/>
                      <a:gd name="connsiteX100" fmla="*/ 86899 w 409497"/>
                      <a:gd name="connsiteY100" fmla="*/ 5328 h 403597"/>
                      <a:gd name="connsiteX101" fmla="*/ 86880 w 409497"/>
                      <a:gd name="connsiteY101" fmla="*/ 5357 h 403597"/>
                      <a:gd name="connsiteX102" fmla="*/ 50019 w 409497"/>
                      <a:gd name="connsiteY102" fmla="*/ 80890 h 403597"/>
                      <a:gd name="connsiteX103" fmla="*/ 98882 w 409497"/>
                      <a:gd name="connsiteY103" fmla="*/ 80890 h 403597"/>
                      <a:gd name="connsiteX104" fmla="*/ 80213 w 409497"/>
                      <a:gd name="connsiteY104"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39198 w 409497"/>
                      <a:gd name="connsiteY28" fmla="*/ 154137 h 403597"/>
                      <a:gd name="connsiteX29" fmla="*/ 357105 w 409497"/>
                      <a:gd name="connsiteY29" fmla="*/ 146327 h 403597"/>
                      <a:gd name="connsiteX30" fmla="*/ 408444 w 409497"/>
                      <a:gd name="connsiteY30" fmla="*/ 239291 h 403597"/>
                      <a:gd name="connsiteX31" fmla="*/ 150317 w 409497"/>
                      <a:gd name="connsiteY31" fmla="*/ 175283 h 403597"/>
                      <a:gd name="connsiteX32" fmla="*/ 119075 w 409497"/>
                      <a:gd name="connsiteY32" fmla="*/ 194333 h 403597"/>
                      <a:gd name="connsiteX33" fmla="*/ 86499 w 409497"/>
                      <a:gd name="connsiteY33" fmla="*/ 176902 h 403597"/>
                      <a:gd name="connsiteX34" fmla="*/ 75165 w 409497"/>
                      <a:gd name="connsiteY34" fmla="*/ 169187 h 403597"/>
                      <a:gd name="connsiteX35" fmla="*/ 67449 w 409497"/>
                      <a:gd name="connsiteY35" fmla="*/ 180522 h 403597"/>
                      <a:gd name="connsiteX36" fmla="*/ 110788 w 409497"/>
                      <a:gd name="connsiteY36" fmla="*/ 212716 h 403597"/>
                      <a:gd name="connsiteX37" fmla="*/ 110026 w 409497"/>
                      <a:gd name="connsiteY37" fmla="*/ 218812 h 403597"/>
                      <a:gd name="connsiteX38" fmla="*/ 112884 w 409497"/>
                      <a:gd name="connsiteY38" fmla="*/ 239100 h 403597"/>
                      <a:gd name="connsiteX39" fmla="*/ 84309 w 409497"/>
                      <a:gd name="connsiteY39" fmla="*/ 246530 h 403597"/>
                      <a:gd name="connsiteX40" fmla="*/ 80975 w 409497"/>
                      <a:gd name="connsiteY40" fmla="*/ 259579 h 403597"/>
                      <a:gd name="connsiteX41" fmla="*/ 89071 w 409497"/>
                      <a:gd name="connsiteY41" fmla="*/ 264246 h 403597"/>
                      <a:gd name="connsiteX42" fmla="*/ 93738 w 409497"/>
                      <a:gd name="connsiteY42" fmla="*/ 263103 h 403597"/>
                      <a:gd name="connsiteX43" fmla="*/ 123742 w 409497"/>
                      <a:gd name="connsiteY43" fmla="*/ 260913 h 403597"/>
                      <a:gd name="connsiteX44" fmla="*/ 125647 w 409497"/>
                      <a:gd name="connsiteY44" fmla="*/ 261579 h 403597"/>
                      <a:gd name="connsiteX45" fmla="*/ 144697 w 409497"/>
                      <a:gd name="connsiteY45" fmla="*/ 281296 h 403597"/>
                      <a:gd name="connsiteX46" fmla="*/ 151650 w 409497"/>
                      <a:gd name="connsiteY46" fmla="*/ 284154 h 403597"/>
                      <a:gd name="connsiteX47" fmla="*/ 161137 w 409497"/>
                      <a:gd name="connsiteY47" fmla="*/ 274591 h 403597"/>
                      <a:gd name="connsiteX48" fmla="*/ 158508 w 409497"/>
                      <a:gd name="connsiteY48" fmla="*/ 268056 h 403597"/>
                      <a:gd name="connsiteX49" fmla="*/ 138887 w 409497"/>
                      <a:gd name="connsiteY49" fmla="*/ 247673 h 403597"/>
                      <a:gd name="connsiteX50" fmla="*/ 129362 w 409497"/>
                      <a:gd name="connsiteY50" fmla="*/ 219574 h 403597"/>
                      <a:gd name="connsiteX51" fmla="*/ 153365 w 409497"/>
                      <a:gd name="connsiteY51" fmla="*/ 193761 h 403597"/>
                      <a:gd name="connsiteX52" fmla="*/ 174987 w 409497"/>
                      <a:gd name="connsiteY52" fmla="*/ 187380 h 403597"/>
                      <a:gd name="connsiteX53" fmla="*/ 187369 w 409497"/>
                      <a:gd name="connsiteY53" fmla="*/ 227289 h 403597"/>
                      <a:gd name="connsiteX54" fmla="*/ 192227 w 409497"/>
                      <a:gd name="connsiteY54" fmla="*/ 239862 h 403597"/>
                      <a:gd name="connsiteX55" fmla="*/ 204800 w 409497"/>
                      <a:gd name="connsiteY55" fmla="*/ 235005 h 403597"/>
                      <a:gd name="connsiteX56" fmla="*/ 203466 w 409497"/>
                      <a:gd name="connsiteY56" fmla="*/ 192999 h 403597"/>
                      <a:gd name="connsiteX57" fmla="*/ 219564 w 409497"/>
                      <a:gd name="connsiteY57" fmla="*/ 181760 h 403597"/>
                      <a:gd name="connsiteX58" fmla="*/ 249377 w 409497"/>
                      <a:gd name="connsiteY58" fmla="*/ 192999 h 403597"/>
                      <a:gd name="connsiteX59" fmla="*/ 263760 w 409497"/>
                      <a:gd name="connsiteY59" fmla="*/ 234719 h 403597"/>
                      <a:gd name="connsiteX60" fmla="*/ 306432 w 409497"/>
                      <a:gd name="connsiteY60" fmla="*/ 246339 h 403597"/>
                      <a:gd name="connsiteX61" fmla="*/ 312147 w 409497"/>
                      <a:gd name="connsiteY61" fmla="*/ 246339 h 403597"/>
                      <a:gd name="connsiteX62" fmla="*/ 323767 w 409497"/>
                      <a:gd name="connsiteY62" fmla="*/ 257293 h 403597"/>
                      <a:gd name="connsiteX63" fmla="*/ 333292 w 409497"/>
                      <a:gd name="connsiteY63" fmla="*/ 264437 h 403597"/>
                      <a:gd name="connsiteX64" fmla="*/ 335673 w 409497"/>
                      <a:gd name="connsiteY64" fmla="*/ 264437 h 403597"/>
                      <a:gd name="connsiteX65" fmla="*/ 342531 w 409497"/>
                      <a:gd name="connsiteY65" fmla="*/ 252912 h 403597"/>
                      <a:gd name="connsiteX66" fmla="*/ 312432 w 409497"/>
                      <a:gd name="connsiteY66" fmla="*/ 227575 h 403597"/>
                      <a:gd name="connsiteX67" fmla="*/ 305955 w 409497"/>
                      <a:gd name="connsiteY67" fmla="*/ 227575 h 403597"/>
                      <a:gd name="connsiteX68" fmla="*/ 291382 w 409497"/>
                      <a:gd name="connsiteY68" fmla="*/ 227575 h 403597"/>
                      <a:gd name="connsiteX69" fmla="*/ 320624 w 409497"/>
                      <a:gd name="connsiteY69" fmla="*/ 214716 h 403597"/>
                      <a:gd name="connsiteX70" fmla="*/ 331244 w 409497"/>
                      <a:gd name="connsiteY70" fmla="*/ 206287 h 403597"/>
                      <a:gd name="connsiteX71" fmla="*/ 322815 w 409497"/>
                      <a:gd name="connsiteY71" fmla="*/ 195666 h 403597"/>
                      <a:gd name="connsiteX72" fmla="*/ 274713 w 409497"/>
                      <a:gd name="connsiteY72" fmla="*/ 218145 h 403597"/>
                      <a:gd name="connsiteX73" fmla="*/ 268713 w 409497"/>
                      <a:gd name="connsiteY73" fmla="*/ 191190 h 403597"/>
                      <a:gd name="connsiteX74" fmla="*/ 302050 w 409497"/>
                      <a:gd name="connsiteY74" fmla="*/ 165948 h 403597"/>
                      <a:gd name="connsiteX75" fmla="*/ 299478 w 409497"/>
                      <a:gd name="connsiteY75" fmla="*/ 152804 h 403597"/>
                      <a:gd name="connsiteX76" fmla="*/ 286248 w 409497"/>
                      <a:gd name="connsiteY76" fmla="*/ 155357 h 403597"/>
                      <a:gd name="connsiteX77" fmla="*/ 286239 w 409497"/>
                      <a:gd name="connsiteY77" fmla="*/ 155376 h 403597"/>
                      <a:gd name="connsiteX78" fmla="*/ 257664 w 409497"/>
                      <a:gd name="connsiteY78" fmla="*/ 174426 h 403597"/>
                      <a:gd name="connsiteX79" fmla="*/ 228327 w 409497"/>
                      <a:gd name="connsiteY79" fmla="*/ 164901 h 403597"/>
                      <a:gd name="connsiteX80" fmla="*/ 230041 w 409497"/>
                      <a:gd name="connsiteY80" fmla="*/ 143088 h 403597"/>
                      <a:gd name="connsiteX81" fmla="*/ 219373 w 409497"/>
                      <a:gd name="connsiteY81" fmla="*/ 134706 h 403597"/>
                      <a:gd name="connsiteX82" fmla="*/ 210991 w 409497"/>
                      <a:gd name="connsiteY82" fmla="*/ 145374 h 403597"/>
                      <a:gd name="connsiteX83" fmla="*/ 191941 w 409497"/>
                      <a:gd name="connsiteY83" fmla="*/ 177378 h 403597"/>
                      <a:gd name="connsiteX84" fmla="*/ 187464 w 409497"/>
                      <a:gd name="connsiteY84" fmla="*/ 173473 h 403597"/>
                      <a:gd name="connsiteX85" fmla="*/ 162509 w 409497"/>
                      <a:gd name="connsiteY85" fmla="*/ 122800 h 403597"/>
                      <a:gd name="connsiteX86" fmla="*/ 149602 w 409497"/>
                      <a:gd name="connsiteY86" fmla="*/ 126848 h 403597"/>
                      <a:gd name="connsiteX87" fmla="*/ 153651 w 409497"/>
                      <a:gd name="connsiteY87" fmla="*/ 139755 h 403597"/>
                      <a:gd name="connsiteX88" fmla="*/ 168605 w 409497"/>
                      <a:gd name="connsiteY88" fmla="*/ 170330 h 403597"/>
                      <a:gd name="connsiteX89" fmla="*/ 150317 w 409497"/>
                      <a:gd name="connsiteY89" fmla="*/ 175283 h 403597"/>
                      <a:gd name="connsiteX90" fmla="*/ 80213 w 409497"/>
                      <a:gd name="connsiteY90" fmla="*/ 129277 h 403597"/>
                      <a:gd name="connsiteX91" fmla="*/ 85642 w 409497"/>
                      <a:gd name="connsiteY91" fmla="*/ 141564 h 403597"/>
                      <a:gd name="connsiteX92" fmla="*/ 89071 w 409497"/>
                      <a:gd name="connsiteY92" fmla="*/ 142136 h 403597"/>
                      <a:gd name="connsiteX93" fmla="*/ 98025 w 409497"/>
                      <a:gd name="connsiteY93" fmla="*/ 136040 h 403597"/>
                      <a:gd name="connsiteX94" fmla="*/ 126600 w 409497"/>
                      <a:gd name="connsiteY94" fmla="*/ 61364 h 403597"/>
                      <a:gd name="connsiteX95" fmla="*/ 80499 w 409497"/>
                      <a:gd name="connsiteY95" fmla="*/ 61364 h 403597"/>
                      <a:gd name="connsiteX96" fmla="*/ 104025 w 409497"/>
                      <a:gd name="connsiteY96" fmla="*/ 13739 h 403597"/>
                      <a:gd name="connsiteX97" fmla="*/ 99672 w 409497"/>
                      <a:gd name="connsiteY97" fmla="*/ 994 h 403597"/>
                      <a:gd name="connsiteX98" fmla="*/ 99644 w 409497"/>
                      <a:gd name="connsiteY98" fmla="*/ 975 h 403597"/>
                      <a:gd name="connsiteX99" fmla="*/ 86899 w 409497"/>
                      <a:gd name="connsiteY99" fmla="*/ 5328 h 403597"/>
                      <a:gd name="connsiteX100" fmla="*/ 86880 w 409497"/>
                      <a:gd name="connsiteY100" fmla="*/ 5357 h 403597"/>
                      <a:gd name="connsiteX101" fmla="*/ 50019 w 409497"/>
                      <a:gd name="connsiteY101" fmla="*/ 80890 h 403597"/>
                      <a:gd name="connsiteX102" fmla="*/ 98882 w 409497"/>
                      <a:gd name="connsiteY102" fmla="*/ 80890 h 403597"/>
                      <a:gd name="connsiteX103" fmla="*/ 80213 w 409497"/>
                      <a:gd name="connsiteY103"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39960 w 409497"/>
                      <a:gd name="connsiteY27" fmla="*/ 159186 h 403597"/>
                      <a:gd name="connsiteX28" fmla="*/ 357105 w 409497"/>
                      <a:gd name="connsiteY28" fmla="*/ 146327 h 403597"/>
                      <a:gd name="connsiteX29" fmla="*/ 408444 w 409497"/>
                      <a:gd name="connsiteY29" fmla="*/ 239291 h 403597"/>
                      <a:gd name="connsiteX30" fmla="*/ 150317 w 409497"/>
                      <a:gd name="connsiteY30" fmla="*/ 175283 h 403597"/>
                      <a:gd name="connsiteX31" fmla="*/ 119075 w 409497"/>
                      <a:gd name="connsiteY31" fmla="*/ 194333 h 403597"/>
                      <a:gd name="connsiteX32" fmla="*/ 86499 w 409497"/>
                      <a:gd name="connsiteY32" fmla="*/ 176902 h 403597"/>
                      <a:gd name="connsiteX33" fmla="*/ 75165 w 409497"/>
                      <a:gd name="connsiteY33" fmla="*/ 169187 h 403597"/>
                      <a:gd name="connsiteX34" fmla="*/ 67449 w 409497"/>
                      <a:gd name="connsiteY34" fmla="*/ 180522 h 403597"/>
                      <a:gd name="connsiteX35" fmla="*/ 110788 w 409497"/>
                      <a:gd name="connsiteY35" fmla="*/ 212716 h 403597"/>
                      <a:gd name="connsiteX36" fmla="*/ 110026 w 409497"/>
                      <a:gd name="connsiteY36" fmla="*/ 218812 h 403597"/>
                      <a:gd name="connsiteX37" fmla="*/ 112884 w 409497"/>
                      <a:gd name="connsiteY37" fmla="*/ 239100 h 403597"/>
                      <a:gd name="connsiteX38" fmla="*/ 84309 w 409497"/>
                      <a:gd name="connsiteY38" fmla="*/ 246530 h 403597"/>
                      <a:gd name="connsiteX39" fmla="*/ 80975 w 409497"/>
                      <a:gd name="connsiteY39" fmla="*/ 259579 h 403597"/>
                      <a:gd name="connsiteX40" fmla="*/ 89071 w 409497"/>
                      <a:gd name="connsiteY40" fmla="*/ 264246 h 403597"/>
                      <a:gd name="connsiteX41" fmla="*/ 93738 w 409497"/>
                      <a:gd name="connsiteY41" fmla="*/ 263103 h 403597"/>
                      <a:gd name="connsiteX42" fmla="*/ 123742 w 409497"/>
                      <a:gd name="connsiteY42" fmla="*/ 260913 h 403597"/>
                      <a:gd name="connsiteX43" fmla="*/ 125647 w 409497"/>
                      <a:gd name="connsiteY43" fmla="*/ 261579 h 403597"/>
                      <a:gd name="connsiteX44" fmla="*/ 144697 w 409497"/>
                      <a:gd name="connsiteY44" fmla="*/ 281296 h 403597"/>
                      <a:gd name="connsiteX45" fmla="*/ 151650 w 409497"/>
                      <a:gd name="connsiteY45" fmla="*/ 284154 h 403597"/>
                      <a:gd name="connsiteX46" fmla="*/ 161137 w 409497"/>
                      <a:gd name="connsiteY46" fmla="*/ 274591 h 403597"/>
                      <a:gd name="connsiteX47" fmla="*/ 158508 w 409497"/>
                      <a:gd name="connsiteY47" fmla="*/ 268056 h 403597"/>
                      <a:gd name="connsiteX48" fmla="*/ 138887 w 409497"/>
                      <a:gd name="connsiteY48" fmla="*/ 247673 h 403597"/>
                      <a:gd name="connsiteX49" fmla="*/ 129362 w 409497"/>
                      <a:gd name="connsiteY49" fmla="*/ 219574 h 403597"/>
                      <a:gd name="connsiteX50" fmla="*/ 153365 w 409497"/>
                      <a:gd name="connsiteY50" fmla="*/ 193761 h 403597"/>
                      <a:gd name="connsiteX51" fmla="*/ 174987 w 409497"/>
                      <a:gd name="connsiteY51" fmla="*/ 187380 h 403597"/>
                      <a:gd name="connsiteX52" fmla="*/ 187369 w 409497"/>
                      <a:gd name="connsiteY52" fmla="*/ 227289 h 403597"/>
                      <a:gd name="connsiteX53" fmla="*/ 192227 w 409497"/>
                      <a:gd name="connsiteY53" fmla="*/ 239862 h 403597"/>
                      <a:gd name="connsiteX54" fmla="*/ 204800 w 409497"/>
                      <a:gd name="connsiteY54" fmla="*/ 235005 h 403597"/>
                      <a:gd name="connsiteX55" fmla="*/ 203466 w 409497"/>
                      <a:gd name="connsiteY55" fmla="*/ 192999 h 403597"/>
                      <a:gd name="connsiteX56" fmla="*/ 219564 w 409497"/>
                      <a:gd name="connsiteY56" fmla="*/ 181760 h 403597"/>
                      <a:gd name="connsiteX57" fmla="*/ 249377 w 409497"/>
                      <a:gd name="connsiteY57" fmla="*/ 192999 h 403597"/>
                      <a:gd name="connsiteX58" fmla="*/ 263760 w 409497"/>
                      <a:gd name="connsiteY58" fmla="*/ 234719 h 403597"/>
                      <a:gd name="connsiteX59" fmla="*/ 306432 w 409497"/>
                      <a:gd name="connsiteY59" fmla="*/ 246339 h 403597"/>
                      <a:gd name="connsiteX60" fmla="*/ 312147 w 409497"/>
                      <a:gd name="connsiteY60" fmla="*/ 246339 h 403597"/>
                      <a:gd name="connsiteX61" fmla="*/ 323767 w 409497"/>
                      <a:gd name="connsiteY61" fmla="*/ 257293 h 403597"/>
                      <a:gd name="connsiteX62" fmla="*/ 333292 w 409497"/>
                      <a:gd name="connsiteY62" fmla="*/ 264437 h 403597"/>
                      <a:gd name="connsiteX63" fmla="*/ 335673 w 409497"/>
                      <a:gd name="connsiteY63" fmla="*/ 264437 h 403597"/>
                      <a:gd name="connsiteX64" fmla="*/ 342531 w 409497"/>
                      <a:gd name="connsiteY64" fmla="*/ 252912 h 403597"/>
                      <a:gd name="connsiteX65" fmla="*/ 312432 w 409497"/>
                      <a:gd name="connsiteY65" fmla="*/ 227575 h 403597"/>
                      <a:gd name="connsiteX66" fmla="*/ 305955 w 409497"/>
                      <a:gd name="connsiteY66" fmla="*/ 227575 h 403597"/>
                      <a:gd name="connsiteX67" fmla="*/ 291382 w 409497"/>
                      <a:gd name="connsiteY67" fmla="*/ 227575 h 403597"/>
                      <a:gd name="connsiteX68" fmla="*/ 320624 w 409497"/>
                      <a:gd name="connsiteY68" fmla="*/ 214716 h 403597"/>
                      <a:gd name="connsiteX69" fmla="*/ 331244 w 409497"/>
                      <a:gd name="connsiteY69" fmla="*/ 206287 h 403597"/>
                      <a:gd name="connsiteX70" fmla="*/ 322815 w 409497"/>
                      <a:gd name="connsiteY70" fmla="*/ 195666 h 403597"/>
                      <a:gd name="connsiteX71" fmla="*/ 274713 w 409497"/>
                      <a:gd name="connsiteY71" fmla="*/ 218145 h 403597"/>
                      <a:gd name="connsiteX72" fmla="*/ 268713 w 409497"/>
                      <a:gd name="connsiteY72" fmla="*/ 191190 h 403597"/>
                      <a:gd name="connsiteX73" fmla="*/ 302050 w 409497"/>
                      <a:gd name="connsiteY73" fmla="*/ 165948 h 403597"/>
                      <a:gd name="connsiteX74" fmla="*/ 299478 w 409497"/>
                      <a:gd name="connsiteY74" fmla="*/ 152804 h 403597"/>
                      <a:gd name="connsiteX75" fmla="*/ 286248 w 409497"/>
                      <a:gd name="connsiteY75" fmla="*/ 155357 h 403597"/>
                      <a:gd name="connsiteX76" fmla="*/ 286239 w 409497"/>
                      <a:gd name="connsiteY76" fmla="*/ 155376 h 403597"/>
                      <a:gd name="connsiteX77" fmla="*/ 257664 w 409497"/>
                      <a:gd name="connsiteY77" fmla="*/ 174426 h 403597"/>
                      <a:gd name="connsiteX78" fmla="*/ 228327 w 409497"/>
                      <a:gd name="connsiteY78" fmla="*/ 164901 h 403597"/>
                      <a:gd name="connsiteX79" fmla="*/ 230041 w 409497"/>
                      <a:gd name="connsiteY79" fmla="*/ 143088 h 403597"/>
                      <a:gd name="connsiteX80" fmla="*/ 219373 w 409497"/>
                      <a:gd name="connsiteY80" fmla="*/ 134706 h 403597"/>
                      <a:gd name="connsiteX81" fmla="*/ 210991 w 409497"/>
                      <a:gd name="connsiteY81" fmla="*/ 145374 h 403597"/>
                      <a:gd name="connsiteX82" fmla="*/ 191941 w 409497"/>
                      <a:gd name="connsiteY82" fmla="*/ 177378 h 403597"/>
                      <a:gd name="connsiteX83" fmla="*/ 187464 w 409497"/>
                      <a:gd name="connsiteY83" fmla="*/ 173473 h 403597"/>
                      <a:gd name="connsiteX84" fmla="*/ 162509 w 409497"/>
                      <a:gd name="connsiteY84" fmla="*/ 122800 h 403597"/>
                      <a:gd name="connsiteX85" fmla="*/ 149602 w 409497"/>
                      <a:gd name="connsiteY85" fmla="*/ 126848 h 403597"/>
                      <a:gd name="connsiteX86" fmla="*/ 153651 w 409497"/>
                      <a:gd name="connsiteY86" fmla="*/ 139755 h 403597"/>
                      <a:gd name="connsiteX87" fmla="*/ 168605 w 409497"/>
                      <a:gd name="connsiteY87" fmla="*/ 170330 h 403597"/>
                      <a:gd name="connsiteX88" fmla="*/ 150317 w 409497"/>
                      <a:gd name="connsiteY88" fmla="*/ 175283 h 403597"/>
                      <a:gd name="connsiteX89" fmla="*/ 80213 w 409497"/>
                      <a:gd name="connsiteY89" fmla="*/ 129277 h 403597"/>
                      <a:gd name="connsiteX90" fmla="*/ 85642 w 409497"/>
                      <a:gd name="connsiteY90" fmla="*/ 141564 h 403597"/>
                      <a:gd name="connsiteX91" fmla="*/ 89071 w 409497"/>
                      <a:gd name="connsiteY91" fmla="*/ 142136 h 403597"/>
                      <a:gd name="connsiteX92" fmla="*/ 98025 w 409497"/>
                      <a:gd name="connsiteY92" fmla="*/ 136040 h 403597"/>
                      <a:gd name="connsiteX93" fmla="*/ 126600 w 409497"/>
                      <a:gd name="connsiteY93" fmla="*/ 61364 h 403597"/>
                      <a:gd name="connsiteX94" fmla="*/ 80499 w 409497"/>
                      <a:gd name="connsiteY94" fmla="*/ 61364 h 403597"/>
                      <a:gd name="connsiteX95" fmla="*/ 104025 w 409497"/>
                      <a:gd name="connsiteY95" fmla="*/ 13739 h 403597"/>
                      <a:gd name="connsiteX96" fmla="*/ 99672 w 409497"/>
                      <a:gd name="connsiteY96" fmla="*/ 994 h 403597"/>
                      <a:gd name="connsiteX97" fmla="*/ 99644 w 409497"/>
                      <a:gd name="connsiteY97" fmla="*/ 975 h 403597"/>
                      <a:gd name="connsiteX98" fmla="*/ 86899 w 409497"/>
                      <a:gd name="connsiteY98" fmla="*/ 5328 h 403597"/>
                      <a:gd name="connsiteX99" fmla="*/ 86880 w 409497"/>
                      <a:gd name="connsiteY99" fmla="*/ 5357 h 403597"/>
                      <a:gd name="connsiteX100" fmla="*/ 50019 w 409497"/>
                      <a:gd name="connsiteY100" fmla="*/ 80890 h 403597"/>
                      <a:gd name="connsiteX101" fmla="*/ 98882 w 409497"/>
                      <a:gd name="connsiteY101" fmla="*/ 80890 h 403597"/>
                      <a:gd name="connsiteX102" fmla="*/ 80213 w 409497"/>
                      <a:gd name="connsiteY102"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44627 w 409497"/>
                      <a:gd name="connsiteY26" fmla="*/ 161281 h 403597"/>
                      <a:gd name="connsiteX27" fmla="*/ 357105 w 409497"/>
                      <a:gd name="connsiteY27" fmla="*/ 146327 h 403597"/>
                      <a:gd name="connsiteX28" fmla="*/ 408444 w 409497"/>
                      <a:gd name="connsiteY28" fmla="*/ 239291 h 403597"/>
                      <a:gd name="connsiteX29" fmla="*/ 150317 w 409497"/>
                      <a:gd name="connsiteY29" fmla="*/ 175283 h 403597"/>
                      <a:gd name="connsiteX30" fmla="*/ 119075 w 409497"/>
                      <a:gd name="connsiteY30" fmla="*/ 194333 h 403597"/>
                      <a:gd name="connsiteX31" fmla="*/ 86499 w 409497"/>
                      <a:gd name="connsiteY31" fmla="*/ 176902 h 403597"/>
                      <a:gd name="connsiteX32" fmla="*/ 75165 w 409497"/>
                      <a:gd name="connsiteY32" fmla="*/ 169187 h 403597"/>
                      <a:gd name="connsiteX33" fmla="*/ 67449 w 409497"/>
                      <a:gd name="connsiteY33" fmla="*/ 180522 h 403597"/>
                      <a:gd name="connsiteX34" fmla="*/ 110788 w 409497"/>
                      <a:gd name="connsiteY34" fmla="*/ 212716 h 403597"/>
                      <a:gd name="connsiteX35" fmla="*/ 110026 w 409497"/>
                      <a:gd name="connsiteY35" fmla="*/ 218812 h 403597"/>
                      <a:gd name="connsiteX36" fmla="*/ 112884 w 409497"/>
                      <a:gd name="connsiteY36" fmla="*/ 239100 h 403597"/>
                      <a:gd name="connsiteX37" fmla="*/ 84309 w 409497"/>
                      <a:gd name="connsiteY37" fmla="*/ 246530 h 403597"/>
                      <a:gd name="connsiteX38" fmla="*/ 80975 w 409497"/>
                      <a:gd name="connsiteY38" fmla="*/ 259579 h 403597"/>
                      <a:gd name="connsiteX39" fmla="*/ 89071 w 409497"/>
                      <a:gd name="connsiteY39" fmla="*/ 264246 h 403597"/>
                      <a:gd name="connsiteX40" fmla="*/ 93738 w 409497"/>
                      <a:gd name="connsiteY40" fmla="*/ 263103 h 403597"/>
                      <a:gd name="connsiteX41" fmla="*/ 123742 w 409497"/>
                      <a:gd name="connsiteY41" fmla="*/ 260913 h 403597"/>
                      <a:gd name="connsiteX42" fmla="*/ 125647 w 409497"/>
                      <a:gd name="connsiteY42" fmla="*/ 261579 h 403597"/>
                      <a:gd name="connsiteX43" fmla="*/ 144697 w 409497"/>
                      <a:gd name="connsiteY43" fmla="*/ 281296 h 403597"/>
                      <a:gd name="connsiteX44" fmla="*/ 151650 w 409497"/>
                      <a:gd name="connsiteY44" fmla="*/ 284154 h 403597"/>
                      <a:gd name="connsiteX45" fmla="*/ 161137 w 409497"/>
                      <a:gd name="connsiteY45" fmla="*/ 274591 h 403597"/>
                      <a:gd name="connsiteX46" fmla="*/ 158508 w 409497"/>
                      <a:gd name="connsiteY46" fmla="*/ 268056 h 403597"/>
                      <a:gd name="connsiteX47" fmla="*/ 138887 w 409497"/>
                      <a:gd name="connsiteY47" fmla="*/ 247673 h 403597"/>
                      <a:gd name="connsiteX48" fmla="*/ 129362 w 409497"/>
                      <a:gd name="connsiteY48" fmla="*/ 219574 h 403597"/>
                      <a:gd name="connsiteX49" fmla="*/ 153365 w 409497"/>
                      <a:gd name="connsiteY49" fmla="*/ 193761 h 403597"/>
                      <a:gd name="connsiteX50" fmla="*/ 174987 w 409497"/>
                      <a:gd name="connsiteY50" fmla="*/ 187380 h 403597"/>
                      <a:gd name="connsiteX51" fmla="*/ 187369 w 409497"/>
                      <a:gd name="connsiteY51" fmla="*/ 227289 h 403597"/>
                      <a:gd name="connsiteX52" fmla="*/ 192227 w 409497"/>
                      <a:gd name="connsiteY52" fmla="*/ 239862 h 403597"/>
                      <a:gd name="connsiteX53" fmla="*/ 204800 w 409497"/>
                      <a:gd name="connsiteY53" fmla="*/ 235005 h 403597"/>
                      <a:gd name="connsiteX54" fmla="*/ 203466 w 409497"/>
                      <a:gd name="connsiteY54" fmla="*/ 192999 h 403597"/>
                      <a:gd name="connsiteX55" fmla="*/ 219564 w 409497"/>
                      <a:gd name="connsiteY55" fmla="*/ 181760 h 403597"/>
                      <a:gd name="connsiteX56" fmla="*/ 249377 w 409497"/>
                      <a:gd name="connsiteY56" fmla="*/ 192999 h 403597"/>
                      <a:gd name="connsiteX57" fmla="*/ 263760 w 409497"/>
                      <a:gd name="connsiteY57" fmla="*/ 234719 h 403597"/>
                      <a:gd name="connsiteX58" fmla="*/ 306432 w 409497"/>
                      <a:gd name="connsiteY58" fmla="*/ 246339 h 403597"/>
                      <a:gd name="connsiteX59" fmla="*/ 312147 w 409497"/>
                      <a:gd name="connsiteY59" fmla="*/ 246339 h 403597"/>
                      <a:gd name="connsiteX60" fmla="*/ 323767 w 409497"/>
                      <a:gd name="connsiteY60" fmla="*/ 257293 h 403597"/>
                      <a:gd name="connsiteX61" fmla="*/ 333292 w 409497"/>
                      <a:gd name="connsiteY61" fmla="*/ 264437 h 403597"/>
                      <a:gd name="connsiteX62" fmla="*/ 335673 w 409497"/>
                      <a:gd name="connsiteY62" fmla="*/ 264437 h 403597"/>
                      <a:gd name="connsiteX63" fmla="*/ 342531 w 409497"/>
                      <a:gd name="connsiteY63" fmla="*/ 252912 h 403597"/>
                      <a:gd name="connsiteX64" fmla="*/ 312432 w 409497"/>
                      <a:gd name="connsiteY64" fmla="*/ 227575 h 403597"/>
                      <a:gd name="connsiteX65" fmla="*/ 305955 w 409497"/>
                      <a:gd name="connsiteY65" fmla="*/ 227575 h 403597"/>
                      <a:gd name="connsiteX66" fmla="*/ 291382 w 409497"/>
                      <a:gd name="connsiteY66" fmla="*/ 227575 h 403597"/>
                      <a:gd name="connsiteX67" fmla="*/ 320624 w 409497"/>
                      <a:gd name="connsiteY67" fmla="*/ 214716 h 403597"/>
                      <a:gd name="connsiteX68" fmla="*/ 331244 w 409497"/>
                      <a:gd name="connsiteY68" fmla="*/ 206287 h 403597"/>
                      <a:gd name="connsiteX69" fmla="*/ 322815 w 409497"/>
                      <a:gd name="connsiteY69" fmla="*/ 195666 h 403597"/>
                      <a:gd name="connsiteX70" fmla="*/ 274713 w 409497"/>
                      <a:gd name="connsiteY70" fmla="*/ 218145 h 403597"/>
                      <a:gd name="connsiteX71" fmla="*/ 268713 w 409497"/>
                      <a:gd name="connsiteY71" fmla="*/ 191190 h 403597"/>
                      <a:gd name="connsiteX72" fmla="*/ 302050 w 409497"/>
                      <a:gd name="connsiteY72" fmla="*/ 165948 h 403597"/>
                      <a:gd name="connsiteX73" fmla="*/ 299478 w 409497"/>
                      <a:gd name="connsiteY73" fmla="*/ 152804 h 403597"/>
                      <a:gd name="connsiteX74" fmla="*/ 286248 w 409497"/>
                      <a:gd name="connsiteY74" fmla="*/ 155357 h 403597"/>
                      <a:gd name="connsiteX75" fmla="*/ 286239 w 409497"/>
                      <a:gd name="connsiteY75" fmla="*/ 155376 h 403597"/>
                      <a:gd name="connsiteX76" fmla="*/ 257664 w 409497"/>
                      <a:gd name="connsiteY76" fmla="*/ 174426 h 403597"/>
                      <a:gd name="connsiteX77" fmla="*/ 228327 w 409497"/>
                      <a:gd name="connsiteY77" fmla="*/ 164901 h 403597"/>
                      <a:gd name="connsiteX78" fmla="*/ 230041 w 409497"/>
                      <a:gd name="connsiteY78" fmla="*/ 143088 h 403597"/>
                      <a:gd name="connsiteX79" fmla="*/ 219373 w 409497"/>
                      <a:gd name="connsiteY79" fmla="*/ 134706 h 403597"/>
                      <a:gd name="connsiteX80" fmla="*/ 210991 w 409497"/>
                      <a:gd name="connsiteY80" fmla="*/ 145374 h 403597"/>
                      <a:gd name="connsiteX81" fmla="*/ 191941 w 409497"/>
                      <a:gd name="connsiteY81" fmla="*/ 177378 h 403597"/>
                      <a:gd name="connsiteX82" fmla="*/ 187464 w 409497"/>
                      <a:gd name="connsiteY82" fmla="*/ 173473 h 403597"/>
                      <a:gd name="connsiteX83" fmla="*/ 162509 w 409497"/>
                      <a:gd name="connsiteY83" fmla="*/ 122800 h 403597"/>
                      <a:gd name="connsiteX84" fmla="*/ 149602 w 409497"/>
                      <a:gd name="connsiteY84" fmla="*/ 126848 h 403597"/>
                      <a:gd name="connsiteX85" fmla="*/ 153651 w 409497"/>
                      <a:gd name="connsiteY85" fmla="*/ 139755 h 403597"/>
                      <a:gd name="connsiteX86" fmla="*/ 168605 w 409497"/>
                      <a:gd name="connsiteY86" fmla="*/ 170330 h 403597"/>
                      <a:gd name="connsiteX87" fmla="*/ 150317 w 409497"/>
                      <a:gd name="connsiteY87" fmla="*/ 175283 h 403597"/>
                      <a:gd name="connsiteX88" fmla="*/ 80213 w 409497"/>
                      <a:gd name="connsiteY88" fmla="*/ 129277 h 403597"/>
                      <a:gd name="connsiteX89" fmla="*/ 85642 w 409497"/>
                      <a:gd name="connsiteY89" fmla="*/ 141564 h 403597"/>
                      <a:gd name="connsiteX90" fmla="*/ 89071 w 409497"/>
                      <a:gd name="connsiteY90" fmla="*/ 142136 h 403597"/>
                      <a:gd name="connsiteX91" fmla="*/ 98025 w 409497"/>
                      <a:gd name="connsiteY91" fmla="*/ 136040 h 403597"/>
                      <a:gd name="connsiteX92" fmla="*/ 126600 w 409497"/>
                      <a:gd name="connsiteY92" fmla="*/ 61364 h 403597"/>
                      <a:gd name="connsiteX93" fmla="*/ 80499 w 409497"/>
                      <a:gd name="connsiteY93" fmla="*/ 61364 h 403597"/>
                      <a:gd name="connsiteX94" fmla="*/ 104025 w 409497"/>
                      <a:gd name="connsiteY94" fmla="*/ 13739 h 403597"/>
                      <a:gd name="connsiteX95" fmla="*/ 99672 w 409497"/>
                      <a:gd name="connsiteY95" fmla="*/ 994 h 403597"/>
                      <a:gd name="connsiteX96" fmla="*/ 99644 w 409497"/>
                      <a:gd name="connsiteY96" fmla="*/ 975 h 403597"/>
                      <a:gd name="connsiteX97" fmla="*/ 86899 w 409497"/>
                      <a:gd name="connsiteY97" fmla="*/ 5328 h 403597"/>
                      <a:gd name="connsiteX98" fmla="*/ 86880 w 409497"/>
                      <a:gd name="connsiteY98" fmla="*/ 5357 h 403597"/>
                      <a:gd name="connsiteX99" fmla="*/ 50019 w 409497"/>
                      <a:gd name="connsiteY99" fmla="*/ 80890 h 403597"/>
                      <a:gd name="connsiteX100" fmla="*/ 98882 w 409497"/>
                      <a:gd name="connsiteY100" fmla="*/ 80890 h 403597"/>
                      <a:gd name="connsiteX101" fmla="*/ 80213 w 409497"/>
                      <a:gd name="connsiteY101" fmla="*/ 129277 h 403597"/>
                      <a:gd name="connsiteX0" fmla="*/ 408444 w 409497"/>
                      <a:gd name="connsiteY0" fmla="*/ 239291 h 403597"/>
                      <a:gd name="connsiteX1" fmla="*/ 371297 w 409497"/>
                      <a:gd name="connsiteY1" fmla="*/ 291393 h 403597"/>
                      <a:gd name="connsiteX2" fmla="*/ 253187 w 409497"/>
                      <a:gd name="connsiteY2" fmla="*/ 298441 h 403597"/>
                      <a:gd name="connsiteX3" fmla="*/ 182321 w 409497"/>
                      <a:gd name="connsiteY3" fmla="*/ 330064 h 403597"/>
                      <a:gd name="connsiteX4" fmla="*/ 143364 w 409497"/>
                      <a:gd name="connsiteY4" fmla="*/ 403597 h 403597"/>
                      <a:gd name="connsiteX5" fmla="*/ 96596 w 409497"/>
                      <a:gd name="connsiteY5" fmla="*/ 403597 h 403597"/>
                      <a:gd name="connsiteX6" fmla="*/ 98596 w 409497"/>
                      <a:gd name="connsiteY6" fmla="*/ 392358 h 403597"/>
                      <a:gd name="connsiteX7" fmla="*/ 108121 w 409497"/>
                      <a:gd name="connsiteY7" fmla="*/ 326826 h 403597"/>
                      <a:gd name="connsiteX8" fmla="*/ 91833 w 409497"/>
                      <a:gd name="connsiteY8" fmla="*/ 326826 h 403597"/>
                      <a:gd name="connsiteX9" fmla="*/ 15633 w 409497"/>
                      <a:gd name="connsiteY9" fmla="*/ 281010 h 403597"/>
                      <a:gd name="connsiteX10" fmla="*/ 20205 w 409497"/>
                      <a:gd name="connsiteY10" fmla="*/ 145660 h 403597"/>
                      <a:gd name="connsiteX11" fmla="*/ 33255 w 409497"/>
                      <a:gd name="connsiteY11" fmla="*/ 142326 h 403597"/>
                      <a:gd name="connsiteX12" fmla="*/ 36588 w 409497"/>
                      <a:gd name="connsiteY12" fmla="*/ 155376 h 403597"/>
                      <a:gd name="connsiteX13" fmla="*/ 32207 w 409497"/>
                      <a:gd name="connsiteY13" fmla="*/ 271581 h 403597"/>
                      <a:gd name="connsiteX14" fmla="*/ 91833 w 409497"/>
                      <a:gd name="connsiteY14" fmla="*/ 307776 h 403597"/>
                      <a:gd name="connsiteX15" fmla="*/ 129933 w 409497"/>
                      <a:gd name="connsiteY15" fmla="*/ 307776 h 403597"/>
                      <a:gd name="connsiteX16" fmla="*/ 128409 w 409497"/>
                      <a:gd name="connsiteY16" fmla="*/ 318634 h 403597"/>
                      <a:gd name="connsiteX17" fmla="*/ 118884 w 409497"/>
                      <a:gd name="connsiteY17" fmla="*/ 384452 h 403597"/>
                      <a:gd name="connsiteX18" fmla="*/ 131553 w 409497"/>
                      <a:gd name="connsiteY18" fmla="*/ 384452 h 403597"/>
                      <a:gd name="connsiteX19" fmla="*/ 172986 w 409497"/>
                      <a:gd name="connsiteY19" fmla="*/ 305775 h 403597"/>
                      <a:gd name="connsiteX20" fmla="*/ 180511 w 409497"/>
                      <a:gd name="connsiteY20" fmla="*/ 310252 h 403597"/>
                      <a:gd name="connsiteX21" fmla="*/ 238518 w 409497"/>
                      <a:gd name="connsiteY21" fmla="*/ 283582 h 403597"/>
                      <a:gd name="connsiteX22" fmla="*/ 241662 w 409497"/>
                      <a:gd name="connsiteY22" fmla="*/ 274629 h 403597"/>
                      <a:gd name="connsiteX23" fmla="*/ 250615 w 409497"/>
                      <a:gd name="connsiteY23" fmla="*/ 277677 h 403597"/>
                      <a:gd name="connsiteX24" fmla="*/ 360915 w 409497"/>
                      <a:gd name="connsiteY24" fmla="*/ 275010 h 403597"/>
                      <a:gd name="connsiteX25" fmla="*/ 389490 w 409497"/>
                      <a:gd name="connsiteY25" fmla="*/ 236243 h 403597"/>
                      <a:gd name="connsiteX26" fmla="*/ 357105 w 409497"/>
                      <a:gd name="connsiteY26" fmla="*/ 146327 h 403597"/>
                      <a:gd name="connsiteX27" fmla="*/ 408444 w 409497"/>
                      <a:gd name="connsiteY27" fmla="*/ 239291 h 403597"/>
                      <a:gd name="connsiteX28" fmla="*/ 150317 w 409497"/>
                      <a:gd name="connsiteY28" fmla="*/ 175283 h 403597"/>
                      <a:gd name="connsiteX29" fmla="*/ 119075 w 409497"/>
                      <a:gd name="connsiteY29" fmla="*/ 194333 h 403597"/>
                      <a:gd name="connsiteX30" fmla="*/ 86499 w 409497"/>
                      <a:gd name="connsiteY30" fmla="*/ 176902 h 403597"/>
                      <a:gd name="connsiteX31" fmla="*/ 75165 w 409497"/>
                      <a:gd name="connsiteY31" fmla="*/ 169187 h 403597"/>
                      <a:gd name="connsiteX32" fmla="*/ 67449 w 409497"/>
                      <a:gd name="connsiteY32" fmla="*/ 180522 h 403597"/>
                      <a:gd name="connsiteX33" fmla="*/ 110788 w 409497"/>
                      <a:gd name="connsiteY33" fmla="*/ 212716 h 403597"/>
                      <a:gd name="connsiteX34" fmla="*/ 110026 w 409497"/>
                      <a:gd name="connsiteY34" fmla="*/ 218812 h 403597"/>
                      <a:gd name="connsiteX35" fmla="*/ 112884 w 409497"/>
                      <a:gd name="connsiteY35" fmla="*/ 239100 h 403597"/>
                      <a:gd name="connsiteX36" fmla="*/ 84309 w 409497"/>
                      <a:gd name="connsiteY36" fmla="*/ 246530 h 403597"/>
                      <a:gd name="connsiteX37" fmla="*/ 80975 w 409497"/>
                      <a:gd name="connsiteY37" fmla="*/ 259579 h 403597"/>
                      <a:gd name="connsiteX38" fmla="*/ 89071 w 409497"/>
                      <a:gd name="connsiteY38" fmla="*/ 264246 h 403597"/>
                      <a:gd name="connsiteX39" fmla="*/ 93738 w 409497"/>
                      <a:gd name="connsiteY39" fmla="*/ 263103 h 403597"/>
                      <a:gd name="connsiteX40" fmla="*/ 123742 w 409497"/>
                      <a:gd name="connsiteY40" fmla="*/ 260913 h 403597"/>
                      <a:gd name="connsiteX41" fmla="*/ 125647 w 409497"/>
                      <a:gd name="connsiteY41" fmla="*/ 261579 h 403597"/>
                      <a:gd name="connsiteX42" fmla="*/ 144697 w 409497"/>
                      <a:gd name="connsiteY42" fmla="*/ 281296 h 403597"/>
                      <a:gd name="connsiteX43" fmla="*/ 151650 w 409497"/>
                      <a:gd name="connsiteY43" fmla="*/ 284154 h 403597"/>
                      <a:gd name="connsiteX44" fmla="*/ 161137 w 409497"/>
                      <a:gd name="connsiteY44" fmla="*/ 274591 h 403597"/>
                      <a:gd name="connsiteX45" fmla="*/ 158508 w 409497"/>
                      <a:gd name="connsiteY45" fmla="*/ 268056 h 403597"/>
                      <a:gd name="connsiteX46" fmla="*/ 138887 w 409497"/>
                      <a:gd name="connsiteY46" fmla="*/ 247673 h 403597"/>
                      <a:gd name="connsiteX47" fmla="*/ 129362 w 409497"/>
                      <a:gd name="connsiteY47" fmla="*/ 219574 h 403597"/>
                      <a:gd name="connsiteX48" fmla="*/ 153365 w 409497"/>
                      <a:gd name="connsiteY48" fmla="*/ 193761 h 403597"/>
                      <a:gd name="connsiteX49" fmla="*/ 174987 w 409497"/>
                      <a:gd name="connsiteY49" fmla="*/ 187380 h 403597"/>
                      <a:gd name="connsiteX50" fmla="*/ 187369 w 409497"/>
                      <a:gd name="connsiteY50" fmla="*/ 227289 h 403597"/>
                      <a:gd name="connsiteX51" fmla="*/ 192227 w 409497"/>
                      <a:gd name="connsiteY51" fmla="*/ 239862 h 403597"/>
                      <a:gd name="connsiteX52" fmla="*/ 204800 w 409497"/>
                      <a:gd name="connsiteY52" fmla="*/ 235005 h 403597"/>
                      <a:gd name="connsiteX53" fmla="*/ 203466 w 409497"/>
                      <a:gd name="connsiteY53" fmla="*/ 192999 h 403597"/>
                      <a:gd name="connsiteX54" fmla="*/ 219564 w 409497"/>
                      <a:gd name="connsiteY54" fmla="*/ 181760 h 403597"/>
                      <a:gd name="connsiteX55" fmla="*/ 249377 w 409497"/>
                      <a:gd name="connsiteY55" fmla="*/ 192999 h 403597"/>
                      <a:gd name="connsiteX56" fmla="*/ 263760 w 409497"/>
                      <a:gd name="connsiteY56" fmla="*/ 234719 h 403597"/>
                      <a:gd name="connsiteX57" fmla="*/ 306432 w 409497"/>
                      <a:gd name="connsiteY57" fmla="*/ 246339 h 403597"/>
                      <a:gd name="connsiteX58" fmla="*/ 312147 w 409497"/>
                      <a:gd name="connsiteY58" fmla="*/ 246339 h 403597"/>
                      <a:gd name="connsiteX59" fmla="*/ 323767 w 409497"/>
                      <a:gd name="connsiteY59" fmla="*/ 257293 h 403597"/>
                      <a:gd name="connsiteX60" fmla="*/ 333292 w 409497"/>
                      <a:gd name="connsiteY60" fmla="*/ 264437 h 403597"/>
                      <a:gd name="connsiteX61" fmla="*/ 335673 w 409497"/>
                      <a:gd name="connsiteY61" fmla="*/ 264437 h 403597"/>
                      <a:gd name="connsiteX62" fmla="*/ 342531 w 409497"/>
                      <a:gd name="connsiteY62" fmla="*/ 252912 h 403597"/>
                      <a:gd name="connsiteX63" fmla="*/ 312432 w 409497"/>
                      <a:gd name="connsiteY63" fmla="*/ 227575 h 403597"/>
                      <a:gd name="connsiteX64" fmla="*/ 305955 w 409497"/>
                      <a:gd name="connsiteY64" fmla="*/ 227575 h 403597"/>
                      <a:gd name="connsiteX65" fmla="*/ 291382 w 409497"/>
                      <a:gd name="connsiteY65" fmla="*/ 227575 h 403597"/>
                      <a:gd name="connsiteX66" fmla="*/ 320624 w 409497"/>
                      <a:gd name="connsiteY66" fmla="*/ 214716 h 403597"/>
                      <a:gd name="connsiteX67" fmla="*/ 331244 w 409497"/>
                      <a:gd name="connsiteY67" fmla="*/ 206287 h 403597"/>
                      <a:gd name="connsiteX68" fmla="*/ 322815 w 409497"/>
                      <a:gd name="connsiteY68" fmla="*/ 195666 h 403597"/>
                      <a:gd name="connsiteX69" fmla="*/ 274713 w 409497"/>
                      <a:gd name="connsiteY69" fmla="*/ 218145 h 403597"/>
                      <a:gd name="connsiteX70" fmla="*/ 268713 w 409497"/>
                      <a:gd name="connsiteY70" fmla="*/ 191190 h 403597"/>
                      <a:gd name="connsiteX71" fmla="*/ 302050 w 409497"/>
                      <a:gd name="connsiteY71" fmla="*/ 165948 h 403597"/>
                      <a:gd name="connsiteX72" fmla="*/ 299478 w 409497"/>
                      <a:gd name="connsiteY72" fmla="*/ 152804 h 403597"/>
                      <a:gd name="connsiteX73" fmla="*/ 286248 w 409497"/>
                      <a:gd name="connsiteY73" fmla="*/ 155357 h 403597"/>
                      <a:gd name="connsiteX74" fmla="*/ 286239 w 409497"/>
                      <a:gd name="connsiteY74" fmla="*/ 155376 h 403597"/>
                      <a:gd name="connsiteX75" fmla="*/ 257664 w 409497"/>
                      <a:gd name="connsiteY75" fmla="*/ 174426 h 403597"/>
                      <a:gd name="connsiteX76" fmla="*/ 228327 w 409497"/>
                      <a:gd name="connsiteY76" fmla="*/ 164901 h 403597"/>
                      <a:gd name="connsiteX77" fmla="*/ 230041 w 409497"/>
                      <a:gd name="connsiteY77" fmla="*/ 143088 h 403597"/>
                      <a:gd name="connsiteX78" fmla="*/ 219373 w 409497"/>
                      <a:gd name="connsiteY78" fmla="*/ 134706 h 403597"/>
                      <a:gd name="connsiteX79" fmla="*/ 210991 w 409497"/>
                      <a:gd name="connsiteY79" fmla="*/ 145374 h 403597"/>
                      <a:gd name="connsiteX80" fmla="*/ 191941 w 409497"/>
                      <a:gd name="connsiteY80" fmla="*/ 177378 h 403597"/>
                      <a:gd name="connsiteX81" fmla="*/ 187464 w 409497"/>
                      <a:gd name="connsiteY81" fmla="*/ 173473 h 403597"/>
                      <a:gd name="connsiteX82" fmla="*/ 162509 w 409497"/>
                      <a:gd name="connsiteY82" fmla="*/ 122800 h 403597"/>
                      <a:gd name="connsiteX83" fmla="*/ 149602 w 409497"/>
                      <a:gd name="connsiteY83" fmla="*/ 126848 h 403597"/>
                      <a:gd name="connsiteX84" fmla="*/ 153651 w 409497"/>
                      <a:gd name="connsiteY84" fmla="*/ 139755 h 403597"/>
                      <a:gd name="connsiteX85" fmla="*/ 168605 w 409497"/>
                      <a:gd name="connsiteY85" fmla="*/ 170330 h 403597"/>
                      <a:gd name="connsiteX86" fmla="*/ 150317 w 409497"/>
                      <a:gd name="connsiteY86" fmla="*/ 175283 h 403597"/>
                      <a:gd name="connsiteX87" fmla="*/ 80213 w 409497"/>
                      <a:gd name="connsiteY87" fmla="*/ 129277 h 403597"/>
                      <a:gd name="connsiteX88" fmla="*/ 85642 w 409497"/>
                      <a:gd name="connsiteY88" fmla="*/ 141564 h 403597"/>
                      <a:gd name="connsiteX89" fmla="*/ 89071 w 409497"/>
                      <a:gd name="connsiteY89" fmla="*/ 142136 h 403597"/>
                      <a:gd name="connsiteX90" fmla="*/ 98025 w 409497"/>
                      <a:gd name="connsiteY90" fmla="*/ 136040 h 403597"/>
                      <a:gd name="connsiteX91" fmla="*/ 126600 w 409497"/>
                      <a:gd name="connsiteY91" fmla="*/ 61364 h 403597"/>
                      <a:gd name="connsiteX92" fmla="*/ 80499 w 409497"/>
                      <a:gd name="connsiteY92" fmla="*/ 61364 h 403597"/>
                      <a:gd name="connsiteX93" fmla="*/ 104025 w 409497"/>
                      <a:gd name="connsiteY93" fmla="*/ 13739 h 403597"/>
                      <a:gd name="connsiteX94" fmla="*/ 99672 w 409497"/>
                      <a:gd name="connsiteY94" fmla="*/ 994 h 403597"/>
                      <a:gd name="connsiteX95" fmla="*/ 99644 w 409497"/>
                      <a:gd name="connsiteY95" fmla="*/ 975 h 403597"/>
                      <a:gd name="connsiteX96" fmla="*/ 86899 w 409497"/>
                      <a:gd name="connsiteY96" fmla="*/ 5328 h 403597"/>
                      <a:gd name="connsiteX97" fmla="*/ 86880 w 409497"/>
                      <a:gd name="connsiteY97" fmla="*/ 5357 h 403597"/>
                      <a:gd name="connsiteX98" fmla="*/ 50019 w 409497"/>
                      <a:gd name="connsiteY98" fmla="*/ 80890 h 403597"/>
                      <a:gd name="connsiteX99" fmla="*/ 98882 w 409497"/>
                      <a:gd name="connsiteY99" fmla="*/ 80890 h 403597"/>
                      <a:gd name="connsiteX100" fmla="*/ 80213 w 409497"/>
                      <a:gd name="connsiteY100" fmla="*/ 129277 h 403597"/>
                      <a:gd name="connsiteX0" fmla="*/ 408444 w 408865"/>
                      <a:gd name="connsiteY0" fmla="*/ 239291 h 403597"/>
                      <a:gd name="connsiteX1" fmla="*/ 371297 w 408865"/>
                      <a:gd name="connsiteY1" fmla="*/ 291393 h 403597"/>
                      <a:gd name="connsiteX2" fmla="*/ 253187 w 408865"/>
                      <a:gd name="connsiteY2" fmla="*/ 298441 h 403597"/>
                      <a:gd name="connsiteX3" fmla="*/ 182321 w 408865"/>
                      <a:gd name="connsiteY3" fmla="*/ 330064 h 403597"/>
                      <a:gd name="connsiteX4" fmla="*/ 143364 w 408865"/>
                      <a:gd name="connsiteY4" fmla="*/ 403597 h 403597"/>
                      <a:gd name="connsiteX5" fmla="*/ 96596 w 408865"/>
                      <a:gd name="connsiteY5" fmla="*/ 403597 h 403597"/>
                      <a:gd name="connsiteX6" fmla="*/ 98596 w 408865"/>
                      <a:gd name="connsiteY6" fmla="*/ 392358 h 403597"/>
                      <a:gd name="connsiteX7" fmla="*/ 108121 w 408865"/>
                      <a:gd name="connsiteY7" fmla="*/ 326826 h 403597"/>
                      <a:gd name="connsiteX8" fmla="*/ 91833 w 408865"/>
                      <a:gd name="connsiteY8" fmla="*/ 326826 h 403597"/>
                      <a:gd name="connsiteX9" fmla="*/ 15633 w 408865"/>
                      <a:gd name="connsiteY9" fmla="*/ 281010 h 403597"/>
                      <a:gd name="connsiteX10" fmla="*/ 20205 w 408865"/>
                      <a:gd name="connsiteY10" fmla="*/ 145660 h 403597"/>
                      <a:gd name="connsiteX11" fmla="*/ 33255 w 408865"/>
                      <a:gd name="connsiteY11" fmla="*/ 142326 h 403597"/>
                      <a:gd name="connsiteX12" fmla="*/ 36588 w 408865"/>
                      <a:gd name="connsiteY12" fmla="*/ 155376 h 403597"/>
                      <a:gd name="connsiteX13" fmla="*/ 32207 w 408865"/>
                      <a:gd name="connsiteY13" fmla="*/ 271581 h 403597"/>
                      <a:gd name="connsiteX14" fmla="*/ 91833 w 408865"/>
                      <a:gd name="connsiteY14" fmla="*/ 307776 h 403597"/>
                      <a:gd name="connsiteX15" fmla="*/ 129933 w 408865"/>
                      <a:gd name="connsiteY15" fmla="*/ 307776 h 403597"/>
                      <a:gd name="connsiteX16" fmla="*/ 128409 w 408865"/>
                      <a:gd name="connsiteY16" fmla="*/ 318634 h 403597"/>
                      <a:gd name="connsiteX17" fmla="*/ 118884 w 408865"/>
                      <a:gd name="connsiteY17" fmla="*/ 384452 h 403597"/>
                      <a:gd name="connsiteX18" fmla="*/ 131553 w 408865"/>
                      <a:gd name="connsiteY18" fmla="*/ 384452 h 403597"/>
                      <a:gd name="connsiteX19" fmla="*/ 172986 w 408865"/>
                      <a:gd name="connsiteY19" fmla="*/ 305775 h 403597"/>
                      <a:gd name="connsiteX20" fmla="*/ 180511 w 408865"/>
                      <a:gd name="connsiteY20" fmla="*/ 310252 h 403597"/>
                      <a:gd name="connsiteX21" fmla="*/ 238518 w 408865"/>
                      <a:gd name="connsiteY21" fmla="*/ 283582 h 403597"/>
                      <a:gd name="connsiteX22" fmla="*/ 241662 w 408865"/>
                      <a:gd name="connsiteY22" fmla="*/ 274629 h 403597"/>
                      <a:gd name="connsiteX23" fmla="*/ 250615 w 408865"/>
                      <a:gd name="connsiteY23" fmla="*/ 277677 h 403597"/>
                      <a:gd name="connsiteX24" fmla="*/ 360915 w 408865"/>
                      <a:gd name="connsiteY24" fmla="*/ 275010 h 403597"/>
                      <a:gd name="connsiteX25" fmla="*/ 389490 w 408865"/>
                      <a:gd name="connsiteY25" fmla="*/ 236243 h 403597"/>
                      <a:gd name="connsiteX26" fmla="*/ 408444 w 408865"/>
                      <a:gd name="connsiteY26" fmla="*/ 239291 h 403597"/>
                      <a:gd name="connsiteX27" fmla="*/ 150317 w 408865"/>
                      <a:gd name="connsiteY27" fmla="*/ 175283 h 403597"/>
                      <a:gd name="connsiteX28" fmla="*/ 119075 w 408865"/>
                      <a:gd name="connsiteY28" fmla="*/ 194333 h 403597"/>
                      <a:gd name="connsiteX29" fmla="*/ 86499 w 408865"/>
                      <a:gd name="connsiteY29" fmla="*/ 176902 h 403597"/>
                      <a:gd name="connsiteX30" fmla="*/ 75165 w 408865"/>
                      <a:gd name="connsiteY30" fmla="*/ 169187 h 403597"/>
                      <a:gd name="connsiteX31" fmla="*/ 67449 w 408865"/>
                      <a:gd name="connsiteY31" fmla="*/ 180522 h 403597"/>
                      <a:gd name="connsiteX32" fmla="*/ 110788 w 408865"/>
                      <a:gd name="connsiteY32" fmla="*/ 212716 h 403597"/>
                      <a:gd name="connsiteX33" fmla="*/ 110026 w 408865"/>
                      <a:gd name="connsiteY33" fmla="*/ 218812 h 403597"/>
                      <a:gd name="connsiteX34" fmla="*/ 112884 w 408865"/>
                      <a:gd name="connsiteY34" fmla="*/ 239100 h 403597"/>
                      <a:gd name="connsiteX35" fmla="*/ 84309 w 408865"/>
                      <a:gd name="connsiteY35" fmla="*/ 246530 h 403597"/>
                      <a:gd name="connsiteX36" fmla="*/ 80975 w 408865"/>
                      <a:gd name="connsiteY36" fmla="*/ 259579 h 403597"/>
                      <a:gd name="connsiteX37" fmla="*/ 89071 w 408865"/>
                      <a:gd name="connsiteY37" fmla="*/ 264246 h 403597"/>
                      <a:gd name="connsiteX38" fmla="*/ 93738 w 408865"/>
                      <a:gd name="connsiteY38" fmla="*/ 263103 h 403597"/>
                      <a:gd name="connsiteX39" fmla="*/ 123742 w 408865"/>
                      <a:gd name="connsiteY39" fmla="*/ 260913 h 403597"/>
                      <a:gd name="connsiteX40" fmla="*/ 125647 w 408865"/>
                      <a:gd name="connsiteY40" fmla="*/ 261579 h 403597"/>
                      <a:gd name="connsiteX41" fmla="*/ 144697 w 408865"/>
                      <a:gd name="connsiteY41" fmla="*/ 281296 h 403597"/>
                      <a:gd name="connsiteX42" fmla="*/ 151650 w 408865"/>
                      <a:gd name="connsiteY42" fmla="*/ 284154 h 403597"/>
                      <a:gd name="connsiteX43" fmla="*/ 161137 w 408865"/>
                      <a:gd name="connsiteY43" fmla="*/ 274591 h 403597"/>
                      <a:gd name="connsiteX44" fmla="*/ 158508 w 408865"/>
                      <a:gd name="connsiteY44" fmla="*/ 268056 h 403597"/>
                      <a:gd name="connsiteX45" fmla="*/ 138887 w 408865"/>
                      <a:gd name="connsiteY45" fmla="*/ 247673 h 403597"/>
                      <a:gd name="connsiteX46" fmla="*/ 129362 w 408865"/>
                      <a:gd name="connsiteY46" fmla="*/ 219574 h 403597"/>
                      <a:gd name="connsiteX47" fmla="*/ 153365 w 408865"/>
                      <a:gd name="connsiteY47" fmla="*/ 193761 h 403597"/>
                      <a:gd name="connsiteX48" fmla="*/ 174987 w 408865"/>
                      <a:gd name="connsiteY48" fmla="*/ 187380 h 403597"/>
                      <a:gd name="connsiteX49" fmla="*/ 187369 w 408865"/>
                      <a:gd name="connsiteY49" fmla="*/ 227289 h 403597"/>
                      <a:gd name="connsiteX50" fmla="*/ 192227 w 408865"/>
                      <a:gd name="connsiteY50" fmla="*/ 239862 h 403597"/>
                      <a:gd name="connsiteX51" fmla="*/ 204800 w 408865"/>
                      <a:gd name="connsiteY51" fmla="*/ 235005 h 403597"/>
                      <a:gd name="connsiteX52" fmla="*/ 203466 w 408865"/>
                      <a:gd name="connsiteY52" fmla="*/ 192999 h 403597"/>
                      <a:gd name="connsiteX53" fmla="*/ 219564 w 408865"/>
                      <a:gd name="connsiteY53" fmla="*/ 181760 h 403597"/>
                      <a:gd name="connsiteX54" fmla="*/ 249377 w 408865"/>
                      <a:gd name="connsiteY54" fmla="*/ 192999 h 403597"/>
                      <a:gd name="connsiteX55" fmla="*/ 263760 w 408865"/>
                      <a:gd name="connsiteY55" fmla="*/ 234719 h 403597"/>
                      <a:gd name="connsiteX56" fmla="*/ 306432 w 408865"/>
                      <a:gd name="connsiteY56" fmla="*/ 246339 h 403597"/>
                      <a:gd name="connsiteX57" fmla="*/ 312147 w 408865"/>
                      <a:gd name="connsiteY57" fmla="*/ 246339 h 403597"/>
                      <a:gd name="connsiteX58" fmla="*/ 323767 w 408865"/>
                      <a:gd name="connsiteY58" fmla="*/ 257293 h 403597"/>
                      <a:gd name="connsiteX59" fmla="*/ 333292 w 408865"/>
                      <a:gd name="connsiteY59" fmla="*/ 264437 h 403597"/>
                      <a:gd name="connsiteX60" fmla="*/ 335673 w 408865"/>
                      <a:gd name="connsiteY60" fmla="*/ 264437 h 403597"/>
                      <a:gd name="connsiteX61" fmla="*/ 342531 w 408865"/>
                      <a:gd name="connsiteY61" fmla="*/ 252912 h 403597"/>
                      <a:gd name="connsiteX62" fmla="*/ 312432 w 408865"/>
                      <a:gd name="connsiteY62" fmla="*/ 227575 h 403597"/>
                      <a:gd name="connsiteX63" fmla="*/ 305955 w 408865"/>
                      <a:gd name="connsiteY63" fmla="*/ 227575 h 403597"/>
                      <a:gd name="connsiteX64" fmla="*/ 291382 w 408865"/>
                      <a:gd name="connsiteY64" fmla="*/ 227575 h 403597"/>
                      <a:gd name="connsiteX65" fmla="*/ 320624 w 408865"/>
                      <a:gd name="connsiteY65" fmla="*/ 214716 h 403597"/>
                      <a:gd name="connsiteX66" fmla="*/ 331244 w 408865"/>
                      <a:gd name="connsiteY66" fmla="*/ 206287 h 403597"/>
                      <a:gd name="connsiteX67" fmla="*/ 322815 w 408865"/>
                      <a:gd name="connsiteY67" fmla="*/ 195666 h 403597"/>
                      <a:gd name="connsiteX68" fmla="*/ 274713 w 408865"/>
                      <a:gd name="connsiteY68" fmla="*/ 218145 h 403597"/>
                      <a:gd name="connsiteX69" fmla="*/ 268713 w 408865"/>
                      <a:gd name="connsiteY69" fmla="*/ 191190 h 403597"/>
                      <a:gd name="connsiteX70" fmla="*/ 302050 w 408865"/>
                      <a:gd name="connsiteY70" fmla="*/ 165948 h 403597"/>
                      <a:gd name="connsiteX71" fmla="*/ 299478 w 408865"/>
                      <a:gd name="connsiteY71" fmla="*/ 152804 h 403597"/>
                      <a:gd name="connsiteX72" fmla="*/ 286248 w 408865"/>
                      <a:gd name="connsiteY72" fmla="*/ 155357 h 403597"/>
                      <a:gd name="connsiteX73" fmla="*/ 286239 w 408865"/>
                      <a:gd name="connsiteY73" fmla="*/ 155376 h 403597"/>
                      <a:gd name="connsiteX74" fmla="*/ 257664 w 408865"/>
                      <a:gd name="connsiteY74" fmla="*/ 174426 h 403597"/>
                      <a:gd name="connsiteX75" fmla="*/ 228327 w 408865"/>
                      <a:gd name="connsiteY75" fmla="*/ 164901 h 403597"/>
                      <a:gd name="connsiteX76" fmla="*/ 230041 w 408865"/>
                      <a:gd name="connsiteY76" fmla="*/ 143088 h 403597"/>
                      <a:gd name="connsiteX77" fmla="*/ 219373 w 408865"/>
                      <a:gd name="connsiteY77" fmla="*/ 134706 h 403597"/>
                      <a:gd name="connsiteX78" fmla="*/ 210991 w 408865"/>
                      <a:gd name="connsiteY78" fmla="*/ 145374 h 403597"/>
                      <a:gd name="connsiteX79" fmla="*/ 191941 w 408865"/>
                      <a:gd name="connsiteY79" fmla="*/ 177378 h 403597"/>
                      <a:gd name="connsiteX80" fmla="*/ 187464 w 408865"/>
                      <a:gd name="connsiteY80" fmla="*/ 173473 h 403597"/>
                      <a:gd name="connsiteX81" fmla="*/ 162509 w 408865"/>
                      <a:gd name="connsiteY81" fmla="*/ 122800 h 403597"/>
                      <a:gd name="connsiteX82" fmla="*/ 149602 w 408865"/>
                      <a:gd name="connsiteY82" fmla="*/ 126848 h 403597"/>
                      <a:gd name="connsiteX83" fmla="*/ 153651 w 408865"/>
                      <a:gd name="connsiteY83" fmla="*/ 139755 h 403597"/>
                      <a:gd name="connsiteX84" fmla="*/ 168605 w 408865"/>
                      <a:gd name="connsiteY84" fmla="*/ 170330 h 403597"/>
                      <a:gd name="connsiteX85" fmla="*/ 150317 w 408865"/>
                      <a:gd name="connsiteY85" fmla="*/ 175283 h 403597"/>
                      <a:gd name="connsiteX86" fmla="*/ 80213 w 408865"/>
                      <a:gd name="connsiteY86" fmla="*/ 129277 h 403597"/>
                      <a:gd name="connsiteX87" fmla="*/ 85642 w 408865"/>
                      <a:gd name="connsiteY87" fmla="*/ 141564 h 403597"/>
                      <a:gd name="connsiteX88" fmla="*/ 89071 w 408865"/>
                      <a:gd name="connsiteY88" fmla="*/ 142136 h 403597"/>
                      <a:gd name="connsiteX89" fmla="*/ 98025 w 408865"/>
                      <a:gd name="connsiteY89" fmla="*/ 136040 h 403597"/>
                      <a:gd name="connsiteX90" fmla="*/ 126600 w 408865"/>
                      <a:gd name="connsiteY90" fmla="*/ 61364 h 403597"/>
                      <a:gd name="connsiteX91" fmla="*/ 80499 w 408865"/>
                      <a:gd name="connsiteY91" fmla="*/ 61364 h 403597"/>
                      <a:gd name="connsiteX92" fmla="*/ 104025 w 408865"/>
                      <a:gd name="connsiteY92" fmla="*/ 13739 h 403597"/>
                      <a:gd name="connsiteX93" fmla="*/ 99672 w 408865"/>
                      <a:gd name="connsiteY93" fmla="*/ 994 h 403597"/>
                      <a:gd name="connsiteX94" fmla="*/ 99644 w 408865"/>
                      <a:gd name="connsiteY94" fmla="*/ 975 h 403597"/>
                      <a:gd name="connsiteX95" fmla="*/ 86899 w 408865"/>
                      <a:gd name="connsiteY95" fmla="*/ 5328 h 403597"/>
                      <a:gd name="connsiteX96" fmla="*/ 86880 w 408865"/>
                      <a:gd name="connsiteY96" fmla="*/ 5357 h 403597"/>
                      <a:gd name="connsiteX97" fmla="*/ 50019 w 408865"/>
                      <a:gd name="connsiteY97" fmla="*/ 80890 h 403597"/>
                      <a:gd name="connsiteX98" fmla="*/ 98882 w 408865"/>
                      <a:gd name="connsiteY98" fmla="*/ 80890 h 403597"/>
                      <a:gd name="connsiteX99" fmla="*/ 80213 w 408865"/>
                      <a:gd name="connsiteY99" fmla="*/ 129277 h 403597"/>
                      <a:gd name="connsiteX0" fmla="*/ 408444 w 408444"/>
                      <a:gd name="connsiteY0" fmla="*/ 239291 h 403597"/>
                      <a:gd name="connsiteX1" fmla="*/ 371297 w 408444"/>
                      <a:gd name="connsiteY1" fmla="*/ 291393 h 403597"/>
                      <a:gd name="connsiteX2" fmla="*/ 253187 w 408444"/>
                      <a:gd name="connsiteY2" fmla="*/ 298441 h 403597"/>
                      <a:gd name="connsiteX3" fmla="*/ 182321 w 408444"/>
                      <a:gd name="connsiteY3" fmla="*/ 330064 h 403597"/>
                      <a:gd name="connsiteX4" fmla="*/ 143364 w 408444"/>
                      <a:gd name="connsiteY4" fmla="*/ 403597 h 403597"/>
                      <a:gd name="connsiteX5" fmla="*/ 96596 w 408444"/>
                      <a:gd name="connsiteY5" fmla="*/ 403597 h 403597"/>
                      <a:gd name="connsiteX6" fmla="*/ 98596 w 408444"/>
                      <a:gd name="connsiteY6" fmla="*/ 392358 h 403597"/>
                      <a:gd name="connsiteX7" fmla="*/ 108121 w 408444"/>
                      <a:gd name="connsiteY7" fmla="*/ 326826 h 403597"/>
                      <a:gd name="connsiteX8" fmla="*/ 91833 w 408444"/>
                      <a:gd name="connsiteY8" fmla="*/ 326826 h 403597"/>
                      <a:gd name="connsiteX9" fmla="*/ 15633 w 408444"/>
                      <a:gd name="connsiteY9" fmla="*/ 281010 h 403597"/>
                      <a:gd name="connsiteX10" fmla="*/ 20205 w 408444"/>
                      <a:gd name="connsiteY10" fmla="*/ 145660 h 403597"/>
                      <a:gd name="connsiteX11" fmla="*/ 33255 w 408444"/>
                      <a:gd name="connsiteY11" fmla="*/ 142326 h 403597"/>
                      <a:gd name="connsiteX12" fmla="*/ 36588 w 408444"/>
                      <a:gd name="connsiteY12" fmla="*/ 155376 h 403597"/>
                      <a:gd name="connsiteX13" fmla="*/ 32207 w 408444"/>
                      <a:gd name="connsiteY13" fmla="*/ 271581 h 403597"/>
                      <a:gd name="connsiteX14" fmla="*/ 91833 w 408444"/>
                      <a:gd name="connsiteY14" fmla="*/ 307776 h 403597"/>
                      <a:gd name="connsiteX15" fmla="*/ 129933 w 408444"/>
                      <a:gd name="connsiteY15" fmla="*/ 307776 h 403597"/>
                      <a:gd name="connsiteX16" fmla="*/ 128409 w 408444"/>
                      <a:gd name="connsiteY16" fmla="*/ 318634 h 403597"/>
                      <a:gd name="connsiteX17" fmla="*/ 118884 w 408444"/>
                      <a:gd name="connsiteY17" fmla="*/ 384452 h 403597"/>
                      <a:gd name="connsiteX18" fmla="*/ 131553 w 408444"/>
                      <a:gd name="connsiteY18" fmla="*/ 384452 h 403597"/>
                      <a:gd name="connsiteX19" fmla="*/ 172986 w 408444"/>
                      <a:gd name="connsiteY19" fmla="*/ 305775 h 403597"/>
                      <a:gd name="connsiteX20" fmla="*/ 180511 w 408444"/>
                      <a:gd name="connsiteY20" fmla="*/ 310252 h 403597"/>
                      <a:gd name="connsiteX21" fmla="*/ 238518 w 408444"/>
                      <a:gd name="connsiteY21" fmla="*/ 283582 h 403597"/>
                      <a:gd name="connsiteX22" fmla="*/ 241662 w 408444"/>
                      <a:gd name="connsiteY22" fmla="*/ 274629 h 403597"/>
                      <a:gd name="connsiteX23" fmla="*/ 250615 w 408444"/>
                      <a:gd name="connsiteY23" fmla="*/ 277677 h 403597"/>
                      <a:gd name="connsiteX24" fmla="*/ 360915 w 408444"/>
                      <a:gd name="connsiteY24" fmla="*/ 275010 h 403597"/>
                      <a:gd name="connsiteX25" fmla="*/ 408444 w 408444"/>
                      <a:gd name="connsiteY25" fmla="*/ 239291 h 403597"/>
                      <a:gd name="connsiteX26" fmla="*/ 150317 w 408444"/>
                      <a:gd name="connsiteY26" fmla="*/ 175283 h 403597"/>
                      <a:gd name="connsiteX27" fmla="*/ 119075 w 408444"/>
                      <a:gd name="connsiteY27" fmla="*/ 194333 h 403597"/>
                      <a:gd name="connsiteX28" fmla="*/ 86499 w 408444"/>
                      <a:gd name="connsiteY28" fmla="*/ 176902 h 403597"/>
                      <a:gd name="connsiteX29" fmla="*/ 75165 w 408444"/>
                      <a:gd name="connsiteY29" fmla="*/ 169187 h 403597"/>
                      <a:gd name="connsiteX30" fmla="*/ 67449 w 408444"/>
                      <a:gd name="connsiteY30" fmla="*/ 180522 h 403597"/>
                      <a:gd name="connsiteX31" fmla="*/ 110788 w 408444"/>
                      <a:gd name="connsiteY31" fmla="*/ 212716 h 403597"/>
                      <a:gd name="connsiteX32" fmla="*/ 110026 w 408444"/>
                      <a:gd name="connsiteY32" fmla="*/ 218812 h 403597"/>
                      <a:gd name="connsiteX33" fmla="*/ 112884 w 408444"/>
                      <a:gd name="connsiteY33" fmla="*/ 239100 h 403597"/>
                      <a:gd name="connsiteX34" fmla="*/ 84309 w 408444"/>
                      <a:gd name="connsiteY34" fmla="*/ 246530 h 403597"/>
                      <a:gd name="connsiteX35" fmla="*/ 80975 w 408444"/>
                      <a:gd name="connsiteY35" fmla="*/ 259579 h 403597"/>
                      <a:gd name="connsiteX36" fmla="*/ 89071 w 408444"/>
                      <a:gd name="connsiteY36" fmla="*/ 264246 h 403597"/>
                      <a:gd name="connsiteX37" fmla="*/ 93738 w 408444"/>
                      <a:gd name="connsiteY37" fmla="*/ 263103 h 403597"/>
                      <a:gd name="connsiteX38" fmla="*/ 123742 w 408444"/>
                      <a:gd name="connsiteY38" fmla="*/ 260913 h 403597"/>
                      <a:gd name="connsiteX39" fmla="*/ 125647 w 408444"/>
                      <a:gd name="connsiteY39" fmla="*/ 261579 h 403597"/>
                      <a:gd name="connsiteX40" fmla="*/ 144697 w 408444"/>
                      <a:gd name="connsiteY40" fmla="*/ 281296 h 403597"/>
                      <a:gd name="connsiteX41" fmla="*/ 151650 w 408444"/>
                      <a:gd name="connsiteY41" fmla="*/ 284154 h 403597"/>
                      <a:gd name="connsiteX42" fmla="*/ 161137 w 408444"/>
                      <a:gd name="connsiteY42" fmla="*/ 274591 h 403597"/>
                      <a:gd name="connsiteX43" fmla="*/ 158508 w 408444"/>
                      <a:gd name="connsiteY43" fmla="*/ 268056 h 403597"/>
                      <a:gd name="connsiteX44" fmla="*/ 138887 w 408444"/>
                      <a:gd name="connsiteY44" fmla="*/ 247673 h 403597"/>
                      <a:gd name="connsiteX45" fmla="*/ 129362 w 408444"/>
                      <a:gd name="connsiteY45" fmla="*/ 219574 h 403597"/>
                      <a:gd name="connsiteX46" fmla="*/ 153365 w 408444"/>
                      <a:gd name="connsiteY46" fmla="*/ 193761 h 403597"/>
                      <a:gd name="connsiteX47" fmla="*/ 174987 w 408444"/>
                      <a:gd name="connsiteY47" fmla="*/ 187380 h 403597"/>
                      <a:gd name="connsiteX48" fmla="*/ 187369 w 408444"/>
                      <a:gd name="connsiteY48" fmla="*/ 227289 h 403597"/>
                      <a:gd name="connsiteX49" fmla="*/ 192227 w 408444"/>
                      <a:gd name="connsiteY49" fmla="*/ 239862 h 403597"/>
                      <a:gd name="connsiteX50" fmla="*/ 204800 w 408444"/>
                      <a:gd name="connsiteY50" fmla="*/ 235005 h 403597"/>
                      <a:gd name="connsiteX51" fmla="*/ 203466 w 408444"/>
                      <a:gd name="connsiteY51" fmla="*/ 192999 h 403597"/>
                      <a:gd name="connsiteX52" fmla="*/ 219564 w 408444"/>
                      <a:gd name="connsiteY52" fmla="*/ 181760 h 403597"/>
                      <a:gd name="connsiteX53" fmla="*/ 249377 w 408444"/>
                      <a:gd name="connsiteY53" fmla="*/ 192999 h 403597"/>
                      <a:gd name="connsiteX54" fmla="*/ 263760 w 408444"/>
                      <a:gd name="connsiteY54" fmla="*/ 234719 h 403597"/>
                      <a:gd name="connsiteX55" fmla="*/ 306432 w 408444"/>
                      <a:gd name="connsiteY55" fmla="*/ 246339 h 403597"/>
                      <a:gd name="connsiteX56" fmla="*/ 312147 w 408444"/>
                      <a:gd name="connsiteY56" fmla="*/ 246339 h 403597"/>
                      <a:gd name="connsiteX57" fmla="*/ 323767 w 408444"/>
                      <a:gd name="connsiteY57" fmla="*/ 257293 h 403597"/>
                      <a:gd name="connsiteX58" fmla="*/ 333292 w 408444"/>
                      <a:gd name="connsiteY58" fmla="*/ 264437 h 403597"/>
                      <a:gd name="connsiteX59" fmla="*/ 335673 w 408444"/>
                      <a:gd name="connsiteY59" fmla="*/ 264437 h 403597"/>
                      <a:gd name="connsiteX60" fmla="*/ 342531 w 408444"/>
                      <a:gd name="connsiteY60" fmla="*/ 252912 h 403597"/>
                      <a:gd name="connsiteX61" fmla="*/ 312432 w 408444"/>
                      <a:gd name="connsiteY61" fmla="*/ 227575 h 403597"/>
                      <a:gd name="connsiteX62" fmla="*/ 305955 w 408444"/>
                      <a:gd name="connsiteY62" fmla="*/ 227575 h 403597"/>
                      <a:gd name="connsiteX63" fmla="*/ 291382 w 408444"/>
                      <a:gd name="connsiteY63" fmla="*/ 227575 h 403597"/>
                      <a:gd name="connsiteX64" fmla="*/ 320624 w 408444"/>
                      <a:gd name="connsiteY64" fmla="*/ 214716 h 403597"/>
                      <a:gd name="connsiteX65" fmla="*/ 331244 w 408444"/>
                      <a:gd name="connsiteY65" fmla="*/ 206287 h 403597"/>
                      <a:gd name="connsiteX66" fmla="*/ 322815 w 408444"/>
                      <a:gd name="connsiteY66" fmla="*/ 195666 h 403597"/>
                      <a:gd name="connsiteX67" fmla="*/ 274713 w 408444"/>
                      <a:gd name="connsiteY67" fmla="*/ 218145 h 403597"/>
                      <a:gd name="connsiteX68" fmla="*/ 268713 w 408444"/>
                      <a:gd name="connsiteY68" fmla="*/ 191190 h 403597"/>
                      <a:gd name="connsiteX69" fmla="*/ 302050 w 408444"/>
                      <a:gd name="connsiteY69" fmla="*/ 165948 h 403597"/>
                      <a:gd name="connsiteX70" fmla="*/ 299478 w 408444"/>
                      <a:gd name="connsiteY70" fmla="*/ 152804 h 403597"/>
                      <a:gd name="connsiteX71" fmla="*/ 286248 w 408444"/>
                      <a:gd name="connsiteY71" fmla="*/ 155357 h 403597"/>
                      <a:gd name="connsiteX72" fmla="*/ 286239 w 408444"/>
                      <a:gd name="connsiteY72" fmla="*/ 155376 h 403597"/>
                      <a:gd name="connsiteX73" fmla="*/ 257664 w 408444"/>
                      <a:gd name="connsiteY73" fmla="*/ 174426 h 403597"/>
                      <a:gd name="connsiteX74" fmla="*/ 228327 w 408444"/>
                      <a:gd name="connsiteY74" fmla="*/ 164901 h 403597"/>
                      <a:gd name="connsiteX75" fmla="*/ 230041 w 408444"/>
                      <a:gd name="connsiteY75" fmla="*/ 143088 h 403597"/>
                      <a:gd name="connsiteX76" fmla="*/ 219373 w 408444"/>
                      <a:gd name="connsiteY76" fmla="*/ 134706 h 403597"/>
                      <a:gd name="connsiteX77" fmla="*/ 210991 w 408444"/>
                      <a:gd name="connsiteY77" fmla="*/ 145374 h 403597"/>
                      <a:gd name="connsiteX78" fmla="*/ 191941 w 408444"/>
                      <a:gd name="connsiteY78" fmla="*/ 177378 h 403597"/>
                      <a:gd name="connsiteX79" fmla="*/ 187464 w 408444"/>
                      <a:gd name="connsiteY79" fmla="*/ 173473 h 403597"/>
                      <a:gd name="connsiteX80" fmla="*/ 162509 w 408444"/>
                      <a:gd name="connsiteY80" fmla="*/ 122800 h 403597"/>
                      <a:gd name="connsiteX81" fmla="*/ 149602 w 408444"/>
                      <a:gd name="connsiteY81" fmla="*/ 126848 h 403597"/>
                      <a:gd name="connsiteX82" fmla="*/ 153651 w 408444"/>
                      <a:gd name="connsiteY82" fmla="*/ 139755 h 403597"/>
                      <a:gd name="connsiteX83" fmla="*/ 168605 w 408444"/>
                      <a:gd name="connsiteY83" fmla="*/ 170330 h 403597"/>
                      <a:gd name="connsiteX84" fmla="*/ 150317 w 408444"/>
                      <a:gd name="connsiteY84" fmla="*/ 175283 h 403597"/>
                      <a:gd name="connsiteX85" fmla="*/ 80213 w 408444"/>
                      <a:gd name="connsiteY85" fmla="*/ 129277 h 403597"/>
                      <a:gd name="connsiteX86" fmla="*/ 85642 w 408444"/>
                      <a:gd name="connsiteY86" fmla="*/ 141564 h 403597"/>
                      <a:gd name="connsiteX87" fmla="*/ 89071 w 408444"/>
                      <a:gd name="connsiteY87" fmla="*/ 142136 h 403597"/>
                      <a:gd name="connsiteX88" fmla="*/ 98025 w 408444"/>
                      <a:gd name="connsiteY88" fmla="*/ 136040 h 403597"/>
                      <a:gd name="connsiteX89" fmla="*/ 126600 w 408444"/>
                      <a:gd name="connsiteY89" fmla="*/ 61364 h 403597"/>
                      <a:gd name="connsiteX90" fmla="*/ 80499 w 408444"/>
                      <a:gd name="connsiteY90" fmla="*/ 61364 h 403597"/>
                      <a:gd name="connsiteX91" fmla="*/ 104025 w 408444"/>
                      <a:gd name="connsiteY91" fmla="*/ 13739 h 403597"/>
                      <a:gd name="connsiteX92" fmla="*/ 99672 w 408444"/>
                      <a:gd name="connsiteY92" fmla="*/ 994 h 403597"/>
                      <a:gd name="connsiteX93" fmla="*/ 99644 w 408444"/>
                      <a:gd name="connsiteY93" fmla="*/ 975 h 403597"/>
                      <a:gd name="connsiteX94" fmla="*/ 86899 w 408444"/>
                      <a:gd name="connsiteY94" fmla="*/ 5328 h 403597"/>
                      <a:gd name="connsiteX95" fmla="*/ 86880 w 408444"/>
                      <a:gd name="connsiteY95" fmla="*/ 5357 h 403597"/>
                      <a:gd name="connsiteX96" fmla="*/ 50019 w 408444"/>
                      <a:gd name="connsiteY96" fmla="*/ 80890 h 403597"/>
                      <a:gd name="connsiteX97" fmla="*/ 98882 w 408444"/>
                      <a:gd name="connsiteY97" fmla="*/ 80890 h 403597"/>
                      <a:gd name="connsiteX98" fmla="*/ 80213 w 408444"/>
                      <a:gd name="connsiteY98" fmla="*/ 129277 h 403597"/>
                      <a:gd name="connsiteX0" fmla="*/ 360915 w 381209"/>
                      <a:gd name="connsiteY0" fmla="*/ 275010 h 403597"/>
                      <a:gd name="connsiteX1" fmla="*/ 371297 w 381209"/>
                      <a:gd name="connsiteY1" fmla="*/ 291393 h 403597"/>
                      <a:gd name="connsiteX2" fmla="*/ 253187 w 381209"/>
                      <a:gd name="connsiteY2" fmla="*/ 298441 h 403597"/>
                      <a:gd name="connsiteX3" fmla="*/ 182321 w 381209"/>
                      <a:gd name="connsiteY3" fmla="*/ 330064 h 403597"/>
                      <a:gd name="connsiteX4" fmla="*/ 143364 w 381209"/>
                      <a:gd name="connsiteY4" fmla="*/ 403597 h 403597"/>
                      <a:gd name="connsiteX5" fmla="*/ 96596 w 381209"/>
                      <a:gd name="connsiteY5" fmla="*/ 403597 h 403597"/>
                      <a:gd name="connsiteX6" fmla="*/ 98596 w 381209"/>
                      <a:gd name="connsiteY6" fmla="*/ 392358 h 403597"/>
                      <a:gd name="connsiteX7" fmla="*/ 108121 w 381209"/>
                      <a:gd name="connsiteY7" fmla="*/ 326826 h 403597"/>
                      <a:gd name="connsiteX8" fmla="*/ 91833 w 381209"/>
                      <a:gd name="connsiteY8" fmla="*/ 326826 h 403597"/>
                      <a:gd name="connsiteX9" fmla="*/ 15633 w 381209"/>
                      <a:gd name="connsiteY9" fmla="*/ 281010 h 403597"/>
                      <a:gd name="connsiteX10" fmla="*/ 20205 w 381209"/>
                      <a:gd name="connsiteY10" fmla="*/ 145660 h 403597"/>
                      <a:gd name="connsiteX11" fmla="*/ 33255 w 381209"/>
                      <a:gd name="connsiteY11" fmla="*/ 142326 h 403597"/>
                      <a:gd name="connsiteX12" fmla="*/ 36588 w 381209"/>
                      <a:gd name="connsiteY12" fmla="*/ 155376 h 403597"/>
                      <a:gd name="connsiteX13" fmla="*/ 32207 w 381209"/>
                      <a:gd name="connsiteY13" fmla="*/ 271581 h 403597"/>
                      <a:gd name="connsiteX14" fmla="*/ 91833 w 381209"/>
                      <a:gd name="connsiteY14" fmla="*/ 307776 h 403597"/>
                      <a:gd name="connsiteX15" fmla="*/ 129933 w 381209"/>
                      <a:gd name="connsiteY15" fmla="*/ 307776 h 403597"/>
                      <a:gd name="connsiteX16" fmla="*/ 128409 w 381209"/>
                      <a:gd name="connsiteY16" fmla="*/ 318634 h 403597"/>
                      <a:gd name="connsiteX17" fmla="*/ 118884 w 381209"/>
                      <a:gd name="connsiteY17" fmla="*/ 384452 h 403597"/>
                      <a:gd name="connsiteX18" fmla="*/ 131553 w 381209"/>
                      <a:gd name="connsiteY18" fmla="*/ 384452 h 403597"/>
                      <a:gd name="connsiteX19" fmla="*/ 172986 w 381209"/>
                      <a:gd name="connsiteY19" fmla="*/ 305775 h 403597"/>
                      <a:gd name="connsiteX20" fmla="*/ 180511 w 381209"/>
                      <a:gd name="connsiteY20" fmla="*/ 310252 h 403597"/>
                      <a:gd name="connsiteX21" fmla="*/ 238518 w 381209"/>
                      <a:gd name="connsiteY21" fmla="*/ 283582 h 403597"/>
                      <a:gd name="connsiteX22" fmla="*/ 241662 w 381209"/>
                      <a:gd name="connsiteY22" fmla="*/ 274629 h 403597"/>
                      <a:gd name="connsiteX23" fmla="*/ 250615 w 381209"/>
                      <a:gd name="connsiteY23" fmla="*/ 277677 h 403597"/>
                      <a:gd name="connsiteX24" fmla="*/ 360915 w 381209"/>
                      <a:gd name="connsiteY24" fmla="*/ 275010 h 403597"/>
                      <a:gd name="connsiteX25" fmla="*/ 150317 w 381209"/>
                      <a:gd name="connsiteY25" fmla="*/ 175283 h 403597"/>
                      <a:gd name="connsiteX26" fmla="*/ 119075 w 381209"/>
                      <a:gd name="connsiteY26" fmla="*/ 194333 h 403597"/>
                      <a:gd name="connsiteX27" fmla="*/ 86499 w 381209"/>
                      <a:gd name="connsiteY27" fmla="*/ 176902 h 403597"/>
                      <a:gd name="connsiteX28" fmla="*/ 75165 w 381209"/>
                      <a:gd name="connsiteY28" fmla="*/ 169187 h 403597"/>
                      <a:gd name="connsiteX29" fmla="*/ 67449 w 381209"/>
                      <a:gd name="connsiteY29" fmla="*/ 180522 h 403597"/>
                      <a:gd name="connsiteX30" fmla="*/ 110788 w 381209"/>
                      <a:gd name="connsiteY30" fmla="*/ 212716 h 403597"/>
                      <a:gd name="connsiteX31" fmla="*/ 110026 w 381209"/>
                      <a:gd name="connsiteY31" fmla="*/ 218812 h 403597"/>
                      <a:gd name="connsiteX32" fmla="*/ 112884 w 381209"/>
                      <a:gd name="connsiteY32" fmla="*/ 239100 h 403597"/>
                      <a:gd name="connsiteX33" fmla="*/ 84309 w 381209"/>
                      <a:gd name="connsiteY33" fmla="*/ 246530 h 403597"/>
                      <a:gd name="connsiteX34" fmla="*/ 80975 w 381209"/>
                      <a:gd name="connsiteY34" fmla="*/ 259579 h 403597"/>
                      <a:gd name="connsiteX35" fmla="*/ 89071 w 381209"/>
                      <a:gd name="connsiteY35" fmla="*/ 264246 h 403597"/>
                      <a:gd name="connsiteX36" fmla="*/ 93738 w 381209"/>
                      <a:gd name="connsiteY36" fmla="*/ 263103 h 403597"/>
                      <a:gd name="connsiteX37" fmla="*/ 123742 w 381209"/>
                      <a:gd name="connsiteY37" fmla="*/ 260913 h 403597"/>
                      <a:gd name="connsiteX38" fmla="*/ 125647 w 381209"/>
                      <a:gd name="connsiteY38" fmla="*/ 261579 h 403597"/>
                      <a:gd name="connsiteX39" fmla="*/ 144697 w 381209"/>
                      <a:gd name="connsiteY39" fmla="*/ 281296 h 403597"/>
                      <a:gd name="connsiteX40" fmla="*/ 151650 w 381209"/>
                      <a:gd name="connsiteY40" fmla="*/ 284154 h 403597"/>
                      <a:gd name="connsiteX41" fmla="*/ 161137 w 381209"/>
                      <a:gd name="connsiteY41" fmla="*/ 274591 h 403597"/>
                      <a:gd name="connsiteX42" fmla="*/ 158508 w 381209"/>
                      <a:gd name="connsiteY42" fmla="*/ 268056 h 403597"/>
                      <a:gd name="connsiteX43" fmla="*/ 138887 w 381209"/>
                      <a:gd name="connsiteY43" fmla="*/ 247673 h 403597"/>
                      <a:gd name="connsiteX44" fmla="*/ 129362 w 381209"/>
                      <a:gd name="connsiteY44" fmla="*/ 219574 h 403597"/>
                      <a:gd name="connsiteX45" fmla="*/ 153365 w 381209"/>
                      <a:gd name="connsiteY45" fmla="*/ 193761 h 403597"/>
                      <a:gd name="connsiteX46" fmla="*/ 174987 w 381209"/>
                      <a:gd name="connsiteY46" fmla="*/ 187380 h 403597"/>
                      <a:gd name="connsiteX47" fmla="*/ 187369 w 381209"/>
                      <a:gd name="connsiteY47" fmla="*/ 227289 h 403597"/>
                      <a:gd name="connsiteX48" fmla="*/ 192227 w 381209"/>
                      <a:gd name="connsiteY48" fmla="*/ 239862 h 403597"/>
                      <a:gd name="connsiteX49" fmla="*/ 204800 w 381209"/>
                      <a:gd name="connsiteY49" fmla="*/ 235005 h 403597"/>
                      <a:gd name="connsiteX50" fmla="*/ 203466 w 381209"/>
                      <a:gd name="connsiteY50" fmla="*/ 192999 h 403597"/>
                      <a:gd name="connsiteX51" fmla="*/ 219564 w 381209"/>
                      <a:gd name="connsiteY51" fmla="*/ 181760 h 403597"/>
                      <a:gd name="connsiteX52" fmla="*/ 249377 w 381209"/>
                      <a:gd name="connsiteY52" fmla="*/ 192999 h 403597"/>
                      <a:gd name="connsiteX53" fmla="*/ 263760 w 381209"/>
                      <a:gd name="connsiteY53" fmla="*/ 234719 h 403597"/>
                      <a:gd name="connsiteX54" fmla="*/ 306432 w 381209"/>
                      <a:gd name="connsiteY54" fmla="*/ 246339 h 403597"/>
                      <a:gd name="connsiteX55" fmla="*/ 312147 w 381209"/>
                      <a:gd name="connsiteY55" fmla="*/ 246339 h 403597"/>
                      <a:gd name="connsiteX56" fmla="*/ 323767 w 381209"/>
                      <a:gd name="connsiteY56" fmla="*/ 257293 h 403597"/>
                      <a:gd name="connsiteX57" fmla="*/ 333292 w 381209"/>
                      <a:gd name="connsiteY57" fmla="*/ 264437 h 403597"/>
                      <a:gd name="connsiteX58" fmla="*/ 335673 w 381209"/>
                      <a:gd name="connsiteY58" fmla="*/ 264437 h 403597"/>
                      <a:gd name="connsiteX59" fmla="*/ 342531 w 381209"/>
                      <a:gd name="connsiteY59" fmla="*/ 252912 h 403597"/>
                      <a:gd name="connsiteX60" fmla="*/ 312432 w 381209"/>
                      <a:gd name="connsiteY60" fmla="*/ 227575 h 403597"/>
                      <a:gd name="connsiteX61" fmla="*/ 305955 w 381209"/>
                      <a:gd name="connsiteY61" fmla="*/ 227575 h 403597"/>
                      <a:gd name="connsiteX62" fmla="*/ 291382 w 381209"/>
                      <a:gd name="connsiteY62" fmla="*/ 227575 h 403597"/>
                      <a:gd name="connsiteX63" fmla="*/ 320624 w 381209"/>
                      <a:gd name="connsiteY63" fmla="*/ 214716 h 403597"/>
                      <a:gd name="connsiteX64" fmla="*/ 331244 w 381209"/>
                      <a:gd name="connsiteY64" fmla="*/ 206287 h 403597"/>
                      <a:gd name="connsiteX65" fmla="*/ 322815 w 381209"/>
                      <a:gd name="connsiteY65" fmla="*/ 195666 h 403597"/>
                      <a:gd name="connsiteX66" fmla="*/ 274713 w 381209"/>
                      <a:gd name="connsiteY66" fmla="*/ 218145 h 403597"/>
                      <a:gd name="connsiteX67" fmla="*/ 268713 w 381209"/>
                      <a:gd name="connsiteY67" fmla="*/ 191190 h 403597"/>
                      <a:gd name="connsiteX68" fmla="*/ 302050 w 381209"/>
                      <a:gd name="connsiteY68" fmla="*/ 165948 h 403597"/>
                      <a:gd name="connsiteX69" fmla="*/ 299478 w 381209"/>
                      <a:gd name="connsiteY69" fmla="*/ 152804 h 403597"/>
                      <a:gd name="connsiteX70" fmla="*/ 286248 w 381209"/>
                      <a:gd name="connsiteY70" fmla="*/ 155357 h 403597"/>
                      <a:gd name="connsiteX71" fmla="*/ 286239 w 381209"/>
                      <a:gd name="connsiteY71" fmla="*/ 155376 h 403597"/>
                      <a:gd name="connsiteX72" fmla="*/ 257664 w 381209"/>
                      <a:gd name="connsiteY72" fmla="*/ 174426 h 403597"/>
                      <a:gd name="connsiteX73" fmla="*/ 228327 w 381209"/>
                      <a:gd name="connsiteY73" fmla="*/ 164901 h 403597"/>
                      <a:gd name="connsiteX74" fmla="*/ 230041 w 381209"/>
                      <a:gd name="connsiteY74" fmla="*/ 143088 h 403597"/>
                      <a:gd name="connsiteX75" fmla="*/ 219373 w 381209"/>
                      <a:gd name="connsiteY75" fmla="*/ 134706 h 403597"/>
                      <a:gd name="connsiteX76" fmla="*/ 210991 w 381209"/>
                      <a:gd name="connsiteY76" fmla="*/ 145374 h 403597"/>
                      <a:gd name="connsiteX77" fmla="*/ 191941 w 381209"/>
                      <a:gd name="connsiteY77" fmla="*/ 177378 h 403597"/>
                      <a:gd name="connsiteX78" fmla="*/ 187464 w 381209"/>
                      <a:gd name="connsiteY78" fmla="*/ 173473 h 403597"/>
                      <a:gd name="connsiteX79" fmla="*/ 162509 w 381209"/>
                      <a:gd name="connsiteY79" fmla="*/ 122800 h 403597"/>
                      <a:gd name="connsiteX80" fmla="*/ 149602 w 381209"/>
                      <a:gd name="connsiteY80" fmla="*/ 126848 h 403597"/>
                      <a:gd name="connsiteX81" fmla="*/ 153651 w 381209"/>
                      <a:gd name="connsiteY81" fmla="*/ 139755 h 403597"/>
                      <a:gd name="connsiteX82" fmla="*/ 168605 w 381209"/>
                      <a:gd name="connsiteY82" fmla="*/ 170330 h 403597"/>
                      <a:gd name="connsiteX83" fmla="*/ 150317 w 381209"/>
                      <a:gd name="connsiteY83" fmla="*/ 175283 h 403597"/>
                      <a:gd name="connsiteX84" fmla="*/ 80213 w 381209"/>
                      <a:gd name="connsiteY84" fmla="*/ 129277 h 403597"/>
                      <a:gd name="connsiteX85" fmla="*/ 85642 w 381209"/>
                      <a:gd name="connsiteY85" fmla="*/ 141564 h 403597"/>
                      <a:gd name="connsiteX86" fmla="*/ 89071 w 381209"/>
                      <a:gd name="connsiteY86" fmla="*/ 142136 h 403597"/>
                      <a:gd name="connsiteX87" fmla="*/ 98025 w 381209"/>
                      <a:gd name="connsiteY87" fmla="*/ 136040 h 403597"/>
                      <a:gd name="connsiteX88" fmla="*/ 126600 w 381209"/>
                      <a:gd name="connsiteY88" fmla="*/ 61364 h 403597"/>
                      <a:gd name="connsiteX89" fmla="*/ 80499 w 381209"/>
                      <a:gd name="connsiteY89" fmla="*/ 61364 h 403597"/>
                      <a:gd name="connsiteX90" fmla="*/ 104025 w 381209"/>
                      <a:gd name="connsiteY90" fmla="*/ 13739 h 403597"/>
                      <a:gd name="connsiteX91" fmla="*/ 99672 w 381209"/>
                      <a:gd name="connsiteY91" fmla="*/ 994 h 403597"/>
                      <a:gd name="connsiteX92" fmla="*/ 99644 w 381209"/>
                      <a:gd name="connsiteY92" fmla="*/ 975 h 403597"/>
                      <a:gd name="connsiteX93" fmla="*/ 86899 w 381209"/>
                      <a:gd name="connsiteY93" fmla="*/ 5328 h 403597"/>
                      <a:gd name="connsiteX94" fmla="*/ 86880 w 381209"/>
                      <a:gd name="connsiteY94" fmla="*/ 5357 h 403597"/>
                      <a:gd name="connsiteX95" fmla="*/ 50019 w 381209"/>
                      <a:gd name="connsiteY95" fmla="*/ 80890 h 403597"/>
                      <a:gd name="connsiteX96" fmla="*/ 98882 w 381209"/>
                      <a:gd name="connsiteY96" fmla="*/ 80890 h 403597"/>
                      <a:gd name="connsiteX97" fmla="*/ 80213 w 381209"/>
                      <a:gd name="connsiteY97" fmla="*/ 129277 h 403597"/>
                      <a:gd name="connsiteX0" fmla="*/ 250615 w 371297"/>
                      <a:gd name="connsiteY0" fmla="*/ 277677 h 403597"/>
                      <a:gd name="connsiteX1" fmla="*/ 371297 w 371297"/>
                      <a:gd name="connsiteY1" fmla="*/ 291393 h 403597"/>
                      <a:gd name="connsiteX2" fmla="*/ 253187 w 371297"/>
                      <a:gd name="connsiteY2" fmla="*/ 298441 h 403597"/>
                      <a:gd name="connsiteX3" fmla="*/ 182321 w 371297"/>
                      <a:gd name="connsiteY3" fmla="*/ 330064 h 403597"/>
                      <a:gd name="connsiteX4" fmla="*/ 143364 w 371297"/>
                      <a:gd name="connsiteY4" fmla="*/ 403597 h 403597"/>
                      <a:gd name="connsiteX5" fmla="*/ 96596 w 371297"/>
                      <a:gd name="connsiteY5" fmla="*/ 403597 h 403597"/>
                      <a:gd name="connsiteX6" fmla="*/ 98596 w 371297"/>
                      <a:gd name="connsiteY6" fmla="*/ 392358 h 403597"/>
                      <a:gd name="connsiteX7" fmla="*/ 108121 w 371297"/>
                      <a:gd name="connsiteY7" fmla="*/ 326826 h 403597"/>
                      <a:gd name="connsiteX8" fmla="*/ 91833 w 371297"/>
                      <a:gd name="connsiteY8" fmla="*/ 326826 h 403597"/>
                      <a:gd name="connsiteX9" fmla="*/ 15633 w 371297"/>
                      <a:gd name="connsiteY9" fmla="*/ 281010 h 403597"/>
                      <a:gd name="connsiteX10" fmla="*/ 20205 w 371297"/>
                      <a:gd name="connsiteY10" fmla="*/ 145660 h 403597"/>
                      <a:gd name="connsiteX11" fmla="*/ 33255 w 371297"/>
                      <a:gd name="connsiteY11" fmla="*/ 142326 h 403597"/>
                      <a:gd name="connsiteX12" fmla="*/ 36588 w 371297"/>
                      <a:gd name="connsiteY12" fmla="*/ 155376 h 403597"/>
                      <a:gd name="connsiteX13" fmla="*/ 32207 w 371297"/>
                      <a:gd name="connsiteY13" fmla="*/ 271581 h 403597"/>
                      <a:gd name="connsiteX14" fmla="*/ 91833 w 371297"/>
                      <a:gd name="connsiteY14" fmla="*/ 307776 h 403597"/>
                      <a:gd name="connsiteX15" fmla="*/ 129933 w 371297"/>
                      <a:gd name="connsiteY15" fmla="*/ 307776 h 403597"/>
                      <a:gd name="connsiteX16" fmla="*/ 128409 w 371297"/>
                      <a:gd name="connsiteY16" fmla="*/ 318634 h 403597"/>
                      <a:gd name="connsiteX17" fmla="*/ 118884 w 371297"/>
                      <a:gd name="connsiteY17" fmla="*/ 384452 h 403597"/>
                      <a:gd name="connsiteX18" fmla="*/ 131553 w 371297"/>
                      <a:gd name="connsiteY18" fmla="*/ 384452 h 403597"/>
                      <a:gd name="connsiteX19" fmla="*/ 172986 w 371297"/>
                      <a:gd name="connsiteY19" fmla="*/ 305775 h 403597"/>
                      <a:gd name="connsiteX20" fmla="*/ 180511 w 371297"/>
                      <a:gd name="connsiteY20" fmla="*/ 310252 h 403597"/>
                      <a:gd name="connsiteX21" fmla="*/ 238518 w 371297"/>
                      <a:gd name="connsiteY21" fmla="*/ 283582 h 403597"/>
                      <a:gd name="connsiteX22" fmla="*/ 241662 w 371297"/>
                      <a:gd name="connsiteY22" fmla="*/ 274629 h 403597"/>
                      <a:gd name="connsiteX23" fmla="*/ 250615 w 371297"/>
                      <a:gd name="connsiteY23" fmla="*/ 277677 h 403597"/>
                      <a:gd name="connsiteX24" fmla="*/ 150317 w 371297"/>
                      <a:gd name="connsiteY24" fmla="*/ 175283 h 403597"/>
                      <a:gd name="connsiteX25" fmla="*/ 119075 w 371297"/>
                      <a:gd name="connsiteY25" fmla="*/ 194333 h 403597"/>
                      <a:gd name="connsiteX26" fmla="*/ 86499 w 371297"/>
                      <a:gd name="connsiteY26" fmla="*/ 176902 h 403597"/>
                      <a:gd name="connsiteX27" fmla="*/ 75165 w 371297"/>
                      <a:gd name="connsiteY27" fmla="*/ 169187 h 403597"/>
                      <a:gd name="connsiteX28" fmla="*/ 67449 w 371297"/>
                      <a:gd name="connsiteY28" fmla="*/ 180522 h 403597"/>
                      <a:gd name="connsiteX29" fmla="*/ 110788 w 371297"/>
                      <a:gd name="connsiteY29" fmla="*/ 212716 h 403597"/>
                      <a:gd name="connsiteX30" fmla="*/ 110026 w 371297"/>
                      <a:gd name="connsiteY30" fmla="*/ 218812 h 403597"/>
                      <a:gd name="connsiteX31" fmla="*/ 112884 w 371297"/>
                      <a:gd name="connsiteY31" fmla="*/ 239100 h 403597"/>
                      <a:gd name="connsiteX32" fmla="*/ 84309 w 371297"/>
                      <a:gd name="connsiteY32" fmla="*/ 246530 h 403597"/>
                      <a:gd name="connsiteX33" fmla="*/ 80975 w 371297"/>
                      <a:gd name="connsiteY33" fmla="*/ 259579 h 403597"/>
                      <a:gd name="connsiteX34" fmla="*/ 89071 w 371297"/>
                      <a:gd name="connsiteY34" fmla="*/ 264246 h 403597"/>
                      <a:gd name="connsiteX35" fmla="*/ 93738 w 371297"/>
                      <a:gd name="connsiteY35" fmla="*/ 263103 h 403597"/>
                      <a:gd name="connsiteX36" fmla="*/ 123742 w 371297"/>
                      <a:gd name="connsiteY36" fmla="*/ 260913 h 403597"/>
                      <a:gd name="connsiteX37" fmla="*/ 125647 w 371297"/>
                      <a:gd name="connsiteY37" fmla="*/ 261579 h 403597"/>
                      <a:gd name="connsiteX38" fmla="*/ 144697 w 371297"/>
                      <a:gd name="connsiteY38" fmla="*/ 281296 h 403597"/>
                      <a:gd name="connsiteX39" fmla="*/ 151650 w 371297"/>
                      <a:gd name="connsiteY39" fmla="*/ 284154 h 403597"/>
                      <a:gd name="connsiteX40" fmla="*/ 161137 w 371297"/>
                      <a:gd name="connsiteY40" fmla="*/ 274591 h 403597"/>
                      <a:gd name="connsiteX41" fmla="*/ 158508 w 371297"/>
                      <a:gd name="connsiteY41" fmla="*/ 268056 h 403597"/>
                      <a:gd name="connsiteX42" fmla="*/ 138887 w 371297"/>
                      <a:gd name="connsiteY42" fmla="*/ 247673 h 403597"/>
                      <a:gd name="connsiteX43" fmla="*/ 129362 w 371297"/>
                      <a:gd name="connsiteY43" fmla="*/ 219574 h 403597"/>
                      <a:gd name="connsiteX44" fmla="*/ 153365 w 371297"/>
                      <a:gd name="connsiteY44" fmla="*/ 193761 h 403597"/>
                      <a:gd name="connsiteX45" fmla="*/ 174987 w 371297"/>
                      <a:gd name="connsiteY45" fmla="*/ 187380 h 403597"/>
                      <a:gd name="connsiteX46" fmla="*/ 187369 w 371297"/>
                      <a:gd name="connsiteY46" fmla="*/ 227289 h 403597"/>
                      <a:gd name="connsiteX47" fmla="*/ 192227 w 371297"/>
                      <a:gd name="connsiteY47" fmla="*/ 239862 h 403597"/>
                      <a:gd name="connsiteX48" fmla="*/ 204800 w 371297"/>
                      <a:gd name="connsiteY48" fmla="*/ 235005 h 403597"/>
                      <a:gd name="connsiteX49" fmla="*/ 203466 w 371297"/>
                      <a:gd name="connsiteY49" fmla="*/ 192999 h 403597"/>
                      <a:gd name="connsiteX50" fmla="*/ 219564 w 371297"/>
                      <a:gd name="connsiteY50" fmla="*/ 181760 h 403597"/>
                      <a:gd name="connsiteX51" fmla="*/ 249377 w 371297"/>
                      <a:gd name="connsiteY51" fmla="*/ 192999 h 403597"/>
                      <a:gd name="connsiteX52" fmla="*/ 263760 w 371297"/>
                      <a:gd name="connsiteY52" fmla="*/ 234719 h 403597"/>
                      <a:gd name="connsiteX53" fmla="*/ 306432 w 371297"/>
                      <a:gd name="connsiteY53" fmla="*/ 246339 h 403597"/>
                      <a:gd name="connsiteX54" fmla="*/ 312147 w 371297"/>
                      <a:gd name="connsiteY54" fmla="*/ 246339 h 403597"/>
                      <a:gd name="connsiteX55" fmla="*/ 323767 w 371297"/>
                      <a:gd name="connsiteY55" fmla="*/ 257293 h 403597"/>
                      <a:gd name="connsiteX56" fmla="*/ 333292 w 371297"/>
                      <a:gd name="connsiteY56" fmla="*/ 264437 h 403597"/>
                      <a:gd name="connsiteX57" fmla="*/ 335673 w 371297"/>
                      <a:gd name="connsiteY57" fmla="*/ 264437 h 403597"/>
                      <a:gd name="connsiteX58" fmla="*/ 342531 w 371297"/>
                      <a:gd name="connsiteY58" fmla="*/ 252912 h 403597"/>
                      <a:gd name="connsiteX59" fmla="*/ 312432 w 371297"/>
                      <a:gd name="connsiteY59" fmla="*/ 227575 h 403597"/>
                      <a:gd name="connsiteX60" fmla="*/ 305955 w 371297"/>
                      <a:gd name="connsiteY60" fmla="*/ 227575 h 403597"/>
                      <a:gd name="connsiteX61" fmla="*/ 291382 w 371297"/>
                      <a:gd name="connsiteY61" fmla="*/ 227575 h 403597"/>
                      <a:gd name="connsiteX62" fmla="*/ 320624 w 371297"/>
                      <a:gd name="connsiteY62" fmla="*/ 214716 h 403597"/>
                      <a:gd name="connsiteX63" fmla="*/ 331244 w 371297"/>
                      <a:gd name="connsiteY63" fmla="*/ 206287 h 403597"/>
                      <a:gd name="connsiteX64" fmla="*/ 322815 w 371297"/>
                      <a:gd name="connsiteY64" fmla="*/ 195666 h 403597"/>
                      <a:gd name="connsiteX65" fmla="*/ 274713 w 371297"/>
                      <a:gd name="connsiteY65" fmla="*/ 218145 h 403597"/>
                      <a:gd name="connsiteX66" fmla="*/ 268713 w 371297"/>
                      <a:gd name="connsiteY66" fmla="*/ 191190 h 403597"/>
                      <a:gd name="connsiteX67" fmla="*/ 302050 w 371297"/>
                      <a:gd name="connsiteY67" fmla="*/ 165948 h 403597"/>
                      <a:gd name="connsiteX68" fmla="*/ 299478 w 371297"/>
                      <a:gd name="connsiteY68" fmla="*/ 152804 h 403597"/>
                      <a:gd name="connsiteX69" fmla="*/ 286248 w 371297"/>
                      <a:gd name="connsiteY69" fmla="*/ 155357 h 403597"/>
                      <a:gd name="connsiteX70" fmla="*/ 286239 w 371297"/>
                      <a:gd name="connsiteY70" fmla="*/ 155376 h 403597"/>
                      <a:gd name="connsiteX71" fmla="*/ 257664 w 371297"/>
                      <a:gd name="connsiteY71" fmla="*/ 174426 h 403597"/>
                      <a:gd name="connsiteX72" fmla="*/ 228327 w 371297"/>
                      <a:gd name="connsiteY72" fmla="*/ 164901 h 403597"/>
                      <a:gd name="connsiteX73" fmla="*/ 230041 w 371297"/>
                      <a:gd name="connsiteY73" fmla="*/ 143088 h 403597"/>
                      <a:gd name="connsiteX74" fmla="*/ 219373 w 371297"/>
                      <a:gd name="connsiteY74" fmla="*/ 134706 h 403597"/>
                      <a:gd name="connsiteX75" fmla="*/ 210991 w 371297"/>
                      <a:gd name="connsiteY75" fmla="*/ 145374 h 403597"/>
                      <a:gd name="connsiteX76" fmla="*/ 191941 w 371297"/>
                      <a:gd name="connsiteY76" fmla="*/ 177378 h 403597"/>
                      <a:gd name="connsiteX77" fmla="*/ 187464 w 371297"/>
                      <a:gd name="connsiteY77" fmla="*/ 173473 h 403597"/>
                      <a:gd name="connsiteX78" fmla="*/ 162509 w 371297"/>
                      <a:gd name="connsiteY78" fmla="*/ 122800 h 403597"/>
                      <a:gd name="connsiteX79" fmla="*/ 149602 w 371297"/>
                      <a:gd name="connsiteY79" fmla="*/ 126848 h 403597"/>
                      <a:gd name="connsiteX80" fmla="*/ 153651 w 371297"/>
                      <a:gd name="connsiteY80" fmla="*/ 139755 h 403597"/>
                      <a:gd name="connsiteX81" fmla="*/ 168605 w 371297"/>
                      <a:gd name="connsiteY81" fmla="*/ 170330 h 403597"/>
                      <a:gd name="connsiteX82" fmla="*/ 150317 w 371297"/>
                      <a:gd name="connsiteY82" fmla="*/ 175283 h 403597"/>
                      <a:gd name="connsiteX83" fmla="*/ 80213 w 371297"/>
                      <a:gd name="connsiteY83" fmla="*/ 129277 h 403597"/>
                      <a:gd name="connsiteX84" fmla="*/ 85642 w 371297"/>
                      <a:gd name="connsiteY84" fmla="*/ 141564 h 403597"/>
                      <a:gd name="connsiteX85" fmla="*/ 89071 w 371297"/>
                      <a:gd name="connsiteY85" fmla="*/ 142136 h 403597"/>
                      <a:gd name="connsiteX86" fmla="*/ 98025 w 371297"/>
                      <a:gd name="connsiteY86" fmla="*/ 136040 h 403597"/>
                      <a:gd name="connsiteX87" fmla="*/ 126600 w 371297"/>
                      <a:gd name="connsiteY87" fmla="*/ 61364 h 403597"/>
                      <a:gd name="connsiteX88" fmla="*/ 80499 w 371297"/>
                      <a:gd name="connsiteY88" fmla="*/ 61364 h 403597"/>
                      <a:gd name="connsiteX89" fmla="*/ 104025 w 371297"/>
                      <a:gd name="connsiteY89" fmla="*/ 13739 h 403597"/>
                      <a:gd name="connsiteX90" fmla="*/ 99672 w 371297"/>
                      <a:gd name="connsiteY90" fmla="*/ 994 h 403597"/>
                      <a:gd name="connsiteX91" fmla="*/ 99644 w 371297"/>
                      <a:gd name="connsiteY91" fmla="*/ 975 h 403597"/>
                      <a:gd name="connsiteX92" fmla="*/ 86899 w 371297"/>
                      <a:gd name="connsiteY92" fmla="*/ 5328 h 403597"/>
                      <a:gd name="connsiteX93" fmla="*/ 86880 w 371297"/>
                      <a:gd name="connsiteY93" fmla="*/ 5357 h 403597"/>
                      <a:gd name="connsiteX94" fmla="*/ 50019 w 371297"/>
                      <a:gd name="connsiteY94" fmla="*/ 80890 h 403597"/>
                      <a:gd name="connsiteX95" fmla="*/ 98882 w 371297"/>
                      <a:gd name="connsiteY95" fmla="*/ 80890 h 403597"/>
                      <a:gd name="connsiteX96" fmla="*/ 80213 w 371297"/>
                      <a:gd name="connsiteY96" fmla="*/ 129277 h 403597"/>
                      <a:gd name="connsiteX0" fmla="*/ 250615 w 342816"/>
                      <a:gd name="connsiteY0" fmla="*/ 277677 h 403597"/>
                      <a:gd name="connsiteX1" fmla="*/ 253187 w 342816"/>
                      <a:gd name="connsiteY1" fmla="*/ 298441 h 403597"/>
                      <a:gd name="connsiteX2" fmla="*/ 182321 w 342816"/>
                      <a:gd name="connsiteY2" fmla="*/ 330064 h 403597"/>
                      <a:gd name="connsiteX3" fmla="*/ 143364 w 342816"/>
                      <a:gd name="connsiteY3" fmla="*/ 403597 h 403597"/>
                      <a:gd name="connsiteX4" fmla="*/ 96596 w 342816"/>
                      <a:gd name="connsiteY4" fmla="*/ 403597 h 403597"/>
                      <a:gd name="connsiteX5" fmla="*/ 98596 w 342816"/>
                      <a:gd name="connsiteY5" fmla="*/ 392358 h 403597"/>
                      <a:gd name="connsiteX6" fmla="*/ 108121 w 342816"/>
                      <a:gd name="connsiteY6" fmla="*/ 326826 h 403597"/>
                      <a:gd name="connsiteX7" fmla="*/ 91833 w 342816"/>
                      <a:gd name="connsiteY7" fmla="*/ 326826 h 403597"/>
                      <a:gd name="connsiteX8" fmla="*/ 15633 w 342816"/>
                      <a:gd name="connsiteY8" fmla="*/ 281010 h 403597"/>
                      <a:gd name="connsiteX9" fmla="*/ 20205 w 342816"/>
                      <a:gd name="connsiteY9" fmla="*/ 145660 h 403597"/>
                      <a:gd name="connsiteX10" fmla="*/ 33255 w 342816"/>
                      <a:gd name="connsiteY10" fmla="*/ 142326 h 403597"/>
                      <a:gd name="connsiteX11" fmla="*/ 36588 w 342816"/>
                      <a:gd name="connsiteY11" fmla="*/ 155376 h 403597"/>
                      <a:gd name="connsiteX12" fmla="*/ 32207 w 342816"/>
                      <a:gd name="connsiteY12" fmla="*/ 271581 h 403597"/>
                      <a:gd name="connsiteX13" fmla="*/ 91833 w 342816"/>
                      <a:gd name="connsiteY13" fmla="*/ 307776 h 403597"/>
                      <a:gd name="connsiteX14" fmla="*/ 129933 w 342816"/>
                      <a:gd name="connsiteY14" fmla="*/ 307776 h 403597"/>
                      <a:gd name="connsiteX15" fmla="*/ 128409 w 342816"/>
                      <a:gd name="connsiteY15" fmla="*/ 318634 h 403597"/>
                      <a:gd name="connsiteX16" fmla="*/ 118884 w 342816"/>
                      <a:gd name="connsiteY16" fmla="*/ 384452 h 403597"/>
                      <a:gd name="connsiteX17" fmla="*/ 131553 w 342816"/>
                      <a:gd name="connsiteY17" fmla="*/ 384452 h 403597"/>
                      <a:gd name="connsiteX18" fmla="*/ 172986 w 342816"/>
                      <a:gd name="connsiteY18" fmla="*/ 305775 h 403597"/>
                      <a:gd name="connsiteX19" fmla="*/ 180511 w 342816"/>
                      <a:gd name="connsiteY19" fmla="*/ 310252 h 403597"/>
                      <a:gd name="connsiteX20" fmla="*/ 238518 w 342816"/>
                      <a:gd name="connsiteY20" fmla="*/ 283582 h 403597"/>
                      <a:gd name="connsiteX21" fmla="*/ 241662 w 342816"/>
                      <a:gd name="connsiteY21" fmla="*/ 274629 h 403597"/>
                      <a:gd name="connsiteX22" fmla="*/ 250615 w 342816"/>
                      <a:gd name="connsiteY22" fmla="*/ 277677 h 403597"/>
                      <a:gd name="connsiteX23" fmla="*/ 150317 w 342816"/>
                      <a:gd name="connsiteY23" fmla="*/ 175283 h 403597"/>
                      <a:gd name="connsiteX24" fmla="*/ 119075 w 342816"/>
                      <a:gd name="connsiteY24" fmla="*/ 194333 h 403597"/>
                      <a:gd name="connsiteX25" fmla="*/ 86499 w 342816"/>
                      <a:gd name="connsiteY25" fmla="*/ 176902 h 403597"/>
                      <a:gd name="connsiteX26" fmla="*/ 75165 w 342816"/>
                      <a:gd name="connsiteY26" fmla="*/ 169187 h 403597"/>
                      <a:gd name="connsiteX27" fmla="*/ 67449 w 342816"/>
                      <a:gd name="connsiteY27" fmla="*/ 180522 h 403597"/>
                      <a:gd name="connsiteX28" fmla="*/ 110788 w 342816"/>
                      <a:gd name="connsiteY28" fmla="*/ 212716 h 403597"/>
                      <a:gd name="connsiteX29" fmla="*/ 110026 w 342816"/>
                      <a:gd name="connsiteY29" fmla="*/ 218812 h 403597"/>
                      <a:gd name="connsiteX30" fmla="*/ 112884 w 342816"/>
                      <a:gd name="connsiteY30" fmla="*/ 239100 h 403597"/>
                      <a:gd name="connsiteX31" fmla="*/ 84309 w 342816"/>
                      <a:gd name="connsiteY31" fmla="*/ 246530 h 403597"/>
                      <a:gd name="connsiteX32" fmla="*/ 80975 w 342816"/>
                      <a:gd name="connsiteY32" fmla="*/ 259579 h 403597"/>
                      <a:gd name="connsiteX33" fmla="*/ 89071 w 342816"/>
                      <a:gd name="connsiteY33" fmla="*/ 264246 h 403597"/>
                      <a:gd name="connsiteX34" fmla="*/ 93738 w 342816"/>
                      <a:gd name="connsiteY34" fmla="*/ 263103 h 403597"/>
                      <a:gd name="connsiteX35" fmla="*/ 123742 w 342816"/>
                      <a:gd name="connsiteY35" fmla="*/ 260913 h 403597"/>
                      <a:gd name="connsiteX36" fmla="*/ 125647 w 342816"/>
                      <a:gd name="connsiteY36" fmla="*/ 261579 h 403597"/>
                      <a:gd name="connsiteX37" fmla="*/ 144697 w 342816"/>
                      <a:gd name="connsiteY37" fmla="*/ 281296 h 403597"/>
                      <a:gd name="connsiteX38" fmla="*/ 151650 w 342816"/>
                      <a:gd name="connsiteY38" fmla="*/ 284154 h 403597"/>
                      <a:gd name="connsiteX39" fmla="*/ 161137 w 342816"/>
                      <a:gd name="connsiteY39" fmla="*/ 274591 h 403597"/>
                      <a:gd name="connsiteX40" fmla="*/ 158508 w 342816"/>
                      <a:gd name="connsiteY40" fmla="*/ 268056 h 403597"/>
                      <a:gd name="connsiteX41" fmla="*/ 138887 w 342816"/>
                      <a:gd name="connsiteY41" fmla="*/ 247673 h 403597"/>
                      <a:gd name="connsiteX42" fmla="*/ 129362 w 342816"/>
                      <a:gd name="connsiteY42" fmla="*/ 219574 h 403597"/>
                      <a:gd name="connsiteX43" fmla="*/ 153365 w 342816"/>
                      <a:gd name="connsiteY43" fmla="*/ 193761 h 403597"/>
                      <a:gd name="connsiteX44" fmla="*/ 174987 w 342816"/>
                      <a:gd name="connsiteY44" fmla="*/ 187380 h 403597"/>
                      <a:gd name="connsiteX45" fmla="*/ 187369 w 342816"/>
                      <a:gd name="connsiteY45" fmla="*/ 227289 h 403597"/>
                      <a:gd name="connsiteX46" fmla="*/ 192227 w 342816"/>
                      <a:gd name="connsiteY46" fmla="*/ 239862 h 403597"/>
                      <a:gd name="connsiteX47" fmla="*/ 204800 w 342816"/>
                      <a:gd name="connsiteY47" fmla="*/ 235005 h 403597"/>
                      <a:gd name="connsiteX48" fmla="*/ 203466 w 342816"/>
                      <a:gd name="connsiteY48" fmla="*/ 192999 h 403597"/>
                      <a:gd name="connsiteX49" fmla="*/ 219564 w 342816"/>
                      <a:gd name="connsiteY49" fmla="*/ 181760 h 403597"/>
                      <a:gd name="connsiteX50" fmla="*/ 249377 w 342816"/>
                      <a:gd name="connsiteY50" fmla="*/ 192999 h 403597"/>
                      <a:gd name="connsiteX51" fmla="*/ 263760 w 342816"/>
                      <a:gd name="connsiteY51" fmla="*/ 234719 h 403597"/>
                      <a:gd name="connsiteX52" fmla="*/ 306432 w 342816"/>
                      <a:gd name="connsiteY52" fmla="*/ 246339 h 403597"/>
                      <a:gd name="connsiteX53" fmla="*/ 312147 w 342816"/>
                      <a:gd name="connsiteY53" fmla="*/ 246339 h 403597"/>
                      <a:gd name="connsiteX54" fmla="*/ 323767 w 342816"/>
                      <a:gd name="connsiteY54" fmla="*/ 257293 h 403597"/>
                      <a:gd name="connsiteX55" fmla="*/ 333292 w 342816"/>
                      <a:gd name="connsiteY55" fmla="*/ 264437 h 403597"/>
                      <a:gd name="connsiteX56" fmla="*/ 335673 w 342816"/>
                      <a:gd name="connsiteY56" fmla="*/ 264437 h 403597"/>
                      <a:gd name="connsiteX57" fmla="*/ 342531 w 342816"/>
                      <a:gd name="connsiteY57" fmla="*/ 252912 h 403597"/>
                      <a:gd name="connsiteX58" fmla="*/ 312432 w 342816"/>
                      <a:gd name="connsiteY58" fmla="*/ 227575 h 403597"/>
                      <a:gd name="connsiteX59" fmla="*/ 305955 w 342816"/>
                      <a:gd name="connsiteY59" fmla="*/ 227575 h 403597"/>
                      <a:gd name="connsiteX60" fmla="*/ 291382 w 342816"/>
                      <a:gd name="connsiteY60" fmla="*/ 227575 h 403597"/>
                      <a:gd name="connsiteX61" fmla="*/ 320624 w 342816"/>
                      <a:gd name="connsiteY61" fmla="*/ 214716 h 403597"/>
                      <a:gd name="connsiteX62" fmla="*/ 331244 w 342816"/>
                      <a:gd name="connsiteY62" fmla="*/ 206287 h 403597"/>
                      <a:gd name="connsiteX63" fmla="*/ 322815 w 342816"/>
                      <a:gd name="connsiteY63" fmla="*/ 195666 h 403597"/>
                      <a:gd name="connsiteX64" fmla="*/ 274713 w 342816"/>
                      <a:gd name="connsiteY64" fmla="*/ 218145 h 403597"/>
                      <a:gd name="connsiteX65" fmla="*/ 268713 w 342816"/>
                      <a:gd name="connsiteY65" fmla="*/ 191190 h 403597"/>
                      <a:gd name="connsiteX66" fmla="*/ 302050 w 342816"/>
                      <a:gd name="connsiteY66" fmla="*/ 165948 h 403597"/>
                      <a:gd name="connsiteX67" fmla="*/ 299478 w 342816"/>
                      <a:gd name="connsiteY67" fmla="*/ 152804 h 403597"/>
                      <a:gd name="connsiteX68" fmla="*/ 286248 w 342816"/>
                      <a:gd name="connsiteY68" fmla="*/ 155357 h 403597"/>
                      <a:gd name="connsiteX69" fmla="*/ 286239 w 342816"/>
                      <a:gd name="connsiteY69" fmla="*/ 155376 h 403597"/>
                      <a:gd name="connsiteX70" fmla="*/ 257664 w 342816"/>
                      <a:gd name="connsiteY70" fmla="*/ 174426 h 403597"/>
                      <a:gd name="connsiteX71" fmla="*/ 228327 w 342816"/>
                      <a:gd name="connsiteY71" fmla="*/ 164901 h 403597"/>
                      <a:gd name="connsiteX72" fmla="*/ 230041 w 342816"/>
                      <a:gd name="connsiteY72" fmla="*/ 143088 h 403597"/>
                      <a:gd name="connsiteX73" fmla="*/ 219373 w 342816"/>
                      <a:gd name="connsiteY73" fmla="*/ 134706 h 403597"/>
                      <a:gd name="connsiteX74" fmla="*/ 210991 w 342816"/>
                      <a:gd name="connsiteY74" fmla="*/ 145374 h 403597"/>
                      <a:gd name="connsiteX75" fmla="*/ 191941 w 342816"/>
                      <a:gd name="connsiteY75" fmla="*/ 177378 h 403597"/>
                      <a:gd name="connsiteX76" fmla="*/ 187464 w 342816"/>
                      <a:gd name="connsiteY76" fmla="*/ 173473 h 403597"/>
                      <a:gd name="connsiteX77" fmla="*/ 162509 w 342816"/>
                      <a:gd name="connsiteY77" fmla="*/ 122800 h 403597"/>
                      <a:gd name="connsiteX78" fmla="*/ 149602 w 342816"/>
                      <a:gd name="connsiteY78" fmla="*/ 126848 h 403597"/>
                      <a:gd name="connsiteX79" fmla="*/ 153651 w 342816"/>
                      <a:gd name="connsiteY79" fmla="*/ 139755 h 403597"/>
                      <a:gd name="connsiteX80" fmla="*/ 168605 w 342816"/>
                      <a:gd name="connsiteY80" fmla="*/ 170330 h 403597"/>
                      <a:gd name="connsiteX81" fmla="*/ 150317 w 342816"/>
                      <a:gd name="connsiteY81" fmla="*/ 175283 h 403597"/>
                      <a:gd name="connsiteX82" fmla="*/ 80213 w 342816"/>
                      <a:gd name="connsiteY82" fmla="*/ 129277 h 403597"/>
                      <a:gd name="connsiteX83" fmla="*/ 85642 w 342816"/>
                      <a:gd name="connsiteY83" fmla="*/ 141564 h 403597"/>
                      <a:gd name="connsiteX84" fmla="*/ 89071 w 342816"/>
                      <a:gd name="connsiteY84" fmla="*/ 142136 h 403597"/>
                      <a:gd name="connsiteX85" fmla="*/ 98025 w 342816"/>
                      <a:gd name="connsiteY85" fmla="*/ 136040 h 403597"/>
                      <a:gd name="connsiteX86" fmla="*/ 126600 w 342816"/>
                      <a:gd name="connsiteY86" fmla="*/ 61364 h 403597"/>
                      <a:gd name="connsiteX87" fmla="*/ 80499 w 342816"/>
                      <a:gd name="connsiteY87" fmla="*/ 61364 h 403597"/>
                      <a:gd name="connsiteX88" fmla="*/ 104025 w 342816"/>
                      <a:gd name="connsiteY88" fmla="*/ 13739 h 403597"/>
                      <a:gd name="connsiteX89" fmla="*/ 99672 w 342816"/>
                      <a:gd name="connsiteY89" fmla="*/ 994 h 403597"/>
                      <a:gd name="connsiteX90" fmla="*/ 99644 w 342816"/>
                      <a:gd name="connsiteY90" fmla="*/ 975 h 403597"/>
                      <a:gd name="connsiteX91" fmla="*/ 86899 w 342816"/>
                      <a:gd name="connsiteY91" fmla="*/ 5328 h 403597"/>
                      <a:gd name="connsiteX92" fmla="*/ 86880 w 342816"/>
                      <a:gd name="connsiteY92" fmla="*/ 5357 h 403597"/>
                      <a:gd name="connsiteX93" fmla="*/ 50019 w 342816"/>
                      <a:gd name="connsiteY93" fmla="*/ 80890 h 403597"/>
                      <a:gd name="connsiteX94" fmla="*/ 98882 w 342816"/>
                      <a:gd name="connsiteY94" fmla="*/ 80890 h 403597"/>
                      <a:gd name="connsiteX95" fmla="*/ 80213 w 342816"/>
                      <a:gd name="connsiteY95" fmla="*/ 129277 h 403597"/>
                      <a:gd name="connsiteX0" fmla="*/ 250615 w 342816"/>
                      <a:gd name="connsiteY0" fmla="*/ 277677 h 403597"/>
                      <a:gd name="connsiteX1" fmla="*/ 253187 w 342816"/>
                      <a:gd name="connsiteY1" fmla="*/ 298441 h 403597"/>
                      <a:gd name="connsiteX2" fmla="*/ 182321 w 342816"/>
                      <a:gd name="connsiteY2" fmla="*/ 330064 h 403597"/>
                      <a:gd name="connsiteX3" fmla="*/ 143364 w 342816"/>
                      <a:gd name="connsiteY3" fmla="*/ 403597 h 403597"/>
                      <a:gd name="connsiteX4" fmla="*/ 96596 w 342816"/>
                      <a:gd name="connsiteY4" fmla="*/ 403597 h 403597"/>
                      <a:gd name="connsiteX5" fmla="*/ 98596 w 342816"/>
                      <a:gd name="connsiteY5" fmla="*/ 392358 h 403597"/>
                      <a:gd name="connsiteX6" fmla="*/ 108121 w 342816"/>
                      <a:gd name="connsiteY6" fmla="*/ 326826 h 403597"/>
                      <a:gd name="connsiteX7" fmla="*/ 91833 w 342816"/>
                      <a:gd name="connsiteY7" fmla="*/ 326826 h 403597"/>
                      <a:gd name="connsiteX8" fmla="*/ 15633 w 342816"/>
                      <a:gd name="connsiteY8" fmla="*/ 281010 h 403597"/>
                      <a:gd name="connsiteX9" fmla="*/ 20205 w 342816"/>
                      <a:gd name="connsiteY9" fmla="*/ 145660 h 403597"/>
                      <a:gd name="connsiteX10" fmla="*/ 33255 w 342816"/>
                      <a:gd name="connsiteY10" fmla="*/ 142326 h 403597"/>
                      <a:gd name="connsiteX11" fmla="*/ 36588 w 342816"/>
                      <a:gd name="connsiteY11" fmla="*/ 155376 h 403597"/>
                      <a:gd name="connsiteX12" fmla="*/ 32207 w 342816"/>
                      <a:gd name="connsiteY12" fmla="*/ 271581 h 403597"/>
                      <a:gd name="connsiteX13" fmla="*/ 91833 w 342816"/>
                      <a:gd name="connsiteY13" fmla="*/ 307776 h 403597"/>
                      <a:gd name="connsiteX14" fmla="*/ 129933 w 342816"/>
                      <a:gd name="connsiteY14" fmla="*/ 307776 h 403597"/>
                      <a:gd name="connsiteX15" fmla="*/ 128409 w 342816"/>
                      <a:gd name="connsiteY15" fmla="*/ 318634 h 403597"/>
                      <a:gd name="connsiteX16" fmla="*/ 118884 w 342816"/>
                      <a:gd name="connsiteY16" fmla="*/ 384452 h 403597"/>
                      <a:gd name="connsiteX17" fmla="*/ 131553 w 342816"/>
                      <a:gd name="connsiteY17" fmla="*/ 384452 h 403597"/>
                      <a:gd name="connsiteX18" fmla="*/ 172986 w 342816"/>
                      <a:gd name="connsiteY18" fmla="*/ 305775 h 403597"/>
                      <a:gd name="connsiteX19" fmla="*/ 180511 w 342816"/>
                      <a:gd name="connsiteY19" fmla="*/ 310252 h 403597"/>
                      <a:gd name="connsiteX20" fmla="*/ 238518 w 342816"/>
                      <a:gd name="connsiteY20" fmla="*/ 283582 h 403597"/>
                      <a:gd name="connsiteX21" fmla="*/ 250615 w 342816"/>
                      <a:gd name="connsiteY21" fmla="*/ 277677 h 403597"/>
                      <a:gd name="connsiteX22" fmla="*/ 150317 w 342816"/>
                      <a:gd name="connsiteY22" fmla="*/ 175283 h 403597"/>
                      <a:gd name="connsiteX23" fmla="*/ 119075 w 342816"/>
                      <a:gd name="connsiteY23" fmla="*/ 194333 h 403597"/>
                      <a:gd name="connsiteX24" fmla="*/ 86499 w 342816"/>
                      <a:gd name="connsiteY24" fmla="*/ 176902 h 403597"/>
                      <a:gd name="connsiteX25" fmla="*/ 75165 w 342816"/>
                      <a:gd name="connsiteY25" fmla="*/ 169187 h 403597"/>
                      <a:gd name="connsiteX26" fmla="*/ 67449 w 342816"/>
                      <a:gd name="connsiteY26" fmla="*/ 180522 h 403597"/>
                      <a:gd name="connsiteX27" fmla="*/ 110788 w 342816"/>
                      <a:gd name="connsiteY27" fmla="*/ 212716 h 403597"/>
                      <a:gd name="connsiteX28" fmla="*/ 110026 w 342816"/>
                      <a:gd name="connsiteY28" fmla="*/ 218812 h 403597"/>
                      <a:gd name="connsiteX29" fmla="*/ 112884 w 342816"/>
                      <a:gd name="connsiteY29" fmla="*/ 239100 h 403597"/>
                      <a:gd name="connsiteX30" fmla="*/ 84309 w 342816"/>
                      <a:gd name="connsiteY30" fmla="*/ 246530 h 403597"/>
                      <a:gd name="connsiteX31" fmla="*/ 80975 w 342816"/>
                      <a:gd name="connsiteY31" fmla="*/ 259579 h 403597"/>
                      <a:gd name="connsiteX32" fmla="*/ 89071 w 342816"/>
                      <a:gd name="connsiteY32" fmla="*/ 264246 h 403597"/>
                      <a:gd name="connsiteX33" fmla="*/ 93738 w 342816"/>
                      <a:gd name="connsiteY33" fmla="*/ 263103 h 403597"/>
                      <a:gd name="connsiteX34" fmla="*/ 123742 w 342816"/>
                      <a:gd name="connsiteY34" fmla="*/ 260913 h 403597"/>
                      <a:gd name="connsiteX35" fmla="*/ 125647 w 342816"/>
                      <a:gd name="connsiteY35" fmla="*/ 261579 h 403597"/>
                      <a:gd name="connsiteX36" fmla="*/ 144697 w 342816"/>
                      <a:gd name="connsiteY36" fmla="*/ 281296 h 403597"/>
                      <a:gd name="connsiteX37" fmla="*/ 151650 w 342816"/>
                      <a:gd name="connsiteY37" fmla="*/ 284154 h 403597"/>
                      <a:gd name="connsiteX38" fmla="*/ 161137 w 342816"/>
                      <a:gd name="connsiteY38" fmla="*/ 274591 h 403597"/>
                      <a:gd name="connsiteX39" fmla="*/ 158508 w 342816"/>
                      <a:gd name="connsiteY39" fmla="*/ 268056 h 403597"/>
                      <a:gd name="connsiteX40" fmla="*/ 138887 w 342816"/>
                      <a:gd name="connsiteY40" fmla="*/ 247673 h 403597"/>
                      <a:gd name="connsiteX41" fmla="*/ 129362 w 342816"/>
                      <a:gd name="connsiteY41" fmla="*/ 219574 h 403597"/>
                      <a:gd name="connsiteX42" fmla="*/ 153365 w 342816"/>
                      <a:gd name="connsiteY42" fmla="*/ 193761 h 403597"/>
                      <a:gd name="connsiteX43" fmla="*/ 174987 w 342816"/>
                      <a:gd name="connsiteY43" fmla="*/ 187380 h 403597"/>
                      <a:gd name="connsiteX44" fmla="*/ 187369 w 342816"/>
                      <a:gd name="connsiteY44" fmla="*/ 227289 h 403597"/>
                      <a:gd name="connsiteX45" fmla="*/ 192227 w 342816"/>
                      <a:gd name="connsiteY45" fmla="*/ 239862 h 403597"/>
                      <a:gd name="connsiteX46" fmla="*/ 204800 w 342816"/>
                      <a:gd name="connsiteY46" fmla="*/ 235005 h 403597"/>
                      <a:gd name="connsiteX47" fmla="*/ 203466 w 342816"/>
                      <a:gd name="connsiteY47" fmla="*/ 192999 h 403597"/>
                      <a:gd name="connsiteX48" fmla="*/ 219564 w 342816"/>
                      <a:gd name="connsiteY48" fmla="*/ 181760 h 403597"/>
                      <a:gd name="connsiteX49" fmla="*/ 249377 w 342816"/>
                      <a:gd name="connsiteY49" fmla="*/ 192999 h 403597"/>
                      <a:gd name="connsiteX50" fmla="*/ 263760 w 342816"/>
                      <a:gd name="connsiteY50" fmla="*/ 234719 h 403597"/>
                      <a:gd name="connsiteX51" fmla="*/ 306432 w 342816"/>
                      <a:gd name="connsiteY51" fmla="*/ 246339 h 403597"/>
                      <a:gd name="connsiteX52" fmla="*/ 312147 w 342816"/>
                      <a:gd name="connsiteY52" fmla="*/ 246339 h 403597"/>
                      <a:gd name="connsiteX53" fmla="*/ 323767 w 342816"/>
                      <a:gd name="connsiteY53" fmla="*/ 257293 h 403597"/>
                      <a:gd name="connsiteX54" fmla="*/ 333292 w 342816"/>
                      <a:gd name="connsiteY54" fmla="*/ 264437 h 403597"/>
                      <a:gd name="connsiteX55" fmla="*/ 335673 w 342816"/>
                      <a:gd name="connsiteY55" fmla="*/ 264437 h 403597"/>
                      <a:gd name="connsiteX56" fmla="*/ 342531 w 342816"/>
                      <a:gd name="connsiteY56" fmla="*/ 252912 h 403597"/>
                      <a:gd name="connsiteX57" fmla="*/ 312432 w 342816"/>
                      <a:gd name="connsiteY57" fmla="*/ 227575 h 403597"/>
                      <a:gd name="connsiteX58" fmla="*/ 305955 w 342816"/>
                      <a:gd name="connsiteY58" fmla="*/ 227575 h 403597"/>
                      <a:gd name="connsiteX59" fmla="*/ 291382 w 342816"/>
                      <a:gd name="connsiteY59" fmla="*/ 227575 h 403597"/>
                      <a:gd name="connsiteX60" fmla="*/ 320624 w 342816"/>
                      <a:gd name="connsiteY60" fmla="*/ 214716 h 403597"/>
                      <a:gd name="connsiteX61" fmla="*/ 331244 w 342816"/>
                      <a:gd name="connsiteY61" fmla="*/ 206287 h 403597"/>
                      <a:gd name="connsiteX62" fmla="*/ 322815 w 342816"/>
                      <a:gd name="connsiteY62" fmla="*/ 195666 h 403597"/>
                      <a:gd name="connsiteX63" fmla="*/ 274713 w 342816"/>
                      <a:gd name="connsiteY63" fmla="*/ 218145 h 403597"/>
                      <a:gd name="connsiteX64" fmla="*/ 268713 w 342816"/>
                      <a:gd name="connsiteY64" fmla="*/ 191190 h 403597"/>
                      <a:gd name="connsiteX65" fmla="*/ 302050 w 342816"/>
                      <a:gd name="connsiteY65" fmla="*/ 165948 h 403597"/>
                      <a:gd name="connsiteX66" fmla="*/ 299478 w 342816"/>
                      <a:gd name="connsiteY66" fmla="*/ 152804 h 403597"/>
                      <a:gd name="connsiteX67" fmla="*/ 286248 w 342816"/>
                      <a:gd name="connsiteY67" fmla="*/ 155357 h 403597"/>
                      <a:gd name="connsiteX68" fmla="*/ 286239 w 342816"/>
                      <a:gd name="connsiteY68" fmla="*/ 155376 h 403597"/>
                      <a:gd name="connsiteX69" fmla="*/ 257664 w 342816"/>
                      <a:gd name="connsiteY69" fmla="*/ 174426 h 403597"/>
                      <a:gd name="connsiteX70" fmla="*/ 228327 w 342816"/>
                      <a:gd name="connsiteY70" fmla="*/ 164901 h 403597"/>
                      <a:gd name="connsiteX71" fmla="*/ 230041 w 342816"/>
                      <a:gd name="connsiteY71" fmla="*/ 143088 h 403597"/>
                      <a:gd name="connsiteX72" fmla="*/ 219373 w 342816"/>
                      <a:gd name="connsiteY72" fmla="*/ 134706 h 403597"/>
                      <a:gd name="connsiteX73" fmla="*/ 210991 w 342816"/>
                      <a:gd name="connsiteY73" fmla="*/ 145374 h 403597"/>
                      <a:gd name="connsiteX74" fmla="*/ 191941 w 342816"/>
                      <a:gd name="connsiteY74" fmla="*/ 177378 h 403597"/>
                      <a:gd name="connsiteX75" fmla="*/ 187464 w 342816"/>
                      <a:gd name="connsiteY75" fmla="*/ 173473 h 403597"/>
                      <a:gd name="connsiteX76" fmla="*/ 162509 w 342816"/>
                      <a:gd name="connsiteY76" fmla="*/ 122800 h 403597"/>
                      <a:gd name="connsiteX77" fmla="*/ 149602 w 342816"/>
                      <a:gd name="connsiteY77" fmla="*/ 126848 h 403597"/>
                      <a:gd name="connsiteX78" fmla="*/ 153651 w 342816"/>
                      <a:gd name="connsiteY78" fmla="*/ 139755 h 403597"/>
                      <a:gd name="connsiteX79" fmla="*/ 168605 w 342816"/>
                      <a:gd name="connsiteY79" fmla="*/ 170330 h 403597"/>
                      <a:gd name="connsiteX80" fmla="*/ 150317 w 342816"/>
                      <a:gd name="connsiteY80" fmla="*/ 175283 h 403597"/>
                      <a:gd name="connsiteX81" fmla="*/ 80213 w 342816"/>
                      <a:gd name="connsiteY81" fmla="*/ 129277 h 403597"/>
                      <a:gd name="connsiteX82" fmla="*/ 85642 w 342816"/>
                      <a:gd name="connsiteY82" fmla="*/ 141564 h 403597"/>
                      <a:gd name="connsiteX83" fmla="*/ 89071 w 342816"/>
                      <a:gd name="connsiteY83" fmla="*/ 142136 h 403597"/>
                      <a:gd name="connsiteX84" fmla="*/ 98025 w 342816"/>
                      <a:gd name="connsiteY84" fmla="*/ 136040 h 403597"/>
                      <a:gd name="connsiteX85" fmla="*/ 126600 w 342816"/>
                      <a:gd name="connsiteY85" fmla="*/ 61364 h 403597"/>
                      <a:gd name="connsiteX86" fmla="*/ 80499 w 342816"/>
                      <a:gd name="connsiteY86" fmla="*/ 61364 h 403597"/>
                      <a:gd name="connsiteX87" fmla="*/ 104025 w 342816"/>
                      <a:gd name="connsiteY87" fmla="*/ 13739 h 403597"/>
                      <a:gd name="connsiteX88" fmla="*/ 99672 w 342816"/>
                      <a:gd name="connsiteY88" fmla="*/ 994 h 403597"/>
                      <a:gd name="connsiteX89" fmla="*/ 99644 w 342816"/>
                      <a:gd name="connsiteY89" fmla="*/ 975 h 403597"/>
                      <a:gd name="connsiteX90" fmla="*/ 86899 w 342816"/>
                      <a:gd name="connsiteY90" fmla="*/ 5328 h 403597"/>
                      <a:gd name="connsiteX91" fmla="*/ 86880 w 342816"/>
                      <a:gd name="connsiteY91" fmla="*/ 5357 h 403597"/>
                      <a:gd name="connsiteX92" fmla="*/ 50019 w 342816"/>
                      <a:gd name="connsiteY92" fmla="*/ 80890 h 403597"/>
                      <a:gd name="connsiteX93" fmla="*/ 98882 w 342816"/>
                      <a:gd name="connsiteY93" fmla="*/ 80890 h 403597"/>
                      <a:gd name="connsiteX94" fmla="*/ 80213 w 342816"/>
                      <a:gd name="connsiteY94" fmla="*/ 129277 h 403597"/>
                      <a:gd name="connsiteX0" fmla="*/ 250615 w 342816"/>
                      <a:gd name="connsiteY0" fmla="*/ 277677 h 403597"/>
                      <a:gd name="connsiteX1" fmla="*/ 253187 w 342816"/>
                      <a:gd name="connsiteY1" fmla="*/ 298441 h 403597"/>
                      <a:gd name="connsiteX2" fmla="*/ 182321 w 342816"/>
                      <a:gd name="connsiteY2" fmla="*/ 330064 h 403597"/>
                      <a:gd name="connsiteX3" fmla="*/ 143364 w 342816"/>
                      <a:gd name="connsiteY3" fmla="*/ 403597 h 403597"/>
                      <a:gd name="connsiteX4" fmla="*/ 96596 w 342816"/>
                      <a:gd name="connsiteY4" fmla="*/ 403597 h 403597"/>
                      <a:gd name="connsiteX5" fmla="*/ 98596 w 342816"/>
                      <a:gd name="connsiteY5" fmla="*/ 392358 h 403597"/>
                      <a:gd name="connsiteX6" fmla="*/ 108121 w 342816"/>
                      <a:gd name="connsiteY6" fmla="*/ 326826 h 403597"/>
                      <a:gd name="connsiteX7" fmla="*/ 91833 w 342816"/>
                      <a:gd name="connsiteY7" fmla="*/ 326826 h 403597"/>
                      <a:gd name="connsiteX8" fmla="*/ 15633 w 342816"/>
                      <a:gd name="connsiteY8" fmla="*/ 281010 h 403597"/>
                      <a:gd name="connsiteX9" fmla="*/ 20205 w 342816"/>
                      <a:gd name="connsiteY9" fmla="*/ 145660 h 403597"/>
                      <a:gd name="connsiteX10" fmla="*/ 33255 w 342816"/>
                      <a:gd name="connsiteY10" fmla="*/ 142326 h 403597"/>
                      <a:gd name="connsiteX11" fmla="*/ 36588 w 342816"/>
                      <a:gd name="connsiteY11" fmla="*/ 155376 h 403597"/>
                      <a:gd name="connsiteX12" fmla="*/ 32207 w 342816"/>
                      <a:gd name="connsiteY12" fmla="*/ 271581 h 403597"/>
                      <a:gd name="connsiteX13" fmla="*/ 91833 w 342816"/>
                      <a:gd name="connsiteY13" fmla="*/ 307776 h 403597"/>
                      <a:gd name="connsiteX14" fmla="*/ 129933 w 342816"/>
                      <a:gd name="connsiteY14" fmla="*/ 307776 h 403597"/>
                      <a:gd name="connsiteX15" fmla="*/ 128409 w 342816"/>
                      <a:gd name="connsiteY15" fmla="*/ 318634 h 403597"/>
                      <a:gd name="connsiteX16" fmla="*/ 118884 w 342816"/>
                      <a:gd name="connsiteY16" fmla="*/ 384452 h 403597"/>
                      <a:gd name="connsiteX17" fmla="*/ 131553 w 342816"/>
                      <a:gd name="connsiteY17" fmla="*/ 384452 h 403597"/>
                      <a:gd name="connsiteX18" fmla="*/ 172986 w 342816"/>
                      <a:gd name="connsiteY18" fmla="*/ 305775 h 403597"/>
                      <a:gd name="connsiteX19" fmla="*/ 180511 w 342816"/>
                      <a:gd name="connsiteY19" fmla="*/ 310252 h 403597"/>
                      <a:gd name="connsiteX20" fmla="*/ 250615 w 342816"/>
                      <a:gd name="connsiteY20" fmla="*/ 277677 h 403597"/>
                      <a:gd name="connsiteX21" fmla="*/ 150317 w 342816"/>
                      <a:gd name="connsiteY21" fmla="*/ 175283 h 403597"/>
                      <a:gd name="connsiteX22" fmla="*/ 119075 w 342816"/>
                      <a:gd name="connsiteY22" fmla="*/ 194333 h 403597"/>
                      <a:gd name="connsiteX23" fmla="*/ 86499 w 342816"/>
                      <a:gd name="connsiteY23" fmla="*/ 176902 h 403597"/>
                      <a:gd name="connsiteX24" fmla="*/ 75165 w 342816"/>
                      <a:gd name="connsiteY24" fmla="*/ 169187 h 403597"/>
                      <a:gd name="connsiteX25" fmla="*/ 67449 w 342816"/>
                      <a:gd name="connsiteY25" fmla="*/ 180522 h 403597"/>
                      <a:gd name="connsiteX26" fmla="*/ 110788 w 342816"/>
                      <a:gd name="connsiteY26" fmla="*/ 212716 h 403597"/>
                      <a:gd name="connsiteX27" fmla="*/ 110026 w 342816"/>
                      <a:gd name="connsiteY27" fmla="*/ 218812 h 403597"/>
                      <a:gd name="connsiteX28" fmla="*/ 112884 w 342816"/>
                      <a:gd name="connsiteY28" fmla="*/ 239100 h 403597"/>
                      <a:gd name="connsiteX29" fmla="*/ 84309 w 342816"/>
                      <a:gd name="connsiteY29" fmla="*/ 246530 h 403597"/>
                      <a:gd name="connsiteX30" fmla="*/ 80975 w 342816"/>
                      <a:gd name="connsiteY30" fmla="*/ 259579 h 403597"/>
                      <a:gd name="connsiteX31" fmla="*/ 89071 w 342816"/>
                      <a:gd name="connsiteY31" fmla="*/ 264246 h 403597"/>
                      <a:gd name="connsiteX32" fmla="*/ 93738 w 342816"/>
                      <a:gd name="connsiteY32" fmla="*/ 263103 h 403597"/>
                      <a:gd name="connsiteX33" fmla="*/ 123742 w 342816"/>
                      <a:gd name="connsiteY33" fmla="*/ 260913 h 403597"/>
                      <a:gd name="connsiteX34" fmla="*/ 125647 w 342816"/>
                      <a:gd name="connsiteY34" fmla="*/ 261579 h 403597"/>
                      <a:gd name="connsiteX35" fmla="*/ 144697 w 342816"/>
                      <a:gd name="connsiteY35" fmla="*/ 281296 h 403597"/>
                      <a:gd name="connsiteX36" fmla="*/ 151650 w 342816"/>
                      <a:gd name="connsiteY36" fmla="*/ 284154 h 403597"/>
                      <a:gd name="connsiteX37" fmla="*/ 161137 w 342816"/>
                      <a:gd name="connsiteY37" fmla="*/ 274591 h 403597"/>
                      <a:gd name="connsiteX38" fmla="*/ 158508 w 342816"/>
                      <a:gd name="connsiteY38" fmla="*/ 268056 h 403597"/>
                      <a:gd name="connsiteX39" fmla="*/ 138887 w 342816"/>
                      <a:gd name="connsiteY39" fmla="*/ 247673 h 403597"/>
                      <a:gd name="connsiteX40" fmla="*/ 129362 w 342816"/>
                      <a:gd name="connsiteY40" fmla="*/ 219574 h 403597"/>
                      <a:gd name="connsiteX41" fmla="*/ 153365 w 342816"/>
                      <a:gd name="connsiteY41" fmla="*/ 193761 h 403597"/>
                      <a:gd name="connsiteX42" fmla="*/ 174987 w 342816"/>
                      <a:gd name="connsiteY42" fmla="*/ 187380 h 403597"/>
                      <a:gd name="connsiteX43" fmla="*/ 187369 w 342816"/>
                      <a:gd name="connsiteY43" fmla="*/ 227289 h 403597"/>
                      <a:gd name="connsiteX44" fmla="*/ 192227 w 342816"/>
                      <a:gd name="connsiteY44" fmla="*/ 239862 h 403597"/>
                      <a:gd name="connsiteX45" fmla="*/ 204800 w 342816"/>
                      <a:gd name="connsiteY45" fmla="*/ 235005 h 403597"/>
                      <a:gd name="connsiteX46" fmla="*/ 203466 w 342816"/>
                      <a:gd name="connsiteY46" fmla="*/ 192999 h 403597"/>
                      <a:gd name="connsiteX47" fmla="*/ 219564 w 342816"/>
                      <a:gd name="connsiteY47" fmla="*/ 181760 h 403597"/>
                      <a:gd name="connsiteX48" fmla="*/ 249377 w 342816"/>
                      <a:gd name="connsiteY48" fmla="*/ 192999 h 403597"/>
                      <a:gd name="connsiteX49" fmla="*/ 263760 w 342816"/>
                      <a:gd name="connsiteY49" fmla="*/ 234719 h 403597"/>
                      <a:gd name="connsiteX50" fmla="*/ 306432 w 342816"/>
                      <a:gd name="connsiteY50" fmla="*/ 246339 h 403597"/>
                      <a:gd name="connsiteX51" fmla="*/ 312147 w 342816"/>
                      <a:gd name="connsiteY51" fmla="*/ 246339 h 403597"/>
                      <a:gd name="connsiteX52" fmla="*/ 323767 w 342816"/>
                      <a:gd name="connsiteY52" fmla="*/ 257293 h 403597"/>
                      <a:gd name="connsiteX53" fmla="*/ 333292 w 342816"/>
                      <a:gd name="connsiteY53" fmla="*/ 264437 h 403597"/>
                      <a:gd name="connsiteX54" fmla="*/ 335673 w 342816"/>
                      <a:gd name="connsiteY54" fmla="*/ 264437 h 403597"/>
                      <a:gd name="connsiteX55" fmla="*/ 342531 w 342816"/>
                      <a:gd name="connsiteY55" fmla="*/ 252912 h 403597"/>
                      <a:gd name="connsiteX56" fmla="*/ 312432 w 342816"/>
                      <a:gd name="connsiteY56" fmla="*/ 227575 h 403597"/>
                      <a:gd name="connsiteX57" fmla="*/ 305955 w 342816"/>
                      <a:gd name="connsiteY57" fmla="*/ 227575 h 403597"/>
                      <a:gd name="connsiteX58" fmla="*/ 291382 w 342816"/>
                      <a:gd name="connsiteY58" fmla="*/ 227575 h 403597"/>
                      <a:gd name="connsiteX59" fmla="*/ 320624 w 342816"/>
                      <a:gd name="connsiteY59" fmla="*/ 214716 h 403597"/>
                      <a:gd name="connsiteX60" fmla="*/ 331244 w 342816"/>
                      <a:gd name="connsiteY60" fmla="*/ 206287 h 403597"/>
                      <a:gd name="connsiteX61" fmla="*/ 322815 w 342816"/>
                      <a:gd name="connsiteY61" fmla="*/ 195666 h 403597"/>
                      <a:gd name="connsiteX62" fmla="*/ 274713 w 342816"/>
                      <a:gd name="connsiteY62" fmla="*/ 218145 h 403597"/>
                      <a:gd name="connsiteX63" fmla="*/ 268713 w 342816"/>
                      <a:gd name="connsiteY63" fmla="*/ 191190 h 403597"/>
                      <a:gd name="connsiteX64" fmla="*/ 302050 w 342816"/>
                      <a:gd name="connsiteY64" fmla="*/ 165948 h 403597"/>
                      <a:gd name="connsiteX65" fmla="*/ 299478 w 342816"/>
                      <a:gd name="connsiteY65" fmla="*/ 152804 h 403597"/>
                      <a:gd name="connsiteX66" fmla="*/ 286248 w 342816"/>
                      <a:gd name="connsiteY66" fmla="*/ 155357 h 403597"/>
                      <a:gd name="connsiteX67" fmla="*/ 286239 w 342816"/>
                      <a:gd name="connsiteY67" fmla="*/ 155376 h 403597"/>
                      <a:gd name="connsiteX68" fmla="*/ 257664 w 342816"/>
                      <a:gd name="connsiteY68" fmla="*/ 174426 h 403597"/>
                      <a:gd name="connsiteX69" fmla="*/ 228327 w 342816"/>
                      <a:gd name="connsiteY69" fmla="*/ 164901 h 403597"/>
                      <a:gd name="connsiteX70" fmla="*/ 230041 w 342816"/>
                      <a:gd name="connsiteY70" fmla="*/ 143088 h 403597"/>
                      <a:gd name="connsiteX71" fmla="*/ 219373 w 342816"/>
                      <a:gd name="connsiteY71" fmla="*/ 134706 h 403597"/>
                      <a:gd name="connsiteX72" fmla="*/ 210991 w 342816"/>
                      <a:gd name="connsiteY72" fmla="*/ 145374 h 403597"/>
                      <a:gd name="connsiteX73" fmla="*/ 191941 w 342816"/>
                      <a:gd name="connsiteY73" fmla="*/ 177378 h 403597"/>
                      <a:gd name="connsiteX74" fmla="*/ 187464 w 342816"/>
                      <a:gd name="connsiteY74" fmla="*/ 173473 h 403597"/>
                      <a:gd name="connsiteX75" fmla="*/ 162509 w 342816"/>
                      <a:gd name="connsiteY75" fmla="*/ 122800 h 403597"/>
                      <a:gd name="connsiteX76" fmla="*/ 149602 w 342816"/>
                      <a:gd name="connsiteY76" fmla="*/ 126848 h 403597"/>
                      <a:gd name="connsiteX77" fmla="*/ 153651 w 342816"/>
                      <a:gd name="connsiteY77" fmla="*/ 139755 h 403597"/>
                      <a:gd name="connsiteX78" fmla="*/ 168605 w 342816"/>
                      <a:gd name="connsiteY78" fmla="*/ 170330 h 403597"/>
                      <a:gd name="connsiteX79" fmla="*/ 150317 w 342816"/>
                      <a:gd name="connsiteY79" fmla="*/ 175283 h 403597"/>
                      <a:gd name="connsiteX80" fmla="*/ 80213 w 342816"/>
                      <a:gd name="connsiteY80" fmla="*/ 129277 h 403597"/>
                      <a:gd name="connsiteX81" fmla="*/ 85642 w 342816"/>
                      <a:gd name="connsiteY81" fmla="*/ 141564 h 403597"/>
                      <a:gd name="connsiteX82" fmla="*/ 89071 w 342816"/>
                      <a:gd name="connsiteY82" fmla="*/ 142136 h 403597"/>
                      <a:gd name="connsiteX83" fmla="*/ 98025 w 342816"/>
                      <a:gd name="connsiteY83" fmla="*/ 136040 h 403597"/>
                      <a:gd name="connsiteX84" fmla="*/ 126600 w 342816"/>
                      <a:gd name="connsiteY84" fmla="*/ 61364 h 403597"/>
                      <a:gd name="connsiteX85" fmla="*/ 80499 w 342816"/>
                      <a:gd name="connsiteY85" fmla="*/ 61364 h 403597"/>
                      <a:gd name="connsiteX86" fmla="*/ 104025 w 342816"/>
                      <a:gd name="connsiteY86" fmla="*/ 13739 h 403597"/>
                      <a:gd name="connsiteX87" fmla="*/ 99672 w 342816"/>
                      <a:gd name="connsiteY87" fmla="*/ 994 h 403597"/>
                      <a:gd name="connsiteX88" fmla="*/ 99644 w 342816"/>
                      <a:gd name="connsiteY88" fmla="*/ 975 h 403597"/>
                      <a:gd name="connsiteX89" fmla="*/ 86899 w 342816"/>
                      <a:gd name="connsiteY89" fmla="*/ 5328 h 403597"/>
                      <a:gd name="connsiteX90" fmla="*/ 86880 w 342816"/>
                      <a:gd name="connsiteY90" fmla="*/ 5357 h 403597"/>
                      <a:gd name="connsiteX91" fmla="*/ 50019 w 342816"/>
                      <a:gd name="connsiteY91" fmla="*/ 80890 h 403597"/>
                      <a:gd name="connsiteX92" fmla="*/ 98882 w 342816"/>
                      <a:gd name="connsiteY92" fmla="*/ 80890 h 403597"/>
                      <a:gd name="connsiteX93" fmla="*/ 80213 w 342816"/>
                      <a:gd name="connsiteY93" fmla="*/ 129277 h 403597"/>
                      <a:gd name="connsiteX0" fmla="*/ 180511 w 342816"/>
                      <a:gd name="connsiteY0" fmla="*/ 310252 h 403597"/>
                      <a:gd name="connsiteX1" fmla="*/ 253187 w 342816"/>
                      <a:gd name="connsiteY1" fmla="*/ 298441 h 403597"/>
                      <a:gd name="connsiteX2" fmla="*/ 182321 w 342816"/>
                      <a:gd name="connsiteY2" fmla="*/ 330064 h 403597"/>
                      <a:gd name="connsiteX3" fmla="*/ 143364 w 342816"/>
                      <a:gd name="connsiteY3" fmla="*/ 403597 h 403597"/>
                      <a:gd name="connsiteX4" fmla="*/ 96596 w 342816"/>
                      <a:gd name="connsiteY4" fmla="*/ 403597 h 403597"/>
                      <a:gd name="connsiteX5" fmla="*/ 98596 w 342816"/>
                      <a:gd name="connsiteY5" fmla="*/ 392358 h 403597"/>
                      <a:gd name="connsiteX6" fmla="*/ 108121 w 342816"/>
                      <a:gd name="connsiteY6" fmla="*/ 326826 h 403597"/>
                      <a:gd name="connsiteX7" fmla="*/ 91833 w 342816"/>
                      <a:gd name="connsiteY7" fmla="*/ 326826 h 403597"/>
                      <a:gd name="connsiteX8" fmla="*/ 15633 w 342816"/>
                      <a:gd name="connsiteY8" fmla="*/ 281010 h 403597"/>
                      <a:gd name="connsiteX9" fmla="*/ 20205 w 342816"/>
                      <a:gd name="connsiteY9" fmla="*/ 145660 h 403597"/>
                      <a:gd name="connsiteX10" fmla="*/ 33255 w 342816"/>
                      <a:gd name="connsiteY10" fmla="*/ 142326 h 403597"/>
                      <a:gd name="connsiteX11" fmla="*/ 36588 w 342816"/>
                      <a:gd name="connsiteY11" fmla="*/ 155376 h 403597"/>
                      <a:gd name="connsiteX12" fmla="*/ 32207 w 342816"/>
                      <a:gd name="connsiteY12" fmla="*/ 271581 h 403597"/>
                      <a:gd name="connsiteX13" fmla="*/ 91833 w 342816"/>
                      <a:gd name="connsiteY13" fmla="*/ 307776 h 403597"/>
                      <a:gd name="connsiteX14" fmla="*/ 129933 w 342816"/>
                      <a:gd name="connsiteY14" fmla="*/ 307776 h 403597"/>
                      <a:gd name="connsiteX15" fmla="*/ 128409 w 342816"/>
                      <a:gd name="connsiteY15" fmla="*/ 318634 h 403597"/>
                      <a:gd name="connsiteX16" fmla="*/ 118884 w 342816"/>
                      <a:gd name="connsiteY16" fmla="*/ 384452 h 403597"/>
                      <a:gd name="connsiteX17" fmla="*/ 131553 w 342816"/>
                      <a:gd name="connsiteY17" fmla="*/ 384452 h 403597"/>
                      <a:gd name="connsiteX18" fmla="*/ 172986 w 342816"/>
                      <a:gd name="connsiteY18" fmla="*/ 305775 h 403597"/>
                      <a:gd name="connsiteX19" fmla="*/ 180511 w 342816"/>
                      <a:gd name="connsiteY19" fmla="*/ 310252 h 403597"/>
                      <a:gd name="connsiteX20" fmla="*/ 150317 w 342816"/>
                      <a:gd name="connsiteY20" fmla="*/ 175283 h 403597"/>
                      <a:gd name="connsiteX21" fmla="*/ 119075 w 342816"/>
                      <a:gd name="connsiteY21" fmla="*/ 194333 h 403597"/>
                      <a:gd name="connsiteX22" fmla="*/ 86499 w 342816"/>
                      <a:gd name="connsiteY22" fmla="*/ 176902 h 403597"/>
                      <a:gd name="connsiteX23" fmla="*/ 75165 w 342816"/>
                      <a:gd name="connsiteY23" fmla="*/ 169187 h 403597"/>
                      <a:gd name="connsiteX24" fmla="*/ 67449 w 342816"/>
                      <a:gd name="connsiteY24" fmla="*/ 180522 h 403597"/>
                      <a:gd name="connsiteX25" fmla="*/ 110788 w 342816"/>
                      <a:gd name="connsiteY25" fmla="*/ 212716 h 403597"/>
                      <a:gd name="connsiteX26" fmla="*/ 110026 w 342816"/>
                      <a:gd name="connsiteY26" fmla="*/ 218812 h 403597"/>
                      <a:gd name="connsiteX27" fmla="*/ 112884 w 342816"/>
                      <a:gd name="connsiteY27" fmla="*/ 239100 h 403597"/>
                      <a:gd name="connsiteX28" fmla="*/ 84309 w 342816"/>
                      <a:gd name="connsiteY28" fmla="*/ 246530 h 403597"/>
                      <a:gd name="connsiteX29" fmla="*/ 80975 w 342816"/>
                      <a:gd name="connsiteY29" fmla="*/ 259579 h 403597"/>
                      <a:gd name="connsiteX30" fmla="*/ 89071 w 342816"/>
                      <a:gd name="connsiteY30" fmla="*/ 264246 h 403597"/>
                      <a:gd name="connsiteX31" fmla="*/ 93738 w 342816"/>
                      <a:gd name="connsiteY31" fmla="*/ 263103 h 403597"/>
                      <a:gd name="connsiteX32" fmla="*/ 123742 w 342816"/>
                      <a:gd name="connsiteY32" fmla="*/ 260913 h 403597"/>
                      <a:gd name="connsiteX33" fmla="*/ 125647 w 342816"/>
                      <a:gd name="connsiteY33" fmla="*/ 261579 h 403597"/>
                      <a:gd name="connsiteX34" fmla="*/ 144697 w 342816"/>
                      <a:gd name="connsiteY34" fmla="*/ 281296 h 403597"/>
                      <a:gd name="connsiteX35" fmla="*/ 151650 w 342816"/>
                      <a:gd name="connsiteY35" fmla="*/ 284154 h 403597"/>
                      <a:gd name="connsiteX36" fmla="*/ 161137 w 342816"/>
                      <a:gd name="connsiteY36" fmla="*/ 274591 h 403597"/>
                      <a:gd name="connsiteX37" fmla="*/ 158508 w 342816"/>
                      <a:gd name="connsiteY37" fmla="*/ 268056 h 403597"/>
                      <a:gd name="connsiteX38" fmla="*/ 138887 w 342816"/>
                      <a:gd name="connsiteY38" fmla="*/ 247673 h 403597"/>
                      <a:gd name="connsiteX39" fmla="*/ 129362 w 342816"/>
                      <a:gd name="connsiteY39" fmla="*/ 219574 h 403597"/>
                      <a:gd name="connsiteX40" fmla="*/ 153365 w 342816"/>
                      <a:gd name="connsiteY40" fmla="*/ 193761 h 403597"/>
                      <a:gd name="connsiteX41" fmla="*/ 174987 w 342816"/>
                      <a:gd name="connsiteY41" fmla="*/ 187380 h 403597"/>
                      <a:gd name="connsiteX42" fmla="*/ 187369 w 342816"/>
                      <a:gd name="connsiteY42" fmla="*/ 227289 h 403597"/>
                      <a:gd name="connsiteX43" fmla="*/ 192227 w 342816"/>
                      <a:gd name="connsiteY43" fmla="*/ 239862 h 403597"/>
                      <a:gd name="connsiteX44" fmla="*/ 204800 w 342816"/>
                      <a:gd name="connsiteY44" fmla="*/ 235005 h 403597"/>
                      <a:gd name="connsiteX45" fmla="*/ 203466 w 342816"/>
                      <a:gd name="connsiteY45" fmla="*/ 192999 h 403597"/>
                      <a:gd name="connsiteX46" fmla="*/ 219564 w 342816"/>
                      <a:gd name="connsiteY46" fmla="*/ 181760 h 403597"/>
                      <a:gd name="connsiteX47" fmla="*/ 249377 w 342816"/>
                      <a:gd name="connsiteY47" fmla="*/ 192999 h 403597"/>
                      <a:gd name="connsiteX48" fmla="*/ 263760 w 342816"/>
                      <a:gd name="connsiteY48" fmla="*/ 234719 h 403597"/>
                      <a:gd name="connsiteX49" fmla="*/ 306432 w 342816"/>
                      <a:gd name="connsiteY49" fmla="*/ 246339 h 403597"/>
                      <a:gd name="connsiteX50" fmla="*/ 312147 w 342816"/>
                      <a:gd name="connsiteY50" fmla="*/ 246339 h 403597"/>
                      <a:gd name="connsiteX51" fmla="*/ 323767 w 342816"/>
                      <a:gd name="connsiteY51" fmla="*/ 257293 h 403597"/>
                      <a:gd name="connsiteX52" fmla="*/ 333292 w 342816"/>
                      <a:gd name="connsiteY52" fmla="*/ 264437 h 403597"/>
                      <a:gd name="connsiteX53" fmla="*/ 335673 w 342816"/>
                      <a:gd name="connsiteY53" fmla="*/ 264437 h 403597"/>
                      <a:gd name="connsiteX54" fmla="*/ 342531 w 342816"/>
                      <a:gd name="connsiteY54" fmla="*/ 252912 h 403597"/>
                      <a:gd name="connsiteX55" fmla="*/ 312432 w 342816"/>
                      <a:gd name="connsiteY55" fmla="*/ 227575 h 403597"/>
                      <a:gd name="connsiteX56" fmla="*/ 305955 w 342816"/>
                      <a:gd name="connsiteY56" fmla="*/ 227575 h 403597"/>
                      <a:gd name="connsiteX57" fmla="*/ 291382 w 342816"/>
                      <a:gd name="connsiteY57" fmla="*/ 227575 h 403597"/>
                      <a:gd name="connsiteX58" fmla="*/ 320624 w 342816"/>
                      <a:gd name="connsiteY58" fmla="*/ 214716 h 403597"/>
                      <a:gd name="connsiteX59" fmla="*/ 331244 w 342816"/>
                      <a:gd name="connsiteY59" fmla="*/ 206287 h 403597"/>
                      <a:gd name="connsiteX60" fmla="*/ 322815 w 342816"/>
                      <a:gd name="connsiteY60" fmla="*/ 195666 h 403597"/>
                      <a:gd name="connsiteX61" fmla="*/ 274713 w 342816"/>
                      <a:gd name="connsiteY61" fmla="*/ 218145 h 403597"/>
                      <a:gd name="connsiteX62" fmla="*/ 268713 w 342816"/>
                      <a:gd name="connsiteY62" fmla="*/ 191190 h 403597"/>
                      <a:gd name="connsiteX63" fmla="*/ 302050 w 342816"/>
                      <a:gd name="connsiteY63" fmla="*/ 165948 h 403597"/>
                      <a:gd name="connsiteX64" fmla="*/ 299478 w 342816"/>
                      <a:gd name="connsiteY64" fmla="*/ 152804 h 403597"/>
                      <a:gd name="connsiteX65" fmla="*/ 286248 w 342816"/>
                      <a:gd name="connsiteY65" fmla="*/ 155357 h 403597"/>
                      <a:gd name="connsiteX66" fmla="*/ 286239 w 342816"/>
                      <a:gd name="connsiteY66" fmla="*/ 155376 h 403597"/>
                      <a:gd name="connsiteX67" fmla="*/ 257664 w 342816"/>
                      <a:gd name="connsiteY67" fmla="*/ 174426 h 403597"/>
                      <a:gd name="connsiteX68" fmla="*/ 228327 w 342816"/>
                      <a:gd name="connsiteY68" fmla="*/ 164901 h 403597"/>
                      <a:gd name="connsiteX69" fmla="*/ 230041 w 342816"/>
                      <a:gd name="connsiteY69" fmla="*/ 143088 h 403597"/>
                      <a:gd name="connsiteX70" fmla="*/ 219373 w 342816"/>
                      <a:gd name="connsiteY70" fmla="*/ 134706 h 403597"/>
                      <a:gd name="connsiteX71" fmla="*/ 210991 w 342816"/>
                      <a:gd name="connsiteY71" fmla="*/ 145374 h 403597"/>
                      <a:gd name="connsiteX72" fmla="*/ 191941 w 342816"/>
                      <a:gd name="connsiteY72" fmla="*/ 177378 h 403597"/>
                      <a:gd name="connsiteX73" fmla="*/ 187464 w 342816"/>
                      <a:gd name="connsiteY73" fmla="*/ 173473 h 403597"/>
                      <a:gd name="connsiteX74" fmla="*/ 162509 w 342816"/>
                      <a:gd name="connsiteY74" fmla="*/ 122800 h 403597"/>
                      <a:gd name="connsiteX75" fmla="*/ 149602 w 342816"/>
                      <a:gd name="connsiteY75" fmla="*/ 126848 h 403597"/>
                      <a:gd name="connsiteX76" fmla="*/ 153651 w 342816"/>
                      <a:gd name="connsiteY76" fmla="*/ 139755 h 403597"/>
                      <a:gd name="connsiteX77" fmla="*/ 168605 w 342816"/>
                      <a:gd name="connsiteY77" fmla="*/ 170330 h 403597"/>
                      <a:gd name="connsiteX78" fmla="*/ 150317 w 342816"/>
                      <a:gd name="connsiteY78" fmla="*/ 175283 h 403597"/>
                      <a:gd name="connsiteX79" fmla="*/ 80213 w 342816"/>
                      <a:gd name="connsiteY79" fmla="*/ 129277 h 403597"/>
                      <a:gd name="connsiteX80" fmla="*/ 85642 w 342816"/>
                      <a:gd name="connsiteY80" fmla="*/ 141564 h 403597"/>
                      <a:gd name="connsiteX81" fmla="*/ 89071 w 342816"/>
                      <a:gd name="connsiteY81" fmla="*/ 142136 h 403597"/>
                      <a:gd name="connsiteX82" fmla="*/ 98025 w 342816"/>
                      <a:gd name="connsiteY82" fmla="*/ 136040 h 403597"/>
                      <a:gd name="connsiteX83" fmla="*/ 126600 w 342816"/>
                      <a:gd name="connsiteY83" fmla="*/ 61364 h 403597"/>
                      <a:gd name="connsiteX84" fmla="*/ 80499 w 342816"/>
                      <a:gd name="connsiteY84" fmla="*/ 61364 h 403597"/>
                      <a:gd name="connsiteX85" fmla="*/ 104025 w 342816"/>
                      <a:gd name="connsiteY85" fmla="*/ 13739 h 403597"/>
                      <a:gd name="connsiteX86" fmla="*/ 99672 w 342816"/>
                      <a:gd name="connsiteY86" fmla="*/ 994 h 403597"/>
                      <a:gd name="connsiteX87" fmla="*/ 99644 w 342816"/>
                      <a:gd name="connsiteY87" fmla="*/ 975 h 403597"/>
                      <a:gd name="connsiteX88" fmla="*/ 86899 w 342816"/>
                      <a:gd name="connsiteY88" fmla="*/ 5328 h 403597"/>
                      <a:gd name="connsiteX89" fmla="*/ 86880 w 342816"/>
                      <a:gd name="connsiteY89" fmla="*/ 5357 h 403597"/>
                      <a:gd name="connsiteX90" fmla="*/ 50019 w 342816"/>
                      <a:gd name="connsiteY90" fmla="*/ 80890 h 403597"/>
                      <a:gd name="connsiteX91" fmla="*/ 98882 w 342816"/>
                      <a:gd name="connsiteY91" fmla="*/ 80890 h 403597"/>
                      <a:gd name="connsiteX92" fmla="*/ 80213 w 342816"/>
                      <a:gd name="connsiteY92" fmla="*/ 129277 h 403597"/>
                      <a:gd name="connsiteX0" fmla="*/ 180511 w 342816"/>
                      <a:gd name="connsiteY0" fmla="*/ 310252 h 403597"/>
                      <a:gd name="connsiteX1" fmla="*/ 182321 w 342816"/>
                      <a:gd name="connsiteY1" fmla="*/ 330064 h 403597"/>
                      <a:gd name="connsiteX2" fmla="*/ 143364 w 342816"/>
                      <a:gd name="connsiteY2" fmla="*/ 403597 h 403597"/>
                      <a:gd name="connsiteX3" fmla="*/ 96596 w 342816"/>
                      <a:gd name="connsiteY3" fmla="*/ 403597 h 403597"/>
                      <a:gd name="connsiteX4" fmla="*/ 98596 w 342816"/>
                      <a:gd name="connsiteY4" fmla="*/ 392358 h 403597"/>
                      <a:gd name="connsiteX5" fmla="*/ 108121 w 342816"/>
                      <a:gd name="connsiteY5" fmla="*/ 326826 h 403597"/>
                      <a:gd name="connsiteX6" fmla="*/ 91833 w 342816"/>
                      <a:gd name="connsiteY6" fmla="*/ 326826 h 403597"/>
                      <a:gd name="connsiteX7" fmla="*/ 15633 w 342816"/>
                      <a:gd name="connsiteY7" fmla="*/ 281010 h 403597"/>
                      <a:gd name="connsiteX8" fmla="*/ 20205 w 342816"/>
                      <a:gd name="connsiteY8" fmla="*/ 145660 h 403597"/>
                      <a:gd name="connsiteX9" fmla="*/ 33255 w 342816"/>
                      <a:gd name="connsiteY9" fmla="*/ 142326 h 403597"/>
                      <a:gd name="connsiteX10" fmla="*/ 36588 w 342816"/>
                      <a:gd name="connsiteY10" fmla="*/ 155376 h 403597"/>
                      <a:gd name="connsiteX11" fmla="*/ 32207 w 342816"/>
                      <a:gd name="connsiteY11" fmla="*/ 271581 h 403597"/>
                      <a:gd name="connsiteX12" fmla="*/ 91833 w 342816"/>
                      <a:gd name="connsiteY12" fmla="*/ 307776 h 403597"/>
                      <a:gd name="connsiteX13" fmla="*/ 129933 w 342816"/>
                      <a:gd name="connsiteY13" fmla="*/ 307776 h 403597"/>
                      <a:gd name="connsiteX14" fmla="*/ 128409 w 342816"/>
                      <a:gd name="connsiteY14" fmla="*/ 318634 h 403597"/>
                      <a:gd name="connsiteX15" fmla="*/ 118884 w 342816"/>
                      <a:gd name="connsiteY15" fmla="*/ 384452 h 403597"/>
                      <a:gd name="connsiteX16" fmla="*/ 131553 w 342816"/>
                      <a:gd name="connsiteY16" fmla="*/ 384452 h 403597"/>
                      <a:gd name="connsiteX17" fmla="*/ 172986 w 342816"/>
                      <a:gd name="connsiteY17" fmla="*/ 305775 h 403597"/>
                      <a:gd name="connsiteX18" fmla="*/ 180511 w 342816"/>
                      <a:gd name="connsiteY18" fmla="*/ 310252 h 403597"/>
                      <a:gd name="connsiteX19" fmla="*/ 150317 w 342816"/>
                      <a:gd name="connsiteY19" fmla="*/ 175283 h 403597"/>
                      <a:gd name="connsiteX20" fmla="*/ 119075 w 342816"/>
                      <a:gd name="connsiteY20" fmla="*/ 194333 h 403597"/>
                      <a:gd name="connsiteX21" fmla="*/ 86499 w 342816"/>
                      <a:gd name="connsiteY21" fmla="*/ 176902 h 403597"/>
                      <a:gd name="connsiteX22" fmla="*/ 75165 w 342816"/>
                      <a:gd name="connsiteY22" fmla="*/ 169187 h 403597"/>
                      <a:gd name="connsiteX23" fmla="*/ 67449 w 342816"/>
                      <a:gd name="connsiteY23" fmla="*/ 180522 h 403597"/>
                      <a:gd name="connsiteX24" fmla="*/ 110788 w 342816"/>
                      <a:gd name="connsiteY24" fmla="*/ 212716 h 403597"/>
                      <a:gd name="connsiteX25" fmla="*/ 110026 w 342816"/>
                      <a:gd name="connsiteY25" fmla="*/ 218812 h 403597"/>
                      <a:gd name="connsiteX26" fmla="*/ 112884 w 342816"/>
                      <a:gd name="connsiteY26" fmla="*/ 239100 h 403597"/>
                      <a:gd name="connsiteX27" fmla="*/ 84309 w 342816"/>
                      <a:gd name="connsiteY27" fmla="*/ 246530 h 403597"/>
                      <a:gd name="connsiteX28" fmla="*/ 80975 w 342816"/>
                      <a:gd name="connsiteY28" fmla="*/ 259579 h 403597"/>
                      <a:gd name="connsiteX29" fmla="*/ 89071 w 342816"/>
                      <a:gd name="connsiteY29" fmla="*/ 264246 h 403597"/>
                      <a:gd name="connsiteX30" fmla="*/ 93738 w 342816"/>
                      <a:gd name="connsiteY30" fmla="*/ 263103 h 403597"/>
                      <a:gd name="connsiteX31" fmla="*/ 123742 w 342816"/>
                      <a:gd name="connsiteY31" fmla="*/ 260913 h 403597"/>
                      <a:gd name="connsiteX32" fmla="*/ 125647 w 342816"/>
                      <a:gd name="connsiteY32" fmla="*/ 261579 h 403597"/>
                      <a:gd name="connsiteX33" fmla="*/ 144697 w 342816"/>
                      <a:gd name="connsiteY33" fmla="*/ 281296 h 403597"/>
                      <a:gd name="connsiteX34" fmla="*/ 151650 w 342816"/>
                      <a:gd name="connsiteY34" fmla="*/ 284154 h 403597"/>
                      <a:gd name="connsiteX35" fmla="*/ 161137 w 342816"/>
                      <a:gd name="connsiteY35" fmla="*/ 274591 h 403597"/>
                      <a:gd name="connsiteX36" fmla="*/ 158508 w 342816"/>
                      <a:gd name="connsiteY36" fmla="*/ 268056 h 403597"/>
                      <a:gd name="connsiteX37" fmla="*/ 138887 w 342816"/>
                      <a:gd name="connsiteY37" fmla="*/ 247673 h 403597"/>
                      <a:gd name="connsiteX38" fmla="*/ 129362 w 342816"/>
                      <a:gd name="connsiteY38" fmla="*/ 219574 h 403597"/>
                      <a:gd name="connsiteX39" fmla="*/ 153365 w 342816"/>
                      <a:gd name="connsiteY39" fmla="*/ 193761 h 403597"/>
                      <a:gd name="connsiteX40" fmla="*/ 174987 w 342816"/>
                      <a:gd name="connsiteY40" fmla="*/ 187380 h 403597"/>
                      <a:gd name="connsiteX41" fmla="*/ 187369 w 342816"/>
                      <a:gd name="connsiteY41" fmla="*/ 227289 h 403597"/>
                      <a:gd name="connsiteX42" fmla="*/ 192227 w 342816"/>
                      <a:gd name="connsiteY42" fmla="*/ 239862 h 403597"/>
                      <a:gd name="connsiteX43" fmla="*/ 204800 w 342816"/>
                      <a:gd name="connsiteY43" fmla="*/ 235005 h 403597"/>
                      <a:gd name="connsiteX44" fmla="*/ 203466 w 342816"/>
                      <a:gd name="connsiteY44" fmla="*/ 192999 h 403597"/>
                      <a:gd name="connsiteX45" fmla="*/ 219564 w 342816"/>
                      <a:gd name="connsiteY45" fmla="*/ 181760 h 403597"/>
                      <a:gd name="connsiteX46" fmla="*/ 249377 w 342816"/>
                      <a:gd name="connsiteY46" fmla="*/ 192999 h 403597"/>
                      <a:gd name="connsiteX47" fmla="*/ 263760 w 342816"/>
                      <a:gd name="connsiteY47" fmla="*/ 234719 h 403597"/>
                      <a:gd name="connsiteX48" fmla="*/ 306432 w 342816"/>
                      <a:gd name="connsiteY48" fmla="*/ 246339 h 403597"/>
                      <a:gd name="connsiteX49" fmla="*/ 312147 w 342816"/>
                      <a:gd name="connsiteY49" fmla="*/ 246339 h 403597"/>
                      <a:gd name="connsiteX50" fmla="*/ 323767 w 342816"/>
                      <a:gd name="connsiteY50" fmla="*/ 257293 h 403597"/>
                      <a:gd name="connsiteX51" fmla="*/ 333292 w 342816"/>
                      <a:gd name="connsiteY51" fmla="*/ 264437 h 403597"/>
                      <a:gd name="connsiteX52" fmla="*/ 335673 w 342816"/>
                      <a:gd name="connsiteY52" fmla="*/ 264437 h 403597"/>
                      <a:gd name="connsiteX53" fmla="*/ 342531 w 342816"/>
                      <a:gd name="connsiteY53" fmla="*/ 252912 h 403597"/>
                      <a:gd name="connsiteX54" fmla="*/ 312432 w 342816"/>
                      <a:gd name="connsiteY54" fmla="*/ 227575 h 403597"/>
                      <a:gd name="connsiteX55" fmla="*/ 305955 w 342816"/>
                      <a:gd name="connsiteY55" fmla="*/ 227575 h 403597"/>
                      <a:gd name="connsiteX56" fmla="*/ 291382 w 342816"/>
                      <a:gd name="connsiteY56" fmla="*/ 227575 h 403597"/>
                      <a:gd name="connsiteX57" fmla="*/ 320624 w 342816"/>
                      <a:gd name="connsiteY57" fmla="*/ 214716 h 403597"/>
                      <a:gd name="connsiteX58" fmla="*/ 331244 w 342816"/>
                      <a:gd name="connsiteY58" fmla="*/ 206287 h 403597"/>
                      <a:gd name="connsiteX59" fmla="*/ 322815 w 342816"/>
                      <a:gd name="connsiteY59" fmla="*/ 195666 h 403597"/>
                      <a:gd name="connsiteX60" fmla="*/ 274713 w 342816"/>
                      <a:gd name="connsiteY60" fmla="*/ 218145 h 403597"/>
                      <a:gd name="connsiteX61" fmla="*/ 268713 w 342816"/>
                      <a:gd name="connsiteY61" fmla="*/ 191190 h 403597"/>
                      <a:gd name="connsiteX62" fmla="*/ 302050 w 342816"/>
                      <a:gd name="connsiteY62" fmla="*/ 165948 h 403597"/>
                      <a:gd name="connsiteX63" fmla="*/ 299478 w 342816"/>
                      <a:gd name="connsiteY63" fmla="*/ 152804 h 403597"/>
                      <a:gd name="connsiteX64" fmla="*/ 286248 w 342816"/>
                      <a:gd name="connsiteY64" fmla="*/ 155357 h 403597"/>
                      <a:gd name="connsiteX65" fmla="*/ 286239 w 342816"/>
                      <a:gd name="connsiteY65" fmla="*/ 155376 h 403597"/>
                      <a:gd name="connsiteX66" fmla="*/ 257664 w 342816"/>
                      <a:gd name="connsiteY66" fmla="*/ 174426 h 403597"/>
                      <a:gd name="connsiteX67" fmla="*/ 228327 w 342816"/>
                      <a:gd name="connsiteY67" fmla="*/ 164901 h 403597"/>
                      <a:gd name="connsiteX68" fmla="*/ 230041 w 342816"/>
                      <a:gd name="connsiteY68" fmla="*/ 143088 h 403597"/>
                      <a:gd name="connsiteX69" fmla="*/ 219373 w 342816"/>
                      <a:gd name="connsiteY69" fmla="*/ 134706 h 403597"/>
                      <a:gd name="connsiteX70" fmla="*/ 210991 w 342816"/>
                      <a:gd name="connsiteY70" fmla="*/ 145374 h 403597"/>
                      <a:gd name="connsiteX71" fmla="*/ 191941 w 342816"/>
                      <a:gd name="connsiteY71" fmla="*/ 177378 h 403597"/>
                      <a:gd name="connsiteX72" fmla="*/ 187464 w 342816"/>
                      <a:gd name="connsiteY72" fmla="*/ 173473 h 403597"/>
                      <a:gd name="connsiteX73" fmla="*/ 162509 w 342816"/>
                      <a:gd name="connsiteY73" fmla="*/ 122800 h 403597"/>
                      <a:gd name="connsiteX74" fmla="*/ 149602 w 342816"/>
                      <a:gd name="connsiteY74" fmla="*/ 126848 h 403597"/>
                      <a:gd name="connsiteX75" fmla="*/ 153651 w 342816"/>
                      <a:gd name="connsiteY75" fmla="*/ 139755 h 403597"/>
                      <a:gd name="connsiteX76" fmla="*/ 168605 w 342816"/>
                      <a:gd name="connsiteY76" fmla="*/ 170330 h 403597"/>
                      <a:gd name="connsiteX77" fmla="*/ 150317 w 342816"/>
                      <a:gd name="connsiteY77" fmla="*/ 175283 h 403597"/>
                      <a:gd name="connsiteX78" fmla="*/ 80213 w 342816"/>
                      <a:gd name="connsiteY78" fmla="*/ 129277 h 403597"/>
                      <a:gd name="connsiteX79" fmla="*/ 85642 w 342816"/>
                      <a:gd name="connsiteY79" fmla="*/ 141564 h 403597"/>
                      <a:gd name="connsiteX80" fmla="*/ 89071 w 342816"/>
                      <a:gd name="connsiteY80" fmla="*/ 142136 h 403597"/>
                      <a:gd name="connsiteX81" fmla="*/ 98025 w 342816"/>
                      <a:gd name="connsiteY81" fmla="*/ 136040 h 403597"/>
                      <a:gd name="connsiteX82" fmla="*/ 126600 w 342816"/>
                      <a:gd name="connsiteY82" fmla="*/ 61364 h 403597"/>
                      <a:gd name="connsiteX83" fmla="*/ 80499 w 342816"/>
                      <a:gd name="connsiteY83" fmla="*/ 61364 h 403597"/>
                      <a:gd name="connsiteX84" fmla="*/ 104025 w 342816"/>
                      <a:gd name="connsiteY84" fmla="*/ 13739 h 403597"/>
                      <a:gd name="connsiteX85" fmla="*/ 99672 w 342816"/>
                      <a:gd name="connsiteY85" fmla="*/ 994 h 403597"/>
                      <a:gd name="connsiteX86" fmla="*/ 99644 w 342816"/>
                      <a:gd name="connsiteY86" fmla="*/ 975 h 403597"/>
                      <a:gd name="connsiteX87" fmla="*/ 86899 w 342816"/>
                      <a:gd name="connsiteY87" fmla="*/ 5328 h 403597"/>
                      <a:gd name="connsiteX88" fmla="*/ 86880 w 342816"/>
                      <a:gd name="connsiteY88" fmla="*/ 5357 h 403597"/>
                      <a:gd name="connsiteX89" fmla="*/ 50019 w 342816"/>
                      <a:gd name="connsiteY89" fmla="*/ 80890 h 403597"/>
                      <a:gd name="connsiteX90" fmla="*/ 98882 w 342816"/>
                      <a:gd name="connsiteY90" fmla="*/ 80890 h 403597"/>
                      <a:gd name="connsiteX91" fmla="*/ 80213 w 342816"/>
                      <a:gd name="connsiteY91" fmla="*/ 129277 h 403597"/>
                      <a:gd name="connsiteX0" fmla="*/ 172986 w 342816"/>
                      <a:gd name="connsiteY0" fmla="*/ 305775 h 403597"/>
                      <a:gd name="connsiteX1" fmla="*/ 182321 w 342816"/>
                      <a:gd name="connsiteY1" fmla="*/ 330064 h 403597"/>
                      <a:gd name="connsiteX2" fmla="*/ 143364 w 342816"/>
                      <a:gd name="connsiteY2" fmla="*/ 403597 h 403597"/>
                      <a:gd name="connsiteX3" fmla="*/ 96596 w 342816"/>
                      <a:gd name="connsiteY3" fmla="*/ 403597 h 403597"/>
                      <a:gd name="connsiteX4" fmla="*/ 98596 w 342816"/>
                      <a:gd name="connsiteY4" fmla="*/ 392358 h 403597"/>
                      <a:gd name="connsiteX5" fmla="*/ 108121 w 342816"/>
                      <a:gd name="connsiteY5" fmla="*/ 326826 h 403597"/>
                      <a:gd name="connsiteX6" fmla="*/ 91833 w 342816"/>
                      <a:gd name="connsiteY6" fmla="*/ 326826 h 403597"/>
                      <a:gd name="connsiteX7" fmla="*/ 15633 w 342816"/>
                      <a:gd name="connsiteY7" fmla="*/ 281010 h 403597"/>
                      <a:gd name="connsiteX8" fmla="*/ 20205 w 342816"/>
                      <a:gd name="connsiteY8" fmla="*/ 145660 h 403597"/>
                      <a:gd name="connsiteX9" fmla="*/ 33255 w 342816"/>
                      <a:gd name="connsiteY9" fmla="*/ 142326 h 403597"/>
                      <a:gd name="connsiteX10" fmla="*/ 36588 w 342816"/>
                      <a:gd name="connsiteY10" fmla="*/ 155376 h 403597"/>
                      <a:gd name="connsiteX11" fmla="*/ 32207 w 342816"/>
                      <a:gd name="connsiteY11" fmla="*/ 271581 h 403597"/>
                      <a:gd name="connsiteX12" fmla="*/ 91833 w 342816"/>
                      <a:gd name="connsiteY12" fmla="*/ 307776 h 403597"/>
                      <a:gd name="connsiteX13" fmla="*/ 129933 w 342816"/>
                      <a:gd name="connsiteY13" fmla="*/ 307776 h 403597"/>
                      <a:gd name="connsiteX14" fmla="*/ 128409 w 342816"/>
                      <a:gd name="connsiteY14" fmla="*/ 318634 h 403597"/>
                      <a:gd name="connsiteX15" fmla="*/ 118884 w 342816"/>
                      <a:gd name="connsiteY15" fmla="*/ 384452 h 403597"/>
                      <a:gd name="connsiteX16" fmla="*/ 131553 w 342816"/>
                      <a:gd name="connsiteY16" fmla="*/ 384452 h 403597"/>
                      <a:gd name="connsiteX17" fmla="*/ 172986 w 342816"/>
                      <a:gd name="connsiteY17" fmla="*/ 305775 h 403597"/>
                      <a:gd name="connsiteX18" fmla="*/ 150317 w 342816"/>
                      <a:gd name="connsiteY18" fmla="*/ 175283 h 403597"/>
                      <a:gd name="connsiteX19" fmla="*/ 119075 w 342816"/>
                      <a:gd name="connsiteY19" fmla="*/ 194333 h 403597"/>
                      <a:gd name="connsiteX20" fmla="*/ 86499 w 342816"/>
                      <a:gd name="connsiteY20" fmla="*/ 176902 h 403597"/>
                      <a:gd name="connsiteX21" fmla="*/ 75165 w 342816"/>
                      <a:gd name="connsiteY21" fmla="*/ 169187 h 403597"/>
                      <a:gd name="connsiteX22" fmla="*/ 67449 w 342816"/>
                      <a:gd name="connsiteY22" fmla="*/ 180522 h 403597"/>
                      <a:gd name="connsiteX23" fmla="*/ 110788 w 342816"/>
                      <a:gd name="connsiteY23" fmla="*/ 212716 h 403597"/>
                      <a:gd name="connsiteX24" fmla="*/ 110026 w 342816"/>
                      <a:gd name="connsiteY24" fmla="*/ 218812 h 403597"/>
                      <a:gd name="connsiteX25" fmla="*/ 112884 w 342816"/>
                      <a:gd name="connsiteY25" fmla="*/ 239100 h 403597"/>
                      <a:gd name="connsiteX26" fmla="*/ 84309 w 342816"/>
                      <a:gd name="connsiteY26" fmla="*/ 246530 h 403597"/>
                      <a:gd name="connsiteX27" fmla="*/ 80975 w 342816"/>
                      <a:gd name="connsiteY27" fmla="*/ 259579 h 403597"/>
                      <a:gd name="connsiteX28" fmla="*/ 89071 w 342816"/>
                      <a:gd name="connsiteY28" fmla="*/ 264246 h 403597"/>
                      <a:gd name="connsiteX29" fmla="*/ 93738 w 342816"/>
                      <a:gd name="connsiteY29" fmla="*/ 263103 h 403597"/>
                      <a:gd name="connsiteX30" fmla="*/ 123742 w 342816"/>
                      <a:gd name="connsiteY30" fmla="*/ 260913 h 403597"/>
                      <a:gd name="connsiteX31" fmla="*/ 125647 w 342816"/>
                      <a:gd name="connsiteY31" fmla="*/ 261579 h 403597"/>
                      <a:gd name="connsiteX32" fmla="*/ 144697 w 342816"/>
                      <a:gd name="connsiteY32" fmla="*/ 281296 h 403597"/>
                      <a:gd name="connsiteX33" fmla="*/ 151650 w 342816"/>
                      <a:gd name="connsiteY33" fmla="*/ 284154 h 403597"/>
                      <a:gd name="connsiteX34" fmla="*/ 161137 w 342816"/>
                      <a:gd name="connsiteY34" fmla="*/ 274591 h 403597"/>
                      <a:gd name="connsiteX35" fmla="*/ 158508 w 342816"/>
                      <a:gd name="connsiteY35" fmla="*/ 268056 h 403597"/>
                      <a:gd name="connsiteX36" fmla="*/ 138887 w 342816"/>
                      <a:gd name="connsiteY36" fmla="*/ 247673 h 403597"/>
                      <a:gd name="connsiteX37" fmla="*/ 129362 w 342816"/>
                      <a:gd name="connsiteY37" fmla="*/ 219574 h 403597"/>
                      <a:gd name="connsiteX38" fmla="*/ 153365 w 342816"/>
                      <a:gd name="connsiteY38" fmla="*/ 193761 h 403597"/>
                      <a:gd name="connsiteX39" fmla="*/ 174987 w 342816"/>
                      <a:gd name="connsiteY39" fmla="*/ 187380 h 403597"/>
                      <a:gd name="connsiteX40" fmla="*/ 187369 w 342816"/>
                      <a:gd name="connsiteY40" fmla="*/ 227289 h 403597"/>
                      <a:gd name="connsiteX41" fmla="*/ 192227 w 342816"/>
                      <a:gd name="connsiteY41" fmla="*/ 239862 h 403597"/>
                      <a:gd name="connsiteX42" fmla="*/ 204800 w 342816"/>
                      <a:gd name="connsiteY42" fmla="*/ 235005 h 403597"/>
                      <a:gd name="connsiteX43" fmla="*/ 203466 w 342816"/>
                      <a:gd name="connsiteY43" fmla="*/ 192999 h 403597"/>
                      <a:gd name="connsiteX44" fmla="*/ 219564 w 342816"/>
                      <a:gd name="connsiteY44" fmla="*/ 181760 h 403597"/>
                      <a:gd name="connsiteX45" fmla="*/ 249377 w 342816"/>
                      <a:gd name="connsiteY45" fmla="*/ 192999 h 403597"/>
                      <a:gd name="connsiteX46" fmla="*/ 263760 w 342816"/>
                      <a:gd name="connsiteY46" fmla="*/ 234719 h 403597"/>
                      <a:gd name="connsiteX47" fmla="*/ 306432 w 342816"/>
                      <a:gd name="connsiteY47" fmla="*/ 246339 h 403597"/>
                      <a:gd name="connsiteX48" fmla="*/ 312147 w 342816"/>
                      <a:gd name="connsiteY48" fmla="*/ 246339 h 403597"/>
                      <a:gd name="connsiteX49" fmla="*/ 323767 w 342816"/>
                      <a:gd name="connsiteY49" fmla="*/ 257293 h 403597"/>
                      <a:gd name="connsiteX50" fmla="*/ 333292 w 342816"/>
                      <a:gd name="connsiteY50" fmla="*/ 264437 h 403597"/>
                      <a:gd name="connsiteX51" fmla="*/ 335673 w 342816"/>
                      <a:gd name="connsiteY51" fmla="*/ 264437 h 403597"/>
                      <a:gd name="connsiteX52" fmla="*/ 342531 w 342816"/>
                      <a:gd name="connsiteY52" fmla="*/ 252912 h 403597"/>
                      <a:gd name="connsiteX53" fmla="*/ 312432 w 342816"/>
                      <a:gd name="connsiteY53" fmla="*/ 227575 h 403597"/>
                      <a:gd name="connsiteX54" fmla="*/ 305955 w 342816"/>
                      <a:gd name="connsiteY54" fmla="*/ 227575 h 403597"/>
                      <a:gd name="connsiteX55" fmla="*/ 291382 w 342816"/>
                      <a:gd name="connsiteY55" fmla="*/ 227575 h 403597"/>
                      <a:gd name="connsiteX56" fmla="*/ 320624 w 342816"/>
                      <a:gd name="connsiteY56" fmla="*/ 214716 h 403597"/>
                      <a:gd name="connsiteX57" fmla="*/ 331244 w 342816"/>
                      <a:gd name="connsiteY57" fmla="*/ 206287 h 403597"/>
                      <a:gd name="connsiteX58" fmla="*/ 322815 w 342816"/>
                      <a:gd name="connsiteY58" fmla="*/ 195666 h 403597"/>
                      <a:gd name="connsiteX59" fmla="*/ 274713 w 342816"/>
                      <a:gd name="connsiteY59" fmla="*/ 218145 h 403597"/>
                      <a:gd name="connsiteX60" fmla="*/ 268713 w 342816"/>
                      <a:gd name="connsiteY60" fmla="*/ 191190 h 403597"/>
                      <a:gd name="connsiteX61" fmla="*/ 302050 w 342816"/>
                      <a:gd name="connsiteY61" fmla="*/ 165948 h 403597"/>
                      <a:gd name="connsiteX62" fmla="*/ 299478 w 342816"/>
                      <a:gd name="connsiteY62" fmla="*/ 152804 h 403597"/>
                      <a:gd name="connsiteX63" fmla="*/ 286248 w 342816"/>
                      <a:gd name="connsiteY63" fmla="*/ 155357 h 403597"/>
                      <a:gd name="connsiteX64" fmla="*/ 286239 w 342816"/>
                      <a:gd name="connsiteY64" fmla="*/ 155376 h 403597"/>
                      <a:gd name="connsiteX65" fmla="*/ 257664 w 342816"/>
                      <a:gd name="connsiteY65" fmla="*/ 174426 h 403597"/>
                      <a:gd name="connsiteX66" fmla="*/ 228327 w 342816"/>
                      <a:gd name="connsiteY66" fmla="*/ 164901 h 403597"/>
                      <a:gd name="connsiteX67" fmla="*/ 230041 w 342816"/>
                      <a:gd name="connsiteY67" fmla="*/ 143088 h 403597"/>
                      <a:gd name="connsiteX68" fmla="*/ 219373 w 342816"/>
                      <a:gd name="connsiteY68" fmla="*/ 134706 h 403597"/>
                      <a:gd name="connsiteX69" fmla="*/ 210991 w 342816"/>
                      <a:gd name="connsiteY69" fmla="*/ 145374 h 403597"/>
                      <a:gd name="connsiteX70" fmla="*/ 191941 w 342816"/>
                      <a:gd name="connsiteY70" fmla="*/ 177378 h 403597"/>
                      <a:gd name="connsiteX71" fmla="*/ 187464 w 342816"/>
                      <a:gd name="connsiteY71" fmla="*/ 173473 h 403597"/>
                      <a:gd name="connsiteX72" fmla="*/ 162509 w 342816"/>
                      <a:gd name="connsiteY72" fmla="*/ 122800 h 403597"/>
                      <a:gd name="connsiteX73" fmla="*/ 149602 w 342816"/>
                      <a:gd name="connsiteY73" fmla="*/ 126848 h 403597"/>
                      <a:gd name="connsiteX74" fmla="*/ 153651 w 342816"/>
                      <a:gd name="connsiteY74" fmla="*/ 139755 h 403597"/>
                      <a:gd name="connsiteX75" fmla="*/ 168605 w 342816"/>
                      <a:gd name="connsiteY75" fmla="*/ 170330 h 403597"/>
                      <a:gd name="connsiteX76" fmla="*/ 150317 w 342816"/>
                      <a:gd name="connsiteY76" fmla="*/ 175283 h 403597"/>
                      <a:gd name="connsiteX77" fmla="*/ 80213 w 342816"/>
                      <a:gd name="connsiteY77" fmla="*/ 129277 h 403597"/>
                      <a:gd name="connsiteX78" fmla="*/ 85642 w 342816"/>
                      <a:gd name="connsiteY78" fmla="*/ 141564 h 403597"/>
                      <a:gd name="connsiteX79" fmla="*/ 89071 w 342816"/>
                      <a:gd name="connsiteY79" fmla="*/ 142136 h 403597"/>
                      <a:gd name="connsiteX80" fmla="*/ 98025 w 342816"/>
                      <a:gd name="connsiteY80" fmla="*/ 136040 h 403597"/>
                      <a:gd name="connsiteX81" fmla="*/ 126600 w 342816"/>
                      <a:gd name="connsiteY81" fmla="*/ 61364 h 403597"/>
                      <a:gd name="connsiteX82" fmla="*/ 80499 w 342816"/>
                      <a:gd name="connsiteY82" fmla="*/ 61364 h 403597"/>
                      <a:gd name="connsiteX83" fmla="*/ 104025 w 342816"/>
                      <a:gd name="connsiteY83" fmla="*/ 13739 h 403597"/>
                      <a:gd name="connsiteX84" fmla="*/ 99672 w 342816"/>
                      <a:gd name="connsiteY84" fmla="*/ 994 h 403597"/>
                      <a:gd name="connsiteX85" fmla="*/ 99644 w 342816"/>
                      <a:gd name="connsiteY85" fmla="*/ 975 h 403597"/>
                      <a:gd name="connsiteX86" fmla="*/ 86899 w 342816"/>
                      <a:gd name="connsiteY86" fmla="*/ 5328 h 403597"/>
                      <a:gd name="connsiteX87" fmla="*/ 86880 w 342816"/>
                      <a:gd name="connsiteY87" fmla="*/ 5357 h 403597"/>
                      <a:gd name="connsiteX88" fmla="*/ 50019 w 342816"/>
                      <a:gd name="connsiteY88" fmla="*/ 80890 h 403597"/>
                      <a:gd name="connsiteX89" fmla="*/ 98882 w 342816"/>
                      <a:gd name="connsiteY89" fmla="*/ 80890 h 403597"/>
                      <a:gd name="connsiteX90" fmla="*/ 80213 w 342816"/>
                      <a:gd name="connsiteY90" fmla="*/ 129277 h 403597"/>
                      <a:gd name="connsiteX0" fmla="*/ 131553 w 342816"/>
                      <a:gd name="connsiteY0" fmla="*/ 384452 h 403597"/>
                      <a:gd name="connsiteX1" fmla="*/ 182321 w 342816"/>
                      <a:gd name="connsiteY1" fmla="*/ 330064 h 403597"/>
                      <a:gd name="connsiteX2" fmla="*/ 143364 w 342816"/>
                      <a:gd name="connsiteY2" fmla="*/ 403597 h 403597"/>
                      <a:gd name="connsiteX3" fmla="*/ 96596 w 342816"/>
                      <a:gd name="connsiteY3" fmla="*/ 403597 h 403597"/>
                      <a:gd name="connsiteX4" fmla="*/ 98596 w 342816"/>
                      <a:gd name="connsiteY4" fmla="*/ 392358 h 403597"/>
                      <a:gd name="connsiteX5" fmla="*/ 108121 w 342816"/>
                      <a:gd name="connsiteY5" fmla="*/ 326826 h 403597"/>
                      <a:gd name="connsiteX6" fmla="*/ 91833 w 342816"/>
                      <a:gd name="connsiteY6" fmla="*/ 326826 h 403597"/>
                      <a:gd name="connsiteX7" fmla="*/ 15633 w 342816"/>
                      <a:gd name="connsiteY7" fmla="*/ 281010 h 403597"/>
                      <a:gd name="connsiteX8" fmla="*/ 20205 w 342816"/>
                      <a:gd name="connsiteY8" fmla="*/ 145660 h 403597"/>
                      <a:gd name="connsiteX9" fmla="*/ 33255 w 342816"/>
                      <a:gd name="connsiteY9" fmla="*/ 142326 h 403597"/>
                      <a:gd name="connsiteX10" fmla="*/ 36588 w 342816"/>
                      <a:gd name="connsiteY10" fmla="*/ 155376 h 403597"/>
                      <a:gd name="connsiteX11" fmla="*/ 32207 w 342816"/>
                      <a:gd name="connsiteY11" fmla="*/ 271581 h 403597"/>
                      <a:gd name="connsiteX12" fmla="*/ 91833 w 342816"/>
                      <a:gd name="connsiteY12" fmla="*/ 307776 h 403597"/>
                      <a:gd name="connsiteX13" fmla="*/ 129933 w 342816"/>
                      <a:gd name="connsiteY13" fmla="*/ 307776 h 403597"/>
                      <a:gd name="connsiteX14" fmla="*/ 128409 w 342816"/>
                      <a:gd name="connsiteY14" fmla="*/ 318634 h 403597"/>
                      <a:gd name="connsiteX15" fmla="*/ 118884 w 342816"/>
                      <a:gd name="connsiteY15" fmla="*/ 384452 h 403597"/>
                      <a:gd name="connsiteX16" fmla="*/ 131553 w 342816"/>
                      <a:gd name="connsiteY16" fmla="*/ 384452 h 403597"/>
                      <a:gd name="connsiteX17" fmla="*/ 150317 w 342816"/>
                      <a:gd name="connsiteY17" fmla="*/ 175283 h 403597"/>
                      <a:gd name="connsiteX18" fmla="*/ 119075 w 342816"/>
                      <a:gd name="connsiteY18" fmla="*/ 194333 h 403597"/>
                      <a:gd name="connsiteX19" fmla="*/ 86499 w 342816"/>
                      <a:gd name="connsiteY19" fmla="*/ 176902 h 403597"/>
                      <a:gd name="connsiteX20" fmla="*/ 75165 w 342816"/>
                      <a:gd name="connsiteY20" fmla="*/ 169187 h 403597"/>
                      <a:gd name="connsiteX21" fmla="*/ 67449 w 342816"/>
                      <a:gd name="connsiteY21" fmla="*/ 180522 h 403597"/>
                      <a:gd name="connsiteX22" fmla="*/ 110788 w 342816"/>
                      <a:gd name="connsiteY22" fmla="*/ 212716 h 403597"/>
                      <a:gd name="connsiteX23" fmla="*/ 110026 w 342816"/>
                      <a:gd name="connsiteY23" fmla="*/ 218812 h 403597"/>
                      <a:gd name="connsiteX24" fmla="*/ 112884 w 342816"/>
                      <a:gd name="connsiteY24" fmla="*/ 239100 h 403597"/>
                      <a:gd name="connsiteX25" fmla="*/ 84309 w 342816"/>
                      <a:gd name="connsiteY25" fmla="*/ 246530 h 403597"/>
                      <a:gd name="connsiteX26" fmla="*/ 80975 w 342816"/>
                      <a:gd name="connsiteY26" fmla="*/ 259579 h 403597"/>
                      <a:gd name="connsiteX27" fmla="*/ 89071 w 342816"/>
                      <a:gd name="connsiteY27" fmla="*/ 264246 h 403597"/>
                      <a:gd name="connsiteX28" fmla="*/ 93738 w 342816"/>
                      <a:gd name="connsiteY28" fmla="*/ 263103 h 403597"/>
                      <a:gd name="connsiteX29" fmla="*/ 123742 w 342816"/>
                      <a:gd name="connsiteY29" fmla="*/ 260913 h 403597"/>
                      <a:gd name="connsiteX30" fmla="*/ 125647 w 342816"/>
                      <a:gd name="connsiteY30" fmla="*/ 261579 h 403597"/>
                      <a:gd name="connsiteX31" fmla="*/ 144697 w 342816"/>
                      <a:gd name="connsiteY31" fmla="*/ 281296 h 403597"/>
                      <a:gd name="connsiteX32" fmla="*/ 151650 w 342816"/>
                      <a:gd name="connsiteY32" fmla="*/ 284154 h 403597"/>
                      <a:gd name="connsiteX33" fmla="*/ 161137 w 342816"/>
                      <a:gd name="connsiteY33" fmla="*/ 274591 h 403597"/>
                      <a:gd name="connsiteX34" fmla="*/ 158508 w 342816"/>
                      <a:gd name="connsiteY34" fmla="*/ 268056 h 403597"/>
                      <a:gd name="connsiteX35" fmla="*/ 138887 w 342816"/>
                      <a:gd name="connsiteY35" fmla="*/ 247673 h 403597"/>
                      <a:gd name="connsiteX36" fmla="*/ 129362 w 342816"/>
                      <a:gd name="connsiteY36" fmla="*/ 219574 h 403597"/>
                      <a:gd name="connsiteX37" fmla="*/ 153365 w 342816"/>
                      <a:gd name="connsiteY37" fmla="*/ 193761 h 403597"/>
                      <a:gd name="connsiteX38" fmla="*/ 174987 w 342816"/>
                      <a:gd name="connsiteY38" fmla="*/ 187380 h 403597"/>
                      <a:gd name="connsiteX39" fmla="*/ 187369 w 342816"/>
                      <a:gd name="connsiteY39" fmla="*/ 227289 h 403597"/>
                      <a:gd name="connsiteX40" fmla="*/ 192227 w 342816"/>
                      <a:gd name="connsiteY40" fmla="*/ 239862 h 403597"/>
                      <a:gd name="connsiteX41" fmla="*/ 204800 w 342816"/>
                      <a:gd name="connsiteY41" fmla="*/ 235005 h 403597"/>
                      <a:gd name="connsiteX42" fmla="*/ 203466 w 342816"/>
                      <a:gd name="connsiteY42" fmla="*/ 192999 h 403597"/>
                      <a:gd name="connsiteX43" fmla="*/ 219564 w 342816"/>
                      <a:gd name="connsiteY43" fmla="*/ 181760 h 403597"/>
                      <a:gd name="connsiteX44" fmla="*/ 249377 w 342816"/>
                      <a:gd name="connsiteY44" fmla="*/ 192999 h 403597"/>
                      <a:gd name="connsiteX45" fmla="*/ 263760 w 342816"/>
                      <a:gd name="connsiteY45" fmla="*/ 234719 h 403597"/>
                      <a:gd name="connsiteX46" fmla="*/ 306432 w 342816"/>
                      <a:gd name="connsiteY46" fmla="*/ 246339 h 403597"/>
                      <a:gd name="connsiteX47" fmla="*/ 312147 w 342816"/>
                      <a:gd name="connsiteY47" fmla="*/ 246339 h 403597"/>
                      <a:gd name="connsiteX48" fmla="*/ 323767 w 342816"/>
                      <a:gd name="connsiteY48" fmla="*/ 257293 h 403597"/>
                      <a:gd name="connsiteX49" fmla="*/ 333292 w 342816"/>
                      <a:gd name="connsiteY49" fmla="*/ 264437 h 403597"/>
                      <a:gd name="connsiteX50" fmla="*/ 335673 w 342816"/>
                      <a:gd name="connsiteY50" fmla="*/ 264437 h 403597"/>
                      <a:gd name="connsiteX51" fmla="*/ 342531 w 342816"/>
                      <a:gd name="connsiteY51" fmla="*/ 252912 h 403597"/>
                      <a:gd name="connsiteX52" fmla="*/ 312432 w 342816"/>
                      <a:gd name="connsiteY52" fmla="*/ 227575 h 403597"/>
                      <a:gd name="connsiteX53" fmla="*/ 305955 w 342816"/>
                      <a:gd name="connsiteY53" fmla="*/ 227575 h 403597"/>
                      <a:gd name="connsiteX54" fmla="*/ 291382 w 342816"/>
                      <a:gd name="connsiteY54" fmla="*/ 227575 h 403597"/>
                      <a:gd name="connsiteX55" fmla="*/ 320624 w 342816"/>
                      <a:gd name="connsiteY55" fmla="*/ 214716 h 403597"/>
                      <a:gd name="connsiteX56" fmla="*/ 331244 w 342816"/>
                      <a:gd name="connsiteY56" fmla="*/ 206287 h 403597"/>
                      <a:gd name="connsiteX57" fmla="*/ 322815 w 342816"/>
                      <a:gd name="connsiteY57" fmla="*/ 195666 h 403597"/>
                      <a:gd name="connsiteX58" fmla="*/ 274713 w 342816"/>
                      <a:gd name="connsiteY58" fmla="*/ 218145 h 403597"/>
                      <a:gd name="connsiteX59" fmla="*/ 268713 w 342816"/>
                      <a:gd name="connsiteY59" fmla="*/ 191190 h 403597"/>
                      <a:gd name="connsiteX60" fmla="*/ 302050 w 342816"/>
                      <a:gd name="connsiteY60" fmla="*/ 165948 h 403597"/>
                      <a:gd name="connsiteX61" fmla="*/ 299478 w 342816"/>
                      <a:gd name="connsiteY61" fmla="*/ 152804 h 403597"/>
                      <a:gd name="connsiteX62" fmla="*/ 286248 w 342816"/>
                      <a:gd name="connsiteY62" fmla="*/ 155357 h 403597"/>
                      <a:gd name="connsiteX63" fmla="*/ 286239 w 342816"/>
                      <a:gd name="connsiteY63" fmla="*/ 155376 h 403597"/>
                      <a:gd name="connsiteX64" fmla="*/ 257664 w 342816"/>
                      <a:gd name="connsiteY64" fmla="*/ 174426 h 403597"/>
                      <a:gd name="connsiteX65" fmla="*/ 228327 w 342816"/>
                      <a:gd name="connsiteY65" fmla="*/ 164901 h 403597"/>
                      <a:gd name="connsiteX66" fmla="*/ 230041 w 342816"/>
                      <a:gd name="connsiteY66" fmla="*/ 143088 h 403597"/>
                      <a:gd name="connsiteX67" fmla="*/ 219373 w 342816"/>
                      <a:gd name="connsiteY67" fmla="*/ 134706 h 403597"/>
                      <a:gd name="connsiteX68" fmla="*/ 210991 w 342816"/>
                      <a:gd name="connsiteY68" fmla="*/ 145374 h 403597"/>
                      <a:gd name="connsiteX69" fmla="*/ 191941 w 342816"/>
                      <a:gd name="connsiteY69" fmla="*/ 177378 h 403597"/>
                      <a:gd name="connsiteX70" fmla="*/ 187464 w 342816"/>
                      <a:gd name="connsiteY70" fmla="*/ 173473 h 403597"/>
                      <a:gd name="connsiteX71" fmla="*/ 162509 w 342816"/>
                      <a:gd name="connsiteY71" fmla="*/ 122800 h 403597"/>
                      <a:gd name="connsiteX72" fmla="*/ 149602 w 342816"/>
                      <a:gd name="connsiteY72" fmla="*/ 126848 h 403597"/>
                      <a:gd name="connsiteX73" fmla="*/ 153651 w 342816"/>
                      <a:gd name="connsiteY73" fmla="*/ 139755 h 403597"/>
                      <a:gd name="connsiteX74" fmla="*/ 168605 w 342816"/>
                      <a:gd name="connsiteY74" fmla="*/ 170330 h 403597"/>
                      <a:gd name="connsiteX75" fmla="*/ 150317 w 342816"/>
                      <a:gd name="connsiteY75" fmla="*/ 175283 h 403597"/>
                      <a:gd name="connsiteX76" fmla="*/ 80213 w 342816"/>
                      <a:gd name="connsiteY76" fmla="*/ 129277 h 403597"/>
                      <a:gd name="connsiteX77" fmla="*/ 85642 w 342816"/>
                      <a:gd name="connsiteY77" fmla="*/ 141564 h 403597"/>
                      <a:gd name="connsiteX78" fmla="*/ 89071 w 342816"/>
                      <a:gd name="connsiteY78" fmla="*/ 142136 h 403597"/>
                      <a:gd name="connsiteX79" fmla="*/ 98025 w 342816"/>
                      <a:gd name="connsiteY79" fmla="*/ 136040 h 403597"/>
                      <a:gd name="connsiteX80" fmla="*/ 126600 w 342816"/>
                      <a:gd name="connsiteY80" fmla="*/ 61364 h 403597"/>
                      <a:gd name="connsiteX81" fmla="*/ 80499 w 342816"/>
                      <a:gd name="connsiteY81" fmla="*/ 61364 h 403597"/>
                      <a:gd name="connsiteX82" fmla="*/ 104025 w 342816"/>
                      <a:gd name="connsiteY82" fmla="*/ 13739 h 403597"/>
                      <a:gd name="connsiteX83" fmla="*/ 99672 w 342816"/>
                      <a:gd name="connsiteY83" fmla="*/ 994 h 403597"/>
                      <a:gd name="connsiteX84" fmla="*/ 99644 w 342816"/>
                      <a:gd name="connsiteY84" fmla="*/ 975 h 403597"/>
                      <a:gd name="connsiteX85" fmla="*/ 86899 w 342816"/>
                      <a:gd name="connsiteY85" fmla="*/ 5328 h 403597"/>
                      <a:gd name="connsiteX86" fmla="*/ 86880 w 342816"/>
                      <a:gd name="connsiteY86" fmla="*/ 5357 h 403597"/>
                      <a:gd name="connsiteX87" fmla="*/ 50019 w 342816"/>
                      <a:gd name="connsiteY87" fmla="*/ 80890 h 403597"/>
                      <a:gd name="connsiteX88" fmla="*/ 98882 w 342816"/>
                      <a:gd name="connsiteY88" fmla="*/ 80890 h 403597"/>
                      <a:gd name="connsiteX89" fmla="*/ 80213 w 342816"/>
                      <a:gd name="connsiteY89" fmla="*/ 129277 h 403597"/>
                      <a:gd name="connsiteX0" fmla="*/ 131553 w 342816"/>
                      <a:gd name="connsiteY0" fmla="*/ 384452 h 403597"/>
                      <a:gd name="connsiteX1" fmla="*/ 143364 w 342816"/>
                      <a:gd name="connsiteY1" fmla="*/ 403597 h 403597"/>
                      <a:gd name="connsiteX2" fmla="*/ 96596 w 342816"/>
                      <a:gd name="connsiteY2" fmla="*/ 403597 h 403597"/>
                      <a:gd name="connsiteX3" fmla="*/ 98596 w 342816"/>
                      <a:gd name="connsiteY3" fmla="*/ 392358 h 403597"/>
                      <a:gd name="connsiteX4" fmla="*/ 108121 w 342816"/>
                      <a:gd name="connsiteY4" fmla="*/ 326826 h 403597"/>
                      <a:gd name="connsiteX5" fmla="*/ 91833 w 342816"/>
                      <a:gd name="connsiteY5" fmla="*/ 326826 h 403597"/>
                      <a:gd name="connsiteX6" fmla="*/ 15633 w 342816"/>
                      <a:gd name="connsiteY6" fmla="*/ 281010 h 403597"/>
                      <a:gd name="connsiteX7" fmla="*/ 20205 w 342816"/>
                      <a:gd name="connsiteY7" fmla="*/ 145660 h 403597"/>
                      <a:gd name="connsiteX8" fmla="*/ 33255 w 342816"/>
                      <a:gd name="connsiteY8" fmla="*/ 142326 h 403597"/>
                      <a:gd name="connsiteX9" fmla="*/ 36588 w 342816"/>
                      <a:gd name="connsiteY9" fmla="*/ 155376 h 403597"/>
                      <a:gd name="connsiteX10" fmla="*/ 32207 w 342816"/>
                      <a:gd name="connsiteY10" fmla="*/ 271581 h 403597"/>
                      <a:gd name="connsiteX11" fmla="*/ 91833 w 342816"/>
                      <a:gd name="connsiteY11" fmla="*/ 307776 h 403597"/>
                      <a:gd name="connsiteX12" fmla="*/ 129933 w 342816"/>
                      <a:gd name="connsiteY12" fmla="*/ 307776 h 403597"/>
                      <a:gd name="connsiteX13" fmla="*/ 128409 w 342816"/>
                      <a:gd name="connsiteY13" fmla="*/ 318634 h 403597"/>
                      <a:gd name="connsiteX14" fmla="*/ 118884 w 342816"/>
                      <a:gd name="connsiteY14" fmla="*/ 384452 h 403597"/>
                      <a:gd name="connsiteX15" fmla="*/ 131553 w 342816"/>
                      <a:gd name="connsiteY15" fmla="*/ 384452 h 403597"/>
                      <a:gd name="connsiteX16" fmla="*/ 150317 w 342816"/>
                      <a:gd name="connsiteY16" fmla="*/ 175283 h 403597"/>
                      <a:gd name="connsiteX17" fmla="*/ 119075 w 342816"/>
                      <a:gd name="connsiteY17" fmla="*/ 194333 h 403597"/>
                      <a:gd name="connsiteX18" fmla="*/ 86499 w 342816"/>
                      <a:gd name="connsiteY18" fmla="*/ 176902 h 403597"/>
                      <a:gd name="connsiteX19" fmla="*/ 75165 w 342816"/>
                      <a:gd name="connsiteY19" fmla="*/ 169187 h 403597"/>
                      <a:gd name="connsiteX20" fmla="*/ 67449 w 342816"/>
                      <a:gd name="connsiteY20" fmla="*/ 180522 h 403597"/>
                      <a:gd name="connsiteX21" fmla="*/ 110788 w 342816"/>
                      <a:gd name="connsiteY21" fmla="*/ 212716 h 403597"/>
                      <a:gd name="connsiteX22" fmla="*/ 110026 w 342816"/>
                      <a:gd name="connsiteY22" fmla="*/ 218812 h 403597"/>
                      <a:gd name="connsiteX23" fmla="*/ 112884 w 342816"/>
                      <a:gd name="connsiteY23" fmla="*/ 239100 h 403597"/>
                      <a:gd name="connsiteX24" fmla="*/ 84309 w 342816"/>
                      <a:gd name="connsiteY24" fmla="*/ 246530 h 403597"/>
                      <a:gd name="connsiteX25" fmla="*/ 80975 w 342816"/>
                      <a:gd name="connsiteY25" fmla="*/ 259579 h 403597"/>
                      <a:gd name="connsiteX26" fmla="*/ 89071 w 342816"/>
                      <a:gd name="connsiteY26" fmla="*/ 264246 h 403597"/>
                      <a:gd name="connsiteX27" fmla="*/ 93738 w 342816"/>
                      <a:gd name="connsiteY27" fmla="*/ 263103 h 403597"/>
                      <a:gd name="connsiteX28" fmla="*/ 123742 w 342816"/>
                      <a:gd name="connsiteY28" fmla="*/ 260913 h 403597"/>
                      <a:gd name="connsiteX29" fmla="*/ 125647 w 342816"/>
                      <a:gd name="connsiteY29" fmla="*/ 261579 h 403597"/>
                      <a:gd name="connsiteX30" fmla="*/ 144697 w 342816"/>
                      <a:gd name="connsiteY30" fmla="*/ 281296 h 403597"/>
                      <a:gd name="connsiteX31" fmla="*/ 151650 w 342816"/>
                      <a:gd name="connsiteY31" fmla="*/ 284154 h 403597"/>
                      <a:gd name="connsiteX32" fmla="*/ 161137 w 342816"/>
                      <a:gd name="connsiteY32" fmla="*/ 274591 h 403597"/>
                      <a:gd name="connsiteX33" fmla="*/ 158508 w 342816"/>
                      <a:gd name="connsiteY33" fmla="*/ 268056 h 403597"/>
                      <a:gd name="connsiteX34" fmla="*/ 138887 w 342816"/>
                      <a:gd name="connsiteY34" fmla="*/ 247673 h 403597"/>
                      <a:gd name="connsiteX35" fmla="*/ 129362 w 342816"/>
                      <a:gd name="connsiteY35" fmla="*/ 219574 h 403597"/>
                      <a:gd name="connsiteX36" fmla="*/ 153365 w 342816"/>
                      <a:gd name="connsiteY36" fmla="*/ 193761 h 403597"/>
                      <a:gd name="connsiteX37" fmla="*/ 174987 w 342816"/>
                      <a:gd name="connsiteY37" fmla="*/ 187380 h 403597"/>
                      <a:gd name="connsiteX38" fmla="*/ 187369 w 342816"/>
                      <a:gd name="connsiteY38" fmla="*/ 227289 h 403597"/>
                      <a:gd name="connsiteX39" fmla="*/ 192227 w 342816"/>
                      <a:gd name="connsiteY39" fmla="*/ 239862 h 403597"/>
                      <a:gd name="connsiteX40" fmla="*/ 204800 w 342816"/>
                      <a:gd name="connsiteY40" fmla="*/ 235005 h 403597"/>
                      <a:gd name="connsiteX41" fmla="*/ 203466 w 342816"/>
                      <a:gd name="connsiteY41" fmla="*/ 192999 h 403597"/>
                      <a:gd name="connsiteX42" fmla="*/ 219564 w 342816"/>
                      <a:gd name="connsiteY42" fmla="*/ 181760 h 403597"/>
                      <a:gd name="connsiteX43" fmla="*/ 249377 w 342816"/>
                      <a:gd name="connsiteY43" fmla="*/ 192999 h 403597"/>
                      <a:gd name="connsiteX44" fmla="*/ 263760 w 342816"/>
                      <a:gd name="connsiteY44" fmla="*/ 234719 h 403597"/>
                      <a:gd name="connsiteX45" fmla="*/ 306432 w 342816"/>
                      <a:gd name="connsiteY45" fmla="*/ 246339 h 403597"/>
                      <a:gd name="connsiteX46" fmla="*/ 312147 w 342816"/>
                      <a:gd name="connsiteY46" fmla="*/ 246339 h 403597"/>
                      <a:gd name="connsiteX47" fmla="*/ 323767 w 342816"/>
                      <a:gd name="connsiteY47" fmla="*/ 257293 h 403597"/>
                      <a:gd name="connsiteX48" fmla="*/ 333292 w 342816"/>
                      <a:gd name="connsiteY48" fmla="*/ 264437 h 403597"/>
                      <a:gd name="connsiteX49" fmla="*/ 335673 w 342816"/>
                      <a:gd name="connsiteY49" fmla="*/ 264437 h 403597"/>
                      <a:gd name="connsiteX50" fmla="*/ 342531 w 342816"/>
                      <a:gd name="connsiteY50" fmla="*/ 252912 h 403597"/>
                      <a:gd name="connsiteX51" fmla="*/ 312432 w 342816"/>
                      <a:gd name="connsiteY51" fmla="*/ 227575 h 403597"/>
                      <a:gd name="connsiteX52" fmla="*/ 305955 w 342816"/>
                      <a:gd name="connsiteY52" fmla="*/ 227575 h 403597"/>
                      <a:gd name="connsiteX53" fmla="*/ 291382 w 342816"/>
                      <a:gd name="connsiteY53" fmla="*/ 227575 h 403597"/>
                      <a:gd name="connsiteX54" fmla="*/ 320624 w 342816"/>
                      <a:gd name="connsiteY54" fmla="*/ 214716 h 403597"/>
                      <a:gd name="connsiteX55" fmla="*/ 331244 w 342816"/>
                      <a:gd name="connsiteY55" fmla="*/ 206287 h 403597"/>
                      <a:gd name="connsiteX56" fmla="*/ 322815 w 342816"/>
                      <a:gd name="connsiteY56" fmla="*/ 195666 h 403597"/>
                      <a:gd name="connsiteX57" fmla="*/ 274713 w 342816"/>
                      <a:gd name="connsiteY57" fmla="*/ 218145 h 403597"/>
                      <a:gd name="connsiteX58" fmla="*/ 268713 w 342816"/>
                      <a:gd name="connsiteY58" fmla="*/ 191190 h 403597"/>
                      <a:gd name="connsiteX59" fmla="*/ 302050 w 342816"/>
                      <a:gd name="connsiteY59" fmla="*/ 165948 h 403597"/>
                      <a:gd name="connsiteX60" fmla="*/ 299478 w 342816"/>
                      <a:gd name="connsiteY60" fmla="*/ 152804 h 403597"/>
                      <a:gd name="connsiteX61" fmla="*/ 286248 w 342816"/>
                      <a:gd name="connsiteY61" fmla="*/ 155357 h 403597"/>
                      <a:gd name="connsiteX62" fmla="*/ 286239 w 342816"/>
                      <a:gd name="connsiteY62" fmla="*/ 155376 h 403597"/>
                      <a:gd name="connsiteX63" fmla="*/ 257664 w 342816"/>
                      <a:gd name="connsiteY63" fmla="*/ 174426 h 403597"/>
                      <a:gd name="connsiteX64" fmla="*/ 228327 w 342816"/>
                      <a:gd name="connsiteY64" fmla="*/ 164901 h 403597"/>
                      <a:gd name="connsiteX65" fmla="*/ 230041 w 342816"/>
                      <a:gd name="connsiteY65" fmla="*/ 143088 h 403597"/>
                      <a:gd name="connsiteX66" fmla="*/ 219373 w 342816"/>
                      <a:gd name="connsiteY66" fmla="*/ 134706 h 403597"/>
                      <a:gd name="connsiteX67" fmla="*/ 210991 w 342816"/>
                      <a:gd name="connsiteY67" fmla="*/ 145374 h 403597"/>
                      <a:gd name="connsiteX68" fmla="*/ 191941 w 342816"/>
                      <a:gd name="connsiteY68" fmla="*/ 177378 h 403597"/>
                      <a:gd name="connsiteX69" fmla="*/ 187464 w 342816"/>
                      <a:gd name="connsiteY69" fmla="*/ 173473 h 403597"/>
                      <a:gd name="connsiteX70" fmla="*/ 162509 w 342816"/>
                      <a:gd name="connsiteY70" fmla="*/ 122800 h 403597"/>
                      <a:gd name="connsiteX71" fmla="*/ 149602 w 342816"/>
                      <a:gd name="connsiteY71" fmla="*/ 126848 h 403597"/>
                      <a:gd name="connsiteX72" fmla="*/ 153651 w 342816"/>
                      <a:gd name="connsiteY72" fmla="*/ 139755 h 403597"/>
                      <a:gd name="connsiteX73" fmla="*/ 168605 w 342816"/>
                      <a:gd name="connsiteY73" fmla="*/ 170330 h 403597"/>
                      <a:gd name="connsiteX74" fmla="*/ 150317 w 342816"/>
                      <a:gd name="connsiteY74" fmla="*/ 175283 h 403597"/>
                      <a:gd name="connsiteX75" fmla="*/ 80213 w 342816"/>
                      <a:gd name="connsiteY75" fmla="*/ 129277 h 403597"/>
                      <a:gd name="connsiteX76" fmla="*/ 85642 w 342816"/>
                      <a:gd name="connsiteY76" fmla="*/ 141564 h 403597"/>
                      <a:gd name="connsiteX77" fmla="*/ 89071 w 342816"/>
                      <a:gd name="connsiteY77" fmla="*/ 142136 h 403597"/>
                      <a:gd name="connsiteX78" fmla="*/ 98025 w 342816"/>
                      <a:gd name="connsiteY78" fmla="*/ 136040 h 403597"/>
                      <a:gd name="connsiteX79" fmla="*/ 126600 w 342816"/>
                      <a:gd name="connsiteY79" fmla="*/ 61364 h 403597"/>
                      <a:gd name="connsiteX80" fmla="*/ 80499 w 342816"/>
                      <a:gd name="connsiteY80" fmla="*/ 61364 h 403597"/>
                      <a:gd name="connsiteX81" fmla="*/ 104025 w 342816"/>
                      <a:gd name="connsiteY81" fmla="*/ 13739 h 403597"/>
                      <a:gd name="connsiteX82" fmla="*/ 99672 w 342816"/>
                      <a:gd name="connsiteY82" fmla="*/ 994 h 403597"/>
                      <a:gd name="connsiteX83" fmla="*/ 99644 w 342816"/>
                      <a:gd name="connsiteY83" fmla="*/ 975 h 403597"/>
                      <a:gd name="connsiteX84" fmla="*/ 86899 w 342816"/>
                      <a:gd name="connsiteY84" fmla="*/ 5328 h 403597"/>
                      <a:gd name="connsiteX85" fmla="*/ 86880 w 342816"/>
                      <a:gd name="connsiteY85" fmla="*/ 5357 h 403597"/>
                      <a:gd name="connsiteX86" fmla="*/ 50019 w 342816"/>
                      <a:gd name="connsiteY86" fmla="*/ 80890 h 403597"/>
                      <a:gd name="connsiteX87" fmla="*/ 98882 w 342816"/>
                      <a:gd name="connsiteY87" fmla="*/ 80890 h 403597"/>
                      <a:gd name="connsiteX88" fmla="*/ 80213 w 342816"/>
                      <a:gd name="connsiteY88" fmla="*/ 129277 h 403597"/>
                      <a:gd name="connsiteX0" fmla="*/ 118884 w 342816"/>
                      <a:gd name="connsiteY0" fmla="*/ 384452 h 403597"/>
                      <a:gd name="connsiteX1" fmla="*/ 143364 w 342816"/>
                      <a:gd name="connsiteY1" fmla="*/ 403597 h 403597"/>
                      <a:gd name="connsiteX2" fmla="*/ 96596 w 342816"/>
                      <a:gd name="connsiteY2" fmla="*/ 403597 h 403597"/>
                      <a:gd name="connsiteX3" fmla="*/ 98596 w 342816"/>
                      <a:gd name="connsiteY3" fmla="*/ 392358 h 403597"/>
                      <a:gd name="connsiteX4" fmla="*/ 108121 w 342816"/>
                      <a:gd name="connsiteY4" fmla="*/ 326826 h 403597"/>
                      <a:gd name="connsiteX5" fmla="*/ 91833 w 342816"/>
                      <a:gd name="connsiteY5" fmla="*/ 326826 h 403597"/>
                      <a:gd name="connsiteX6" fmla="*/ 15633 w 342816"/>
                      <a:gd name="connsiteY6" fmla="*/ 281010 h 403597"/>
                      <a:gd name="connsiteX7" fmla="*/ 20205 w 342816"/>
                      <a:gd name="connsiteY7" fmla="*/ 145660 h 403597"/>
                      <a:gd name="connsiteX8" fmla="*/ 33255 w 342816"/>
                      <a:gd name="connsiteY8" fmla="*/ 142326 h 403597"/>
                      <a:gd name="connsiteX9" fmla="*/ 36588 w 342816"/>
                      <a:gd name="connsiteY9" fmla="*/ 155376 h 403597"/>
                      <a:gd name="connsiteX10" fmla="*/ 32207 w 342816"/>
                      <a:gd name="connsiteY10" fmla="*/ 271581 h 403597"/>
                      <a:gd name="connsiteX11" fmla="*/ 91833 w 342816"/>
                      <a:gd name="connsiteY11" fmla="*/ 307776 h 403597"/>
                      <a:gd name="connsiteX12" fmla="*/ 129933 w 342816"/>
                      <a:gd name="connsiteY12" fmla="*/ 307776 h 403597"/>
                      <a:gd name="connsiteX13" fmla="*/ 128409 w 342816"/>
                      <a:gd name="connsiteY13" fmla="*/ 318634 h 403597"/>
                      <a:gd name="connsiteX14" fmla="*/ 118884 w 342816"/>
                      <a:gd name="connsiteY14" fmla="*/ 384452 h 403597"/>
                      <a:gd name="connsiteX15" fmla="*/ 150317 w 342816"/>
                      <a:gd name="connsiteY15" fmla="*/ 175283 h 403597"/>
                      <a:gd name="connsiteX16" fmla="*/ 119075 w 342816"/>
                      <a:gd name="connsiteY16" fmla="*/ 194333 h 403597"/>
                      <a:gd name="connsiteX17" fmla="*/ 86499 w 342816"/>
                      <a:gd name="connsiteY17" fmla="*/ 176902 h 403597"/>
                      <a:gd name="connsiteX18" fmla="*/ 75165 w 342816"/>
                      <a:gd name="connsiteY18" fmla="*/ 169187 h 403597"/>
                      <a:gd name="connsiteX19" fmla="*/ 67449 w 342816"/>
                      <a:gd name="connsiteY19" fmla="*/ 180522 h 403597"/>
                      <a:gd name="connsiteX20" fmla="*/ 110788 w 342816"/>
                      <a:gd name="connsiteY20" fmla="*/ 212716 h 403597"/>
                      <a:gd name="connsiteX21" fmla="*/ 110026 w 342816"/>
                      <a:gd name="connsiteY21" fmla="*/ 218812 h 403597"/>
                      <a:gd name="connsiteX22" fmla="*/ 112884 w 342816"/>
                      <a:gd name="connsiteY22" fmla="*/ 239100 h 403597"/>
                      <a:gd name="connsiteX23" fmla="*/ 84309 w 342816"/>
                      <a:gd name="connsiteY23" fmla="*/ 246530 h 403597"/>
                      <a:gd name="connsiteX24" fmla="*/ 80975 w 342816"/>
                      <a:gd name="connsiteY24" fmla="*/ 259579 h 403597"/>
                      <a:gd name="connsiteX25" fmla="*/ 89071 w 342816"/>
                      <a:gd name="connsiteY25" fmla="*/ 264246 h 403597"/>
                      <a:gd name="connsiteX26" fmla="*/ 93738 w 342816"/>
                      <a:gd name="connsiteY26" fmla="*/ 263103 h 403597"/>
                      <a:gd name="connsiteX27" fmla="*/ 123742 w 342816"/>
                      <a:gd name="connsiteY27" fmla="*/ 260913 h 403597"/>
                      <a:gd name="connsiteX28" fmla="*/ 125647 w 342816"/>
                      <a:gd name="connsiteY28" fmla="*/ 261579 h 403597"/>
                      <a:gd name="connsiteX29" fmla="*/ 144697 w 342816"/>
                      <a:gd name="connsiteY29" fmla="*/ 281296 h 403597"/>
                      <a:gd name="connsiteX30" fmla="*/ 151650 w 342816"/>
                      <a:gd name="connsiteY30" fmla="*/ 284154 h 403597"/>
                      <a:gd name="connsiteX31" fmla="*/ 161137 w 342816"/>
                      <a:gd name="connsiteY31" fmla="*/ 274591 h 403597"/>
                      <a:gd name="connsiteX32" fmla="*/ 158508 w 342816"/>
                      <a:gd name="connsiteY32" fmla="*/ 268056 h 403597"/>
                      <a:gd name="connsiteX33" fmla="*/ 138887 w 342816"/>
                      <a:gd name="connsiteY33" fmla="*/ 247673 h 403597"/>
                      <a:gd name="connsiteX34" fmla="*/ 129362 w 342816"/>
                      <a:gd name="connsiteY34" fmla="*/ 219574 h 403597"/>
                      <a:gd name="connsiteX35" fmla="*/ 153365 w 342816"/>
                      <a:gd name="connsiteY35" fmla="*/ 193761 h 403597"/>
                      <a:gd name="connsiteX36" fmla="*/ 174987 w 342816"/>
                      <a:gd name="connsiteY36" fmla="*/ 187380 h 403597"/>
                      <a:gd name="connsiteX37" fmla="*/ 187369 w 342816"/>
                      <a:gd name="connsiteY37" fmla="*/ 227289 h 403597"/>
                      <a:gd name="connsiteX38" fmla="*/ 192227 w 342816"/>
                      <a:gd name="connsiteY38" fmla="*/ 239862 h 403597"/>
                      <a:gd name="connsiteX39" fmla="*/ 204800 w 342816"/>
                      <a:gd name="connsiteY39" fmla="*/ 235005 h 403597"/>
                      <a:gd name="connsiteX40" fmla="*/ 203466 w 342816"/>
                      <a:gd name="connsiteY40" fmla="*/ 192999 h 403597"/>
                      <a:gd name="connsiteX41" fmla="*/ 219564 w 342816"/>
                      <a:gd name="connsiteY41" fmla="*/ 181760 h 403597"/>
                      <a:gd name="connsiteX42" fmla="*/ 249377 w 342816"/>
                      <a:gd name="connsiteY42" fmla="*/ 192999 h 403597"/>
                      <a:gd name="connsiteX43" fmla="*/ 263760 w 342816"/>
                      <a:gd name="connsiteY43" fmla="*/ 234719 h 403597"/>
                      <a:gd name="connsiteX44" fmla="*/ 306432 w 342816"/>
                      <a:gd name="connsiteY44" fmla="*/ 246339 h 403597"/>
                      <a:gd name="connsiteX45" fmla="*/ 312147 w 342816"/>
                      <a:gd name="connsiteY45" fmla="*/ 246339 h 403597"/>
                      <a:gd name="connsiteX46" fmla="*/ 323767 w 342816"/>
                      <a:gd name="connsiteY46" fmla="*/ 257293 h 403597"/>
                      <a:gd name="connsiteX47" fmla="*/ 333292 w 342816"/>
                      <a:gd name="connsiteY47" fmla="*/ 264437 h 403597"/>
                      <a:gd name="connsiteX48" fmla="*/ 335673 w 342816"/>
                      <a:gd name="connsiteY48" fmla="*/ 264437 h 403597"/>
                      <a:gd name="connsiteX49" fmla="*/ 342531 w 342816"/>
                      <a:gd name="connsiteY49" fmla="*/ 252912 h 403597"/>
                      <a:gd name="connsiteX50" fmla="*/ 312432 w 342816"/>
                      <a:gd name="connsiteY50" fmla="*/ 227575 h 403597"/>
                      <a:gd name="connsiteX51" fmla="*/ 305955 w 342816"/>
                      <a:gd name="connsiteY51" fmla="*/ 227575 h 403597"/>
                      <a:gd name="connsiteX52" fmla="*/ 291382 w 342816"/>
                      <a:gd name="connsiteY52" fmla="*/ 227575 h 403597"/>
                      <a:gd name="connsiteX53" fmla="*/ 320624 w 342816"/>
                      <a:gd name="connsiteY53" fmla="*/ 214716 h 403597"/>
                      <a:gd name="connsiteX54" fmla="*/ 331244 w 342816"/>
                      <a:gd name="connsiteY54" fmla="*/ 206287 h 403597"/>
                      <a:gd name="connsiteX55" fmla="*/ 322815 w 342816"/>
                      <a:gd name="connsiteY55" fmla="*/ 195666 h 403597"/>
                      <a:gd name="connsiteX56" fmla="*/ 274713 w 342816"/>
                      <a:gd name="connsiteY56" fmla="*/ 218145 h 403597"/>
                      <a:gd name="connsiteX57" fmla="*/ 268713 w 342816"/>
                      <a:gd name="connsiteY57" fmla="*/ 191190 h 403597"/>
                      <a:gd name="connsiteX58" fmla="*/ 302050 w 342816"/>
                      <a:gd name="connsiteY58" fmla="*/ 165948 h 403597"/>
                      <a:gd name="connsiteX59" fmla="*/ 299478 w 342816"/>
                      <a:gd name="connsiteY59" fmla="*/ 152804 h 403597"/>
                      <a:gd name="connsiteX60" fmla="*/ 286248 w 342816"/>
                      <a:gd name="connsiteY60" fmla="*/ 155357 h 403597"/>
                      <a:gd name="connsiteX61" fmla="*/ 286239 w 342816"/>
                      <a:gd name="connsiteY61" fmla="*/ 155376 h 403597"/>
                      <a:gd name="connsiteX62" fmla="*/ 257664 w 342816"/>
                      <a:gd name="connsiteY62" fmla="*/ 174426 h 403597"/>
                      <a:gd name="connsiteX63" fmla="*/ 228327 w 342816"/>
                      <a:gd name="connsiteY63" fmla="*/ 164901 h 403597"/>
                      <a:gd name="connsiteX64" fmla="*/ 230041 w 342816"/>
                      <a:gd name="connsiteY64" fmla="*/ 143088 h 403597"/>
                      <a:gd name="connsiteX65" fmla="*/ 219373 w 342816"/>
                      <a:gd name="connsiteY65" fmla="*/ 134706 h 403597"/>
                      <a:gd name="connsiteX66" fmla="*/ 210991 w 342816"/>
                      <a:gd name="connsiteY66" fmla="*/ 145374 h 403597"/>
                      <a:gd name="connsiteX67" fmla="*/ 191941 w 342816"/>
                      <a:gd name="connsiteY67" fmla="*/ 177378 h 403597"/>
                      <a:gd name="connsiteX68" fmla="*/ 187464 w 342816"/>
                      <a:gd name="connsiteY68" fmla="*/ 173473 h 403597"/>
                      <a:gd name="connsiteX69" fmla="*/ 162509 w 342816"/>
                      <a:gd name="connsiteY69" fmla="*/ 122800 h 403597"/>
                      <a:gd name="connsiteX70" fmla="*/ 149602 w 342816"/>
                      <a:gd name="connsiteY70" fmla="*/ 126848 h 403597"/>
                      <a:gd name="connsiteX71" fmla="*/ 153651 w 342816"/>
                      <a:gd name="connsiteY71" fmla="*/ 139755 h 403597"/>
                      <a:gd name="connsiteX72" fmla="*/ 168605 w 342816"/>
                      <a:gd name="connsiteY72" fmla="*/ 170330 h 403597"/>
                      <a:gd name="connsiteX73" fmla="*/ 150317 w 342816"/>
                      <a:gd name="connsiteY73" fmla="*/ 175283 h 403597"/>
                      <a:gd name="connsiteX74" fmla="*/ 80213 w 342816"/>
                      <a:gd name="connsiteY74" fmla="*/ 129277 h 403597"/>
                      <a:gd name="connsiteX75" fmla="*/ 85642 w 342816"/>
                      <a:gd name="connsiteY75" fmla="*/ 141564 h 403597"/>
                      <a:gd name="connsiteX76" fmla="*/ 89071 w 342816"/>
                      <a:gd name="connsiteY76" fmla="*/ 142136 h 403597"/>
                      <a:gd name="connsiteX77" fmla="*/ 98025 w 342816"/>
                      <a:gd name="connsiteY77" fmla="*/ 136040 h 403597"/>
                      <a:gd name="connsiteX78" fmla="*/ 126600 w 342816"/>
                      <a:gd name="connsiteY78" fmla="*/ 61364 h 403597"/>
                      <a:gd name="connsiteX79" fmla="*/ 80499 w 342816"/>
                      <a:gd name="connsiteY79" fmla="*/ 61364 h 403597"/>
                      <a:gd name="connsiteX80" fmla="*/ 104025 w 342816"/>
                      <a:gd name="connsiteY80" fmla="*/ 13739 h 403597"/>
                      <a:gd name="connsiteX81" fmla="*/ 99672 w 342816"/>
                      <a:gd name="connsiteY81" fmla="*/ 994 h 403597"/>
                      <a:gd name="connsiteX82" fmla="*/ 99644 w 342816"/>
                      <a:gd name="connsiteY82" fmla="*/ 975 h 403597"/>
                      <a:gd name="connsiteX83" fmla="*/ 86899 w 342816"/>
                      <a:gd name="connsiteY83" fmla="*/ 5328 h 403597"/>
                      <a:gd name="connsiteX84" fmla="*/ 86880 w 342816"/>
                      <a:gd name="connsiteY84" fmla="*/ 5357 h 403597"/>
                      <a:gd name="connsiteX85" fmla="*/ 50019 w 342816"/>
                      <a:gd name="connsiteY85" fmla="*/ 80890 h 403597"/>
                      <a:gd name="connsiteX86" fmla="*/ 98882 w 342816"/>
                      <a:gd name="connsiteY86" fmla="*/ 80890 h 403597"/>
                      <a:gd name="connsiteX87" fmla="*/ 80213 w 342816"/>
                      <a:gd name="connsiteY87" fmla="*/ 129277 h 403597"/>
                      <a:gd name="connsiteX0" fmla="*/ 128409 w 342816"/>
                      <a:gd name="connsiteY0" fmla="*/ 318634 h 403597"/>
                      <a:gd name="connsiteX1" fmla="*/ 143364 w 342816"/>
                      <a:gd name="connsiteY1" fmla="*/ 403597 h 403597"/>
                      <a:gd name="connsiteX2" fmla="*/ 96596 w 342816"/>
                      <a:gd name="connsiteY2" fmla="*/ 403597 h 403597"/>
                      <a:gd name="connsiteX3" fmla="*/ 98596 w 342816"/>
                      <a:gd name="connsiteY3" fmla="*/ 392358 h 403597"/>
                      <a:gd name="connsiteX4" fmla="*/ 108121 w 342816"/>
                      <a:gd name="connsiteY4" fmla="*/ 326826 h 403597"/>
                      <a:gd name="connsiteX5" fmla="*/ 91833 w 342816"/>
                      <a:gd name="connsiteY5" fmla="*/ 326826 h 403597"/>
                      <a:gd name="connsiteX6" fmla="*/ 15633 w 342816"/>
                      <a:gd name="connsiteY6" fmla="*/ 281010 h 403597"/>
                      <a:gd name="connsiteX7" fmla="*/ 20205 w 342816"/>
                      <a:gd name="connsiteY7" fmla="*/ 145660 h 403597"/>
                      <a:gd name="connsiteX8" fmla="*/ 33255 w 342816"/>
                      <a:gd name="connsiteY8" fmla="*/ 142326 h 403597"/>
                      <a:gd name="connsiteX9" fmla="*/ 36588 w 342816"/>
                      <a:gd name="connsiteY9" fmla="*/ 155376 h 403597"/>
                      <a:gd name="connsiteX10" fmla="*/ 32207 w 342816"/>
                      <a:gd name="connsiteY10" fmla="*/ 271581 h 403597"/>
                      <a:gd name="connsiteX11" fmla="*/ 91833 w 342816"/>
                      <a:gd name="connsiteY11" fmla="*/ 307776 h 403597"/>
                      <a:gd name="connsiteX12" fmla="*/ 129933 w 342816"/>
                      <a:gd name="connsiteY12" fmla="*/ 307776 h 403597"/>
                      <a:gd name="connsiteX13" fmla="*/ 128409 w 342816"/>
                      <a:gd name="connsiteY13" fmla="*/ 318634 h 403597"/>
                      <a:gd name="connsiteX14" fmla="*/ 150317 w 342816"/>
                      <a:gd name="connsiteY14" fmla="*/ 175283 h 403597"/>
                      <a:gd name="connsiteX15" fmla="*/ 119075 w 342816"/>
                      <a:gd name="connsiteY15" fmla="*/ 194333 h 403597"/>
                      <a:gd name="connsiteX16" fmla="*/ 86499 w 342816"/>
                      <a:gd name="connsiteY16" fmla="*/ 176902 h 403597"/>
                      <a:gd name="connsiteX17" fmla="*/ 75165 w 342816"/>
                      <a:gd name="connsiteY17" fmla="*/ 169187 h 403597"/>
                      <a:gd name="connsiteX18" fmla="*/ 67449 w 342816"/>
                      <a:gd name="connsiteY18" fmla="*/ 180522 h 403597"/>
                      <a:gd name="connsiteX19" fmla="*/ 110788 w 342816"/>
                      <a:gd name="connsiteY19" fmla="*/ 212716 h 403597"/>
                      <a:gd name="connsiteX20" fmla="*/ 110026 w 342816"/>
                      <a:gd name="connsiteY20" fmla="*/ 218812 h 403597"/>
                      <a:gd name="connsiteX21" fmla="*/ 112884 w 342816"/>
                      <a:gd name="connsiteY21" fmla="*/ 239100 h 403597"/>
                      <a:gd name="connsiteX22" fmla="*/ 84309 w 342816"/>
                      <a:gd name="connsiteY22" fmla="*/ 246530 h 403597"/>
                      <a:gd name="connsiteX23" fmla="*/ 80975 w 342816"/>
                      <a:gd name="connsiteY23" fmla="*/ 259579 h 403597"/>
                      <a:gd name="connsiteX24" fmla="*/ 89071 w 342816"/>
                      <a:gd name="connsiteY24" fmla="*/ 264246 h 403597"/>
                      <a:gd name="connsiteX25" fmla="*/ 93738 w 342816"/>
                      <a:gd name="connsiteY25" fmla="*/ 263103 h 403597"/>
                      <a:gd name="connsiteX26" fmla="*/ 123742 w 342816"/>
                      <a:gd name="connsiteY26" fmla="*/ 260913 h 403597"/>
                      <a:gd name="connsiteX27" fmla="*/ 125647 w 342816"/>
                      <a:gd name="connsiteY27" fmla="*/ 261579 h 403597"/>
                      <a:gd name="connsiteX28" fmla="*/ 144697 w 342816"/>
                      <a:gd name="connsiteY28" fmla="*/ 281296 h 403597"/>
                      <a:gd name="connsiteX29" fmla="*/ 151650 w 342816"/>
                      <a:gd name="connsiteY29" fmla="*/ 284154 h 403597"/>
                      <a:gd name="connsiteX30" fmla="*/ 161137 w 342816"/>
                      <a:gd name="connsiteY30" fmla="*/ 274591 h 403597"/>
                      <a:gd name="connsiteX31" fmla="*/ 158508 w 342816"/>
                      <a:gd name="connsiteY31" fmla="*/ 268056 h 403597"/>
                      <a:gd name="connsiteX32" fmla="*/ 138887 w 342816"/>
                      <a:gd name="connsiteY32" fmla="*/ 247673 h 403597"/>
                      <a:gd name="connsiteX33" fmla="*/ 129362 w 342816"/>
                      <a:gd name="connsiteY33" fmla="*/ 219574 h 403597"/>
                      <a:gd name="connsiteX34" fmla="*/ 153365 w 342816"/>
                      <a:gd name="connsiteY34" fmla="*/ 193761 h 403597"/>
                      <a:gd name="connsiteX35" fmla="*/ 174987 w 342816"/>
                      <a:gd name="connsiteY35" fmla="*/ 187380 h 403597"/>
                      <a:gd name="connsiteX36" fmla="*/ 187369 w 342816"/>
                      <a:gd name="connsiteY36" fmla="*/ 227289 h 403597"/>
                      <a:gd name="connsiteX37" fmla="*/ 192227 w 342816"/>
                      <a:gd name="connsiteY37" fmla="*/ 239862 h 403597"/>
                      <a:gd name="connsiteX38" fmla="*/ 204800 w 342816"/>
                      <a:gd name="connsiteY38" fmla="*/ 235005 h 403597"/>
                      <a:gd name="connsiteX39" fmla="*/ 203466 w 342816"/>
                      <a:gd name="connsiteY39" fmla="*/ 192999 h 403597"/>
                      <a:gd name="connsiteX40" fmla="*/ 219564 w 342816"/>
                      <a:gd name="connsiteY40" fmla="*/ 181760 h 403597"/>
                      <a:gd name="connsiteX41" fmla="*/ 249377 w 342816"/>
                      <a:gd name="connsiteY41" fmla="*/ 192999 h 403597"/>
                      <a:gd name="connsiteX42" fmla="*/ 263760 w 342816"/>
                      <a:gd name="connsiteY42" fmla="*/ 234719 h 403597"/>
                      <a:gd name="connsiteX43" fmla="*/ 306432 w 342816"/>
                      <a:gd name="connsiteY43" fmla="*/ 246339 h 403597"/>
                      <a:gd name="connsiteX44" fmla="*/ 312147 w 342816"/>
                      <a:gd name="connsiteY44" fmla="*/ 246339 h 403597"/>
                      <a:gd name="connsiteX45" fmla="*/ 323767 w 342816"/>
                      <a:gd name="connsiteY45" fmla="*/ 257293 h 403597"/>
                      <a:gd name="connsiteX46" fmla="*/ 333292 w 342816"/>
                      <a:gd name="connsiteY46" fmla="*/ 264437 h 403597"/>
                      <a:gd name="connsiteX47" fmla="*/ 335673 w 342816"/>
                      <a:gd name="connsiteY47" fmla="*/ 264437 h 403597"/>
                      <a:gd name="connsiteX48" fmla="*/ 342531 w 342816"/>
                      <a:gd name="connsiteY48" fmla="*/ 252912 h 403597"/>
                      <a:gd name="connsiteX49" fmla="*/ 312432 w 342816"/>
                      <a:gd name="connsiteY49" fmla="*/ 227575 h 403597"/>
                      <a:gd name="connsiteX50" fmla="*/ 305955 w 342816"/>
                      <a:gd name="connsiteY50" fmla="*/ 227575 h 403597"/>
                      <a:gd name="connsiteX51" fmla="*/ 291382 w 342816"/>
                      <a:gd name="connsiteY51" fmla="*/ 227575 h 403597"/>
                      <a:gd name="connsiteX52" fmla="*/ 320624 w 342816"/>
                      <a:gd name="connsiteY52" fmla="*/ 214716 h 403597"/>
                      <a:gd name="connsiteX53" fmla="*/ 331244 w 342816"/>
                      <a:gd name="connsiteY53" fmla="*/ 206287 h 403597"/>
                      <a:gd name="connsiteX54" fmla="*/ 322815 w 342816"/>
                      <a:gd name="connsiteY54" fmla="*/ 195666 h 403597"/>
                      <a:gd name="connsiteX55" fmla="*/ 274713 w 342816"/>
                      <a:gd name="connsiteY55" fmla="*/ 218145 h 403597"/>
                      <a:gd name="connsiteX56" fmla="*/ 268713 w 342816"/>
                      <a:gd name="connsiteY56" fmla="*/ 191190 h 403597"/>
                      <a:gd name="connsiteX57" fmla="*/ 302050 w 342816"/>
                      <a:gd name="connsiteY57" fmla="*/ 165948 h 403597"/>
                      <a:gd name="connsiteX58" fmla="*/ 299478 w 342816"/>
                      <a:gd name="connsiteY58" fmla="*/ 152804 h 403597"/>
                      <a:gd name="connsiteX59" fmla="*/ 286248 w 342816"/>
                      <a:gd name="connsiteY59" fmla="*/ 155357 h 403597"/>
                      <a:gd name="connsiteX60" fmla="*/ 286239 w 342816"/>
                      <a:gd name="connsiteY60" fmla="*/ 155376 h 403597"/>
                      <a:gd name="connsiteX61" fmla="*/ 257664 w 342816"/>
                      <a:gd name="connsiteY61" fmla="*/ 174426 h 403597"/>
                      <a:gd name="connsiteX62" fmla="*/ 228327 w 342816"/>
                      <a:gd name="connsiteY62" fmla="*/ 164901 h 403597"/>
                      <a:gd name="connsiteX63" fmla="*/ 230041 w 342816"/>
                      <a:gd name="connsiteY63" fmla="*/ 143088 h 403597"/>
                      <a:gd name="connsiteX64" fmla="*/ 219373 w 342816"/>
                      <a:gd name="connsiteY64" fmla="*/ 134706 h 403597"/>
                      <a:gd name="connsiteX65" fmla="*/ 210991 w 342816"/>
                      <a:gd name="connsiteY65" fmla="*/ 145374 h 403597"/>
                      <a:gd name="connsiteX66" fmla="*/ 191941 w 342816"/>
                      <a:gd name="connsiteY66" fmla="*/ 177378 h 403597"/>
                      <a:gd name="connsiteX67" fmla="*/ 187464 w 342816"/>
                      <a:gd name="connsiteY67" fmla="*/ 173473 h 403597"/>
                      <a:gd name="connsiteX68" fmla="*/ 162509 w 342816"/>
                      <a:gd name="connsiteY68" fmla="*/ 122800 h 403597"/>
                      <a:gd name="connsiteX69" fmla="*/ 149602 w 342816"/>
                      <a:gd name="connsiteY69" fmla="*/ 126848 h 403597"/>
                      <a:gd name="connsiteX70" fmla="*/ 153651 w 342816"/>
                      <a:gd name="connsiteY70" fmla="*/ 139755 h 403597"/>
                      <a:gd name="connsiteX71" fmla="*/ 168605 w 342816"/>
                      <a:gd name="connsiteY71" fmla="*/ 170330 h 403597"/>
                      <a:gd name="connsiteX72" fmla="*/ 150317 w 342816"/>
                      <a:gd name="connsiteY72" fmla="*/ 175283 h 403597"/>
                      <a:gd name="connsiteX73" fmla="*/ 80213 w 342816"/>
                      <a:gd name="connsiteY73" fmla="*/ 129277 h 403597"/>
                      <a:gd name="connsiteX74" fmla="*/ 85642 w 342816"/>
                      <a:gd name="connsiteY74" fmla="*/ 141564 h 403597"/>
                      <a:gd name="connsiteX75" fmla="*/ 89071 w 342816"/>
                      <a:gd name="connsiteY75" fmla="*/ 142136 h 403597"/>
                      <a:gd name="connsiteX76" fmla="*/ 98025 w 342816"/>
                      <a:gd name="connsiteY76" fmla="*/ 136040 h 403597"/>
                      <a:gd name="connsiteX77" fmla="*/ 126600 w 342816"/>
                      <a:gd name="connsiteY77" fmla="*/ 61364 h 403597"/>
                      <a:gd name="connsiteX78" fmla="*/ 80499 w 342816"/>
                      <a:gd name="connsiteY78" fmla="*/ 61364 h 403597"/>
                      <a:gd name="connsiteX79" fmla="*/ 104025 w 342816"/>
                      <a:gd name="connsiteY79" fmla="*/ 13739 h 403597"/>
                      <a:gd name="connsiteX80" fmla="*/ 99672 w 342816"/>
                      <a:gd name="connsiteY80" fmla="*/ 994 h 403597"/>
                      <a:gd name="connsiteX81" fmla="*/ 99644 w 342816"/>
                      <a:gd name="connsiteY81" fmla="*/ 975 h 403597"/>
                      <a:gd name="connsiteX82" fmla="*/ 86899 w 342816"/>
                      <a:gd name="connsiteY82" fmla="*/ 5328 h 403597"/>
                      <a:gd name="connsiteX83" fmla="*/ 86880 w 342816"/>
                      <a:gd name="connsiteY83" fmla="*/ 5357 h 403597"/>
                      <a:gd name="connsiteX84" fmla="*/ 50019 w 342816"/>
                      <a:gd name="connsiteY84" fmla="*/ 80890 h 403597"/>
                      <a:gd name="connsiteX85" fmla="*/ 98882 w 342816"/>
                      <a:gd name="connsiteY85" fmla="*/ 80890 h 403597"/>
                      <a:gd name="connsiteX86" fmla="*/ 80213 w 342816"/>
                      <a:gd name="connsiteY86" fmla="*/ 129277 h 403597"/>
                      <a:gd name="connsiteX0" fmla="*/ 128409 w 342816"/>
                      <a:gd name="connsiteY0" fmla="*/ 318634 h 403597"/>
                      <a:gd name="connsiteX1" fmla="*/ 143364 w 342816"/>
                      <a:gd name="connsiteY1" fmla="*/ 403597 h 403597"/>
                      <a:gd name="connsiteX2" fmla="*/ 96596 w 342816"/>
                      <a:gd name="connsiteY2" fmla="*/ 403597 h 403597"/>
                      <a:gd name="connsiteX3" fmla="*/ 108121 w 342816"/>
                      <a:gd name="connsiteY3" fmla="*/ 326826 h 403597"/>
                      <a:gd name="connsiteX4" fmla="*/ 91833 w 342816"/>
                      <a:gd name="connsiteY4" fmla="*/ 326826 h 403597"/>
                      <a:gd name="connsiteX5" fmla="*/ 15633 w 342816"/>
                      <a:gd name="connsiteY5" fmla="*/ 281010 h 403597"/>
                      <a:gd name="connsiteX6" fmla="*/ 20205 w 342816"/>
                      <a:gd name="connsiteY6" fmla="*/ 145660 h 403597"/>
                      <a:gd name="connsiteX7" fmla="*/ 33255 w 342816"/>
                      <a:gd name="connsiteY7" fmla="*/ 142326 h 403597"/>
                      <a:gd name="connsiteX8" fmla="*/ 36588 w 342816"/>
                      <a:gd name="connsiteY8" fmla="*/ 155376 h 403597"/>
                      <a:gd name="connsiteX9" fmla="*/ 32207 w 342816"/>
                      <a:gd name="connsiteY9" fmla="*/ 271581 h 403597"/>
                      <a:gd name="connsiteX10" fmla="*/ 91833 w 342816"/>
                      <a:gd name="connsiteY10" fmla="*/ 307776 h 403597"/>
                      <a:gd name="connsiteX11" fmla="*/ 129933 w 342816"/>
                      <a:gd name="connsiteY11" fmla="*/ 307776 h 403597"/>
                      <a:gd name="connsiteX12" fmla="*/ 128409 w 342816"/>
                      <a:gd name="connsiteY12" fmla="*/ 318634 h 403597"/>
                      <a:gd name="connsiteX13" fmla="*/ 150317 w 342816"/>
                      <a:gd name="connsiteY13" fmla="*/ 175283 h 403597"/>
                      <a:gd name="connsiteX14" fmla="*/ 119075 w 342816"/>
                      <a:gd name="connsiteY14" fmla="*/ 194333 h 403597"/>
                      <a:gd name="connsiteX15" fmla="*/ 86499 w 342816"/>
                      <a:gd name="connsiteY15" fmla="*/ 176902 h 403597"/>
                      <a:gd name="connsiteX16" fmla="*/ 75165 w 342816"/>
                      <a:gd name="connsiteY16" fmla="*/ 169187 h 403597"/>
                      <a:gd name="connsiteX17" fmla="*/ 67449 w 342816"/>
                      <a:gd name="connsiteY17" fmla="*/ 180522 h 403597"/>
                      <a:gd name="connsiteX18" fmla="*/ 110788 w 342816"/>
                      <a:gd name="connsiteY18" fmla="*/ 212716 h 403597"/>
                      <a:gd name="connsiteX19" fmla="*/ 110026 w 342816"/>
                      <a:gd name="connsiteY19" fmla="*/ 218812 h 403597"/>
                      <a:gd name="connsiteX20" fmla="*/ 112884 w 342816"/>
                      <a:gd name="connsiteY20" fmla="*/ 239100 h 403597"/>
                      <a:gd name="connsiteX21" fmla="*/ 84309 w 342816"/>
                      <a:gd name="connsiteY21" fmla="*/ 246530 h 403597"/>
                      <a:gd name="connsiteX22" fmla="*/ 80975 w 342816"/>
                      <a:gd name="connsiteY22" fmla="*/ 259579 h 403597"/>
                      <a:gd name="connsiteX23" fmla="*/ 89071 w 342816"/>
                      <a:gd name="connsiteY23" fmla="*/ 264246 h 403597"/>
                      <a:gd name="connsiteX24" fmla="*/ 93738 w 342816"/>
                      <a:gd name="connsiteY24" fmla="*/ 263103 h 403597"/>
                      <a:gd name="connsiteX25" fmla="*/ 123742 w 342816"/>
                      <a:gd name="connsiteY25" fmla="*/ 260913 h 403597"/>
                      <a:gd name="connsiteX26" fmla="*/ 125647 w 342816"/>
                      <a:gd name="connsiteY26" fmla="*/ 261579 h 403597"/>
                      <a:gd name="connsiteX27" fmla="*/ 144697 w 342816"/>
                      <a:gd name="connsiteY27" fmla="*/ 281296 h 403597"/>
                      <a:gd name="connsiteX28" fmla="*/ 151650 w 342816"/>
                      <a:gd name="connsiteY28" fmla="*/ 284154 h 403597"/>
                      <a:gd name="connsiteX29" fmla="*/ 161137 w 342816"/>
                      <a:gd name="connsiteY29" fmla="*/ 274591 h 403597"/>
                      <a:gd name="connsiteX30" fmla="*/ 158508 w 342816"/>
                      <a:gd name="connsiteY30" fmla="*/ 268056 h 403597"/>
                      <a:gd name="connsiteX31" fmla="*/ 138887 w 342816"/>
                      <a:gd name="connsiteY31" fmla="*/ 247673 h 403597"/>
                      <a:gd name="connsiteX32" fmla="*/ 129362 w 342816"/>
                      <a:gd name="connsiteY32" fmla="*/ 219574 h 403597"/>
                      <a:gd name="connsiteX33" fmla="*/ 153365 w 342816"/>
                      <a:gd name="connsiteY33" fmla="*/ 193761 h 403597"/>
                      <a:gd name="connsiteX34" fmla="*/ 174987 w 342816"/>
                      <a:gd name="connsiteY34" fmla="*/ 187380 h 403597"/>
                      <a:gd name="connsiteX35" fmla="*/ 187369 w 342816"/>
                      <a:gd name="connsiteY35" fmla="*/ 227289 h 403597"/>
                      <a:gd name="connsiteX36" fmla="*/ 192227 w 342816"/>
                      <a:gd name="connsiteY36" fmla="*/ 239862 h 403597"/>
                      <a:gd name="connsiteX37" fmla="*/ 204800 w 342816"/>
                      <a:gd name="connsiteY37" fmla="*/ 235005 h 403597"/>
                      <a:gd name="connsiteX38" fmla="*/ 203466 w 342816"/>
                      <a:gd name="connsiteY38" fmla="*/ 192999 h 403597"/>
                      <a:gd name="connsiteX39" fmla="*/ 219564 w 342816"/>
                      <a:gd name="connsiteY39" fmla="*/ 181760 h 403597"/>
                      <a:gd name="connsiteX40" fmla="*/ 249377 w 342816"/>
                      <a:gd name="connsiteY40" fmla="*/ 192999 h 403597"/>
                      <a:gd name="connsiteX41" fmla="*/ 263760 w 342816"/>
                      <a:gd name="connsiteY41" fmla="*/ 234719 h 403597"/>
                      <a:gd name="connsiteX42" fmla="*/ 306432 w 342816"/>
                      <a:gd name="connsiteY42" fmla="*/ 246339 h 403597"/>
                      <a:gd name="connsiteX43" fmla="*/ 312147 w 342816"/>
                      <a:gd name="connsiteY43" fmla="*/ 246339 h 403597"/>
                      <a:gd name="connsiteX44" fmla="*/ 323767 w 342816"/>
                      <a:gd name="connsiteY44" fmla="*/ 257293 h 403597"/>
                      <a:gd name="connsiteX45" fmla="*/ 333292 w 342816"/>
                      <a:gd name="connsiteY45" fmla="*/ 264437 h 403597"/>
                      <a:gd name="connsiteX46" fmla="*/ 335673 w 342816"/>
                      <a:gd name="connsiteY46" fmla="*/ 264437 h 403597"/>
                      <a:gd name="connsiteX47" fmla="*/ 342531 w 342816"/>
                      <a:gd name="connsiteY47" fmla="*/ 252912 h 403597"/>
                      <a:gd name="connsiteX48" fmla="*/ 312432 w 342816"/>
                      <a:gd name="connsiteY48" fmla="*/ 227575 h 403597"/>
                      <a:gd name="connsiteX49" fmla="*/ 305955 w 342816"/>
                      <a:gd name="connsiteY49" fmla="*/ 227575 h 403597"/>
                      <a:gd name="connsiteX50" fmla="*/ 291382 w 342816"/>
                      <a:gd name="connsiteY50" fmla="*/ 227575 h 403597"/>
                      <a:gd name="connsiteX51" fmla="*/ 320624 w 342816"/>
                      <a:gd name="connsiteY51" fmla="*/ 214716 h 403597"/>
                      <a:gd name="connsiteX52" fmla="*/ 331244 w 342816"/>
                      <a:gd name="connsiteY52" fmla="*/ 206287 h 403597"/>
                      <a:gd name="connsiteX53" fmla="*/ 322815 w 342816"/>
                      <a:gd name="connsiteY53" fmla="*/ 195666 h 403597"/>
                      <a:gd name="connsiteX54" fmla="*/ 274713 w 342816"/>
                      <a:gd name="connsiteY54" fmla="*/ 218145 h 403597"/>
                      <a:gd name="connsiteX55" fmla="*/ 268713 w 342816"/>
                      <a:gd name="connsiteY55" fmla="*/ 191190 h 403597"/>
                      <a:gd name="connsiteX56" fmla="*/ 302050 w 342816"/>
                      <a:gd name="connsiteY56" fmla="*/ 165948 h 403597"/>
                      <a:gd name="connsiteX57" fmla="*/ 299478 w 342816"/>
                      <a:gd name="connsiteY57" fmla="*/ 152804 h 403597"/>
                      <a:gd name="connsiteX58" fmla="*/ 286248 w 342816"/>
                      <a:gd name="connsiteY58" fmla="*/ 155357 h 403597"/>
                      <a:gd name="connsiteX59" fmla="*/ 286239 w 342816"/>
                      <a:gd name="connsiteY59" fmla="*/ 155376 h 403597"/>
                      <a:gd name="connsiteX60" fmla="*/ 257664 w 342816"/>
                      <a:gd name="connsiteY60" fmla="*/ 174426 h 403597"/>
                      <a:gd name="connsiteX61" fmla="*/ 228327 w 342816"/>
                      <a:gd name="connsiteY61" fmla="*/ 164901 h 403597"/>
                      <a:gd name="connsiteX62" fmla="*/ 230041 w 342816"/>
                      <a:gd name="connsiteY62" fmla="*/ 143088 h 403597"/>
                      <a:gd name="connsiteX63" fmla="*/ 219373 w 342816"/>
                      <a:gd name="connsiteY63" fmla="*/ 134706 h 403597"/>
                      <a:gd name="connsiteX64" fmla="*/ 210991 w 342816"/>
                      <a:gd name="connsiteY64" fmla="*/ 145374 h 403597"/>
                      <a:gd name="connsiteX65" fmla="*/ 191941 w 342816"/>
                      <a:gd name="connsiteY65" fmla="*/ 177378 h 403597"/>
                      <a:gd name="connsiteX66" fmla="*/ 187464 w 342816"/>
                      <a:gd name="connsiteY66" fmla="*/ 173473 h 403597"/>
                      <a:gd name="connsiteX67" fmla="*/ 162509 w 342816"/>
                      <a:gd name="connsiteY67" fmla="*/ 122800 h 403597"/>
                      <a:gd name="connsiteX68" fmla="*/ 149602 w 342816"/>
                      <a:gd name="connsiteY68" fmla="*/ 126848 h 403597"/>
                      <a:gd name="connsiteX69" fmla="*/ 153651 w 342816"/>
                      <a:gd name="connsiteY69" fmla="*/ 139755 h 403597"/>
                      <a:gd name="connsiteX70" fmla="*/ 168605 w 342816"/>
                      <a:gd name="connsiteY70" fmla="*/ 170330 h 403597"/>
                      <a:gd name="connsiteX71" fmla="*/ 150317 w 342816"/>
                      <a:gd name="connsiteY71" fmla="*/ 175283 h 403597"/>
                      <a:gd name="connsiteX72" fmla="*/ 80213 w 342816"/>
                      <a:gd name="connsiteY72" fmla="*/ 129277 h 403597"/>
                      <a:gd name="connsiteX73" fmla="*/ 85642 w 342816"/>
                      <a:gd name="connsiteY73" fmla="*/ 141564 h 403597"/>
                      <a:gd name="connsiteX74" fmla="*/ 89071 w 342816"/>
                      <a:gd name="connsiteY74" fmla="*/ 142136 h 403597"/>
                      <a:gd name="connsiteX75" fmla="*/ 98025 w 342816"/>
                      <a:gd name="connsiteY75" fmla="*/ 136040 h 403597"/>
                      <a:gd name="connsiteX76" fmla="*/ 126600 w 342816"/>
                      <a:gd name="connsiteY76" fmla="*/ 61364 h 403597"/>
                      <a:gd name="connsiteX77" fmla="*/ 80499 w 342816"/>
                      <a:gd name="connsiteY77" fmla="*/ 61364 h 403597"/>
                      <a:gd name="connsiteX78" fmla="*/ 104025 w 342816"/>
                      <a:gd name="connsiteY78" fmla="*/ 13739 h 403597"/>
                      <a:gd name="connsiteX79" fmla="*/ 99672 w 342816"/>
                      <a:gd name="connsiteY79" fmla="*/ 994 h 403597"/>
                      <a:gd name="connsiteX80" fmla="*/ 99644 w 342816"/>
                      <a:gd name="connsiteY80" fmla="*/ 975 h 403597"/>
                      <a:gd name="connsiteX81" fmla="*/ 86899 w 342816"/>
                      <a:gd name="connsiteY81" fmla="*/ 5328 h 403597"/>
                      <a:gd name="connsiteX82" fmla="*/ 86880 w 342816"/>
                      <a:gd name="connsiteY82" fmla="*/ 5357 h 403597"/>
                      <a:gd name="connsiteX83" fmla="*/ 50019 w 342816"/>
                      <a:gd name="connsiteY83" fmla="*/ 80890 h 403597"/>
                      <a:gd name="connsiteX84" fmla="*/ 98882 w 342816"/>
                      <a:gd name="connsiteY84" fmla="*/ 80890 h 403597"/>
                      <a:gd name="connsiteX85" fmla="*/ 80213 w 342816"/>
                      <a:gd name="connsiteY85" fmla="*/ 129277 h 403597"/>
                      <a:gd name="connsiteX0" fmla="*/ 128409 w 342816"/>
                      <a:gd name="connsiteY0" fmla="*/ 318634 h 403597"/>
                      <a:gd name="connsiteX1" fmla="*/ 143364 w 342816"/>
                      <a:gd name="connsiteY1" fmla="*/ 403597 h 403597"/>
                      <a:gd name="connsiteX2" fmla="*/ 108121 w 342816"/>
                      <a:gd name="connsiteY2" fmla="*/ 326826 h 403597"/>
                      <a:gd name="connsiteX3" fmla="*/ 91833 w 342816"/>
                      <a:gd name="connsiteY3" fmla="*/ 326826 h 403597"/>
                      <a:gd name="connsiteX4" fmla="*/ 15633 w 342816"/>
                      <a:gd name="connsiteY4" fmla="*/ 281010 h 403597"/>
                      <a:gd name="connsiteX5" fmla="*/ 20205 w 342816"/>
                      <a:gd name="connsiteY5" fmla="*/ 145660 h 403597"/>
                      <a:gd name="connsiteX6" fmla="*/ 33255 w 342816"/>
                      <a:gd name="connsiteY6" fmla="*/ 142326 h 403597"/>
                      <a:gd name="connsiteX7" fmla="*/ 36588 w 342816"/>
                      <a:gd name="connsiteY7" fmla="*/ 155376 h 403597"/>
                      <a:gd name="connsiteX8" fmla="*/ 32207 w 342816"/>
                      <a:gd name="connsiteY8" fmla="*/ 271581 h 403597"/>
                      <a:gd name="connsiteX9" fmla="*/ 91833 w 342816"/>
                      <a:gd name="connsiteY9" fmla="*/ 307776 h 403597"/>
                      <a:gd name="connsiteX10" fmla="*/ 129933 w 342816"/>
                      <a:gd name="connsiteY10" fmla="*/ 307776 h 403597"/>
                      <a:gd name="connsiteX11" fmla="*/ 128409 w 342816"/>
                      <a:gd name="connsiteY11" fmla="*/ 318634 h 403597"/>
                      <a:gd name="connsiteX12" fmla="*/ 150317 w 342816"/>
                      <a:gd name="connsiteY12" fmla="*/ 175283 h 403597"/>
                      <a:gd name="connsiteX13" fmla="*/ 119075 w 342816"/>
                      <a:gd name="connsiteY13" fmla="*/ 194333 h 403597"/>
                      <a:gd name="connsiteX14" fmla="*/ 86499 w 342816"/>
                      <a:gd name="connsiteY14" fmla="*/ 176902 h 403597"/>
                      <a:gd name="connsiteX15" fmla="*/ 75165 w 342816"/>
                      <a:gd name="connsiteY15" fmla="*/ 169187 h 403597"/>
                      <a:gd name="connsiteX16" fmla="*/ 67449 w 342816"/>
                      <a:gd name="connsiteY16" fmla="*/ 180522 h 403597"/>
                      <a:gd name="connsiteX17" fmla="*/ 110788 w 342816"/>
                      <a:gd name="connsiteY17" fmla="*/ 212716 h 403597"/>
                      <a:gd name="connsiteX18" fmla="*/ 110026 w 342816"/>
                      <a:gd name="connsiteY18" fmla="*/ 218812 h 403597"/>
                      <a:gd name="connsiteX19" fmla="*/ 112884 w 342816"/>
                      <a:gd name="connsiteY19" fmla="*/ 239100 h 403597"/>
                      <a:gd name="connsiteX20" fmla="*/ 84309 w 342816"/>
                      <a:gd name="connsiteY20" fmla="*/ 246530 h 403597"/>
                      <a:gd name="connsiteX21" fmla="*/ 80975 w 342816"/>
                      <a:gd name="connsiteY21" fmla="*/ 259579 h 403597"/>
                      <a:gd name="connsiteX22" fmla="*/ 89071 w 342816"/>
                      <a:gd name="connsiteY22" fmla="*/ 264246 h 403597"/>
                      <a:gd name="connsiteX23" fmla="*/ 93738 w 342816"/>
                      <a:gd name="connsiteY23" fmla="*/ 263103 h 403597"/>
                      <a:gd name="connsiteX24" fmla="*/ 123742 w 342816"/>
                      <a:gd name="connsiteY24" fmla="*/ 260913 h 403597"/>
                      <a:gd name="connsiteX25" fmla="*/ 125647 w 342816"/>
                      <a:gd name="connsiteY25" fmla="*/ 261579 h 403597"/>
                      <a:gd name="connsiteX26" fmla="*/ 144697 w 342816"/>
                      <a:gd name="connsiteY26" fmla="*/ 281296 h 403597"/>
                      <a:gd name="connsiteX27" fmla="*/ 151650 w 342816"/>
                      <a:gd name="connsiteY27" fmla="*/ 284154 h 403597"/>
                      <a:gd name="connsiteX28" fmla="*/ 161137 w 342816"/>
                      <a:gd name="connsiteY28" fmla="*/ 274591 h 403597"/>
                      <a:gd name="connsiteX29" fmla="*/ 158508 w 342816"/>
                      <a:gd name="connsiteY29" fmla="*/ 268056 h 403597"/>
                      <a:gd name="connsiteX30" fmla="*/ 138887 w 342816"/>
                      <a:gd name="connsiteY30" fmla="*/ 247673 h 403597"/>
                      <a:gd name="connsiteX31" fmla="*/ 129362 w 342816"/>
                      <a:gd name="connsiteY31" fmla="*/ 219574 h 403597"/>
                      <a:gd name="connsiteX32" fmla="*/ 153365 w 342816"/>
                      <a:gd name="connsiteY32" fmla="*/ 193761 h 403597"/>
                      <a:gd name="connsiteX33" fmla="*/ 174987 w 342816"/>
                      <a:gd name="connsiteY33" fmla="*/ 187380 h 403597"/>
                      <a:gd name="connsiteX34" fmla="*/ 187369 w 342816"/>
                      <a:gd name="connsiteY34" fmla="*/ 227289 h 403597"/>
                      <a:gd name="connsiteX35" fmla="*/ 192227 w 342816"/>
                      <a:gd name="connsiteY35" fmla="*/ 239862 h 403597"/>
                      <a:gd name="connsiteX36" fmla="*/ 204800 w 342816"/>
                      <a:gd name="connsiteY36" fmla="*/ 235005 h 403597"/>
                      <a:gd name="connsiteX37" fmla="*/ 203466 w 342816"/>
                      <a:gd name="connsiteY37" fmla="*/ 192999 h 403597"/>
                      <a:gd name="connsiteX38" fmla="*/ 219564 w 342816"/>
                      <a:gd name="connsiteY38" fmla="*/ 181760 h 403597"/>
                      <a:gd name="connsiteX39" fmla="*/ 249377 w 342816"/>
                      <a:gd name="connsiteY39" fmla="*/ 192999 h 403597"/>
                      <a:gd name="connsiteX40" fmla="*/ 263760 w 342816"/>
                      <a:gd name="connsiteY40" fmla="*/ 234719 h 403597"/>
                      <a:gd name="connsiteX41" fmla="*/ 306432 w 342816"/>
                      <a:gd name="connsiteY41" fmla="*/ 246339 h 403597"/>
                      <a:gd name="connsiteX42" fmla="*/ 312147 w 342816"/>
                      <a:gd name="connsiteY42" fmla="*/ 246339 h 403597"/>
                      <a:gd name="connsiteX43" fmla="*/ 323767 w 342816"/>
                      <a:gd name="connsiteY43" fmla="*/ 257293 h 403597"/>
                      <a:gd name="connsiteX44" fmla="*/ 333292 w 342816"/>
                      <a:gd name="connsiteY44" fmla="*/ 264437 h 403597"/>
                      <a:gd name="connsiteX45" fmla="*/ 335673 w 342816"/>
                      <a:gd name="connsiteY45" fmla="*/ 264437 h 403597"/>
                      <a:gd name="connsiteX46" fmla="*/ 342531 w 342816"/>
                      <a:gd name="connsiteY46" fmla="*/ 252912 h 403597"/>
                      <a:gd name="connsiteX47" fmla="*/ 312432 w 342816"/>
                      <a:gd name="connsiteY47" fmla="*/ 227575 h 403597"/>
                      <a:gd name="connsiteX48" fmla="*/ 305955 w 342816"/>
                      <a:gd name="connsiteY48" fmla="*/ 227575 h 403597"/>
                      <a:gd name="connsiteX49" fmla="*/ 291382 w 342816"/>
                      <a:gd name="connsiteY49" fmla="*/ 227575 h 403597"/>
                      <a:gd name="connsiteX50" fmla="*/ 320624 w 342816"/>
                      <a:gd name="connsiteY50" fmla="*/ 214716 h 403597"/>
                      <a:gd name="connsiteX51" fmla="*/ 331244 w 342816"/>
                      <a:gd name="connsiteY51" fmla="*/ 206287 h 403597"/>
                      <a:gd name="connsiteX52" fmla="*/ 322815 w 342816"/>
                      <a:gd name="connsiteY52" fmla="*/ 195666 h 403597"/>
                      <a:gd name="connsiteX53" fmla="*/ 274713 w 342816"/>
                      <a:gd name="connsiteY53" fmla="*/ 218145 h 403597"/>
                      <a:gd name="connsiteX54" fmla="*/ 268713 w 342816"/>
                      <a:gd name="connsiteY54" fmla="*/ 191190 h 403597"/>
                      <a:gd name="connsiteX55" fmla="*/ 302050 w 342816"/>
                      <a:gd name="connsiteY55" fmla="*/ 165948 h 403597"/>
                      <a:gd name="connsiteX56" fmla="*/ 299478 w 342816"/>
                      <a:gd name="connsiteY56" fmla="*/ 152804 h 403597"/>
                      <a:gd name="connsiteX57" fmla="*/ 286248 w 342816"/>
                      <a:gd name="connsiteY57" fmla="*/ 155357 h 403597"/>
                      <a:gd name="connsiteX58" fmla="*/ 286239 w 342816"/>
                      <a:gd name="connsiteY58" fmla="*/ 155376 h 403597"/>
                      <a:gd name="connsiteX59" fmla="*/ 257664 w 342816"/>
                      <a:gd name="connsiteY59" fmla="*/ 174426 h 403597"/>
                      <a:gd name="connsiteX60" fmla="*/ 228327 w 342816"/>
                      <a:gd name="connsiteY60" fmla="*/ 164901 h 403597"/>
                      <a:gd name="connsiteX61" fmla="*/ 230041 w 342816"/>
                      <a:gd name="connsiteY61" fmla="*/ 143088 h 403597"/>
                      <a:gd name="connsiteX62" fmla="*/ 219373 w 342816"/>
                      <a:gd name="connsiteY62" fmla="*/ 134706 h 403597"/>
                      <a:gd name="connsiteX63" fmla="*/ 210991 w 342816"/>
                      <a:gd name="connsiteY63" fmla="*/ 145374 h 403597"/>
                      <a:gd name="connsiteX64" fmla="*/ 191941 w 342816"/>
                      <a:gd name="connsiteY64" fmla="*/ 177378 h 403597"/>
                      <a:gd name="connsiteX65" fmla="*/ 187464 w 342816"/>
                      <a:gd name="connsiteY65" fmla="*/ 173473 h 403597"/>
                      <a:gd name="connsiteX66" fmla="*/ 162509 w 342816"/>
                      <a:gd name="connsiteY66" fmla="*/ 122800 h 403597"/>
                      <a:gd name="connsiteX67" fmla="*/ 149602 w 342816"/>
                      <a:gd name="connsiteY67" fmla="*/ 126848 h 403597"/>
                      <a:gd name="connsiteX68" fmla="*/ 153651 w 342816"/>
                      <a:gd name="connsiteY68" fmla="*/ 139755 h 403597"/>
                      <a:gd name="connsiteX69" fmla="*/ 168605 w 342816"/>
                      <a:gd name="connsiteY69" fmla="*/ 170330 h 403597"/>
                      <a:gd name="connsiteX70" fmla="*/ 150317 w 342816"/>
                      <a:gd name="connsiteY70" fmla="*/ 175283 h 403597"/>
                      <a:gd name="connsiteX71" fmla="*/ 80213 w 342816"/>
                      <a:gd name="connsiteY71" fmla="*/ 129277 h 403597"/>
                      <a:gd name="connsiteX72" fmla="*/ 85642 w 342816"/>
                      <a:gd name="connsiteY72" fmla="*/ 141564 h 403597"/>
                      <a:gd name="connsiteX73" fmla="*/ 89071 w 342816"/>
                      <a:gd name="connsiteY73" fmla="*/ 142136 h 403597"/>
                      <a:gd name="connsiteX74" fmla="*/ 98025 w 342816"/>
                      <a:gd name="connsiteY74" fmla="*/ 136040 h 403597"/>
                      <a:gd name="connsiteX75" fmla="*/ 126600 w 342816"/>
                      <a:gd name="connsiteY75" fmla="*/ 61364 h 403597"/>
                      <a:gd name="connsiteX76" fmla="*/ 80499 w 342816"/>
                      <a:gd name="connsiteY76" fmla="*/ 61364 h 403597"/>
                      <a:gd name="connsiteX77" fmla="*/ 104025 w 342816"/>
                      <a:gd name="connsiteY77" fmla="*/ 13739 h 403597"/>
                      <a:gd name="connsiteX78" fmla="*/ 99672 w 342816"/>
                      <a:gd name="connsiteY78" fmla="*/ 994 h 403597"/>
                      <a:gd name="connsiteX79" fmla="*/ 99644 w 342816"/>
                      <a:gd name="connsiteY79" fmla="*/ 975 h 403597"/>
                      <a:gd name="connsiteX80" fmla="*/ 86899 w 342816"/>
                      <a:gd name="connsiteY80" fmla="*/ 5328 h 403597"/>
                      <a:gd name="connsiteX81" fmla="*/ 86880 w 342816"/>
                      <a:gd name="connsiteY81" fmla="*/ 5357 h 403597"/>
                      <a:gd name="connsiteX82" fmla="*/ 50019 w 342816"/>
                      <a:gd name="connsiteY82" fmla="*/ 80890 h 403597"/>
                      <a:gd name="connsiteX83" fmla="*/ 98882 w 342816"/>
                      <a:gd name="connsiteY83" fmla="*/ 80890 h 403597"/>
                      <a:gd name="connsiteX84" fmla="*/ 80213 w 342816"/>
                      <a:gd name="connsiteY84" fmla="*/ 129277 h 403597"/>
                      <a:gd name="connsiteX0" fmla="*/ 128409 w 342816"/>
                      <a:gd name="connsiteY0" fmla="*/ 318634 h 326826"/>
                      <a:gd name="connsiteX1" fmla="*/ 108121 w 342816"/>
                      <a:gd name="connsiteY1" fmla="*/ 326826 h 326826"/>
                      <a:gd name="connsiteX2" fmla="*/ 91833 w 342816"/>
                      <a:gd name="connsiteY2" fmla="*/ 326826 h 326826"/>
                      <a:gd name="connsiteX3" fmla="*/ 15633 w 342816"/>
                      <a:gd name="connsiteY3" fmla="*/ 281010 h 326826"/>
                      <a:gd name="connsiteX4" fmla="*/ 20205 w 342816"/>
                      <a:gd name="connsiteY4" fmla="*/ 145660 h 326826"/>
                      <a:gd name="connsiteX5" fmla="*/ 33255 w 342816"/>
                      <a:gd name="connsiteY5" fmla="*/ 142326 h 326826"/>
                      <a:gd name="connsiteX6" fmla="*/ 36588 w 342816"/>
                      <a:gd name="connsiteY6" fmla="*/ 155376 h 326826"/>
                      <a:gd name="connsiteX7" fmla="*/ 32207 w 342816"/>
                      <a:gd name="connsiteY7" fmla="*/ 271581 h 326826"/>
                      <a:gd name="connsiteX8" fmla="*/ 91833 w 342816"/>
                      <a:gd name="connsiteY8" fmla="*/ 307776 h 326826"/>
                      <a:gd name="connsiteX9" fmla="*/ 129933 w 342816"/>
                      <a:gd name="connsiteY9" fmla="*/ 307776 h 326826"/>
                      <a:gd name="connsiteX10" fmla="*/ 128409 w 342816"/>
                      <a:gd name="connsiteY10" fmla="*/ 318634 h 326826"/>
                      <a:gd name="connsiteX11" fmla="*/ 150317 w 342816"/>
                      <a:gd name="connsiteY11" fmla="*/ 175283 h 326826"/>
                      <a:gd name="connsiteX12" fmla="*/ 119075 w 342816"/>
                      <a:gd name="connsiteY12" fmla="*/ 194333 h 326826"/>
                      <a:gd name="connsiteX13" fmla="*/ 86499 w 342816"/>
                      <a:gd name="connsiteY13" fmla="*/ 176902 h 326826"/>
                      <a:gd name="connsiteX14" fmla="*/ 75165 w 342816"/>
                      <a:gd name="connsiteY14" fmla="*/ 169187 h 326826"/>
                      <a:gd name="connsiteX15" fmla="*/ 67449 w 342816"/>
                      <a:gd name="connsiteY15" fmla="*/ 180522 h 326826"/>
                      <a:gd name="connsiteX16" fmla="*/ 110788 w 342816"/>
                      <a:gd name="connsiteY16" fmla="*/ 212716 h 326826"/>
                      <a:gd name="connsiteX17" fmla="*/ 110026 w 342816"/>
                      <a:gd name="connsiteY17" fmla="*/ 218812 h 326826"/>
                      <a:gd name="connsiteX18" fmla="*/ 112884 w 342816"/>
                      <a:gd name="connsiteY18" fmla="*/ 239100 h 326826"/>
                      <a:gd name="connsiteX19" fmla="*/ 84309 w 342816"/>
                      <a:gd name="connsiteY19" fmla="*/ 246530 h 326826"/>
                      <a:gd name="connsiteX20" fmla="*/ 80975 w 342816"/>
                      <a:gd name="connsiteY20" fmla="*/ 259579 h 326826"/>
                      <a:gd name="connsiteX21" fmla="*/ 89071 w 342816"/>
                      <a:gd name="connsiteY21" fmla="*/ 264246 h 326826"/>
                      <a:gd name="connsiteX22" fmla="*/ 93738 w 342816"/>
                      <a:gd name="connsiteY22" fmla="*/ 263103 h 326826"/>
                      <a:gd name="connsiteX23" fmla="*/ 123742 w 342816"/>
                      <a:gd name="connsiteY23" fmla="*/ 260913 h 326826"/>
                      <a:gd name="connsiteX24" fmla="*/ 125647 w 342816"/>
                      <a:gd name="connsiteY24" fmla="*/ 261579 h 326826"/>
                      <a:gd name="connsiteX25" fmla="*/ 144697 w 342816"/>
                      <a:gd name="connsiteY25" fmla="*/ 281296 h 326826"/>
                      <a:gd name="connsiteX26" fmla="*/ 151650 w 342816"/>
                      <a:gd name="connsiteY26" fmla="*/ 284154 h 326826"/>
                      <a:gd name="connsiteX27" fmla="*/ 161137 w 342816"/>
                      <a:gd name="connsiteY27" fmla="*/ 274591 h 326826"/>
                      <a:gd name="connsiteX28" fmla="*/ 158508 w 342816"/>
                      <a:gd name="connsiteY28" fmla="*/ 268056 h 326826"/>
                      <a:gd name="connsiteX29" fmla="*/ 138887 w 342816"/>
                      <a:gd name="connsiteY29" fmla="*/ 247673 h 326826"/>
                      <a:gd name="connsiteX30" fmla="*/ 129362 w 342816"/>
                      <a:gd name="connsiteY30" fmla="*/ 219574 h 326826"/>
                      <a:gd name="connsiteX31" fmla="*/ 153365 w 342816"/>
                      <a:gd name="connsiteY31" fmla="*/ 193761 h 326826"/>
                      <a:gd name="connsiteX32" fmla="*/ 174987 w 342816"/>
                      <a:gd name="connsiteY32" fmla="*/ 187380 h 326826"/>
                      <a:gd name="connsiteX33" fmla="*/ 187369 w 342816"/>
                      <a:gd name="connsiteY33" fmla="*/ 227289 h 326826"/>
                      <a:gd name="connsiteX34" fmla="*/ 192227 w 342816"/>
                      <a:gd name="connsiteY34" fmla="*/ 239862 h 326826"/>
                      <a:gd name="connsiteX35" fmla="*/ 204800 w 342816"/>
                      <a:gd name="connsiteY35" fmla="*/ 235005 h 326826"/>
                      <a:gd name="connsiteX36" fmla="*/ 203466 w 342816"/>
                      <a:gd name="connsiteY36" fmla="*/ 192999 h 326826"/>
                      <a:gd name="connsiteX37" fmla="*/ 219564 w 342816"/>
                      <a:gd name="connsiteY37" fmla="*/ 181760 h 326826"/>
                      <a:gd name="connsiteX38" fmla="*/ 249377 w 342816"/>
                      <a:gd name="connsiteY38" fmla="*/ 192999 h 326826"/>
                      <a:gd name="connsiteX39" fmla="*/ 263760 w 342816"/>
                      <a:gd name="connsiteY39" fmla="*/ 234719 h 326826"/>
                      <a:gd name="connsiteX40" fmla="*/ 306432 w 342816"/>
                      <a:gd name="connsiteY40" fmla="*/ 246339 h 326826"/>
                      <a:gd name="connsiteX41" fmla="*/ 312147 w 342816"/>
                      <a:gd name="connsiteY41" fmla="*/ 246339 h 326826"/>
                      <a:gd name="connsiteX42" fmla="*/ 323767 w 342816"/>
                      <a:gd name="connsiteY42" fmla="*/ 257293 h 326826"/>
                      <a:gd name="connsiteX43" fmla="*/ 333292 w 342816"/>
                      <a:gd name="connsiteY43" fmla="*/ 264437 h 326826"/>
                      <a:gd name="connsiteX44" fmla="*/ 335673 w 342816"/>
                      <a:gd name="connsiteY44" fmla="*/ 264437 h 326826"/>
                      <a:gd name="connsiteX45" fmla="*/ 342531 w 342816"/>
                      <a:gd name="connsiteY45" fmla="*/ 252912 h 326826"/>
                      <a:gd name="connsiteX46" fmla="*/ 312432 w 342816"/>
                      <a:gd name="connsiteY46" fmla="*/ 227575 h 326826"/>
                      <a:gd name="connsiteX47" fmla="*/ 305955 w 342816"/>
                      <a:gd name="connsiteY47" fmla="*/ 227575 h 326826"/>
                      <a:gd name="connsiteX48" fmla="*/ 291382 w 342816"/>
                      <a:gd name="connsiteY48" fmla="*/ 227575 h 326826"/>
                      <a:gd name="connsiteX49" fmla="*/ 320624 w 342816"/>
                      <a:gd name="connsiteY49" fmla="*/ 214716 h 326826"/>
                      <a:gd name="connsiteX50" fmla="*/ 331244 w 342816"/>
                      <a:gd name="connsiteY50" fmla="*/ 206287 h 326826"/>
                      <a:gd name="connsiteX51" fmla="*/ 322815 w 342816"/>
                      <a:gd name="connsiteY51" fmla="*/ 195666 h 326826"/>
                      <a:gd name="connsiteX52" fmla="*/ 274713 w 342816"/>
                      <a:gd name="connsiteY52" fmla="*/ 218145 h 326826"/>
                      <a:gd name="connsiteX53" fmla="*/ 268713 w 342816"/>
                      <a:gd name="connsiteY53" fmla="*/ 191190 h 326826"/>
                      <a:gd name="connsiteX54" fmla="*/ 302050 w 342816"/>
                      <a:gd name="connsiteY54" fmla="*/ 165948 h 326826"/>
                      <a:gd name="connsiteX55" fmla="*/ 299478 w 342816"/>
                      <a:gd name="connsiteY55" fmla="*/ 152804 h 326826"/>
                      <a:gd name="connsiteX56" fmla="*/ 286248 w 342816"/>
                      <a:gd name="connsiteY56" fmla="*/ 155357 h 326826"/>
                      <a:gd name="connsiteX57" fmla="*/ 286239 w 342816"/>
                      <a:gd name="connsiteY57" fmla="*/ 155376 h 326826"/>
                      <a:gd name="connsiteX58" fmla="*/ 257664 w 342816"/>
                      <a:gd name="connsiteY58" fmla="*/ 174426 h 326826"/>
                      <a:gd name="connsiteX59" fmla="*/ 228327 w 342816"/>
                      <a:gd name="connsiteY59" fmla="*/ 164901 h 326826"/>
                      <a:gd name="connsiteX60" fmla="*/ 230041 w 342816"/>
                      <a:gd name="connsiteY60" fmla="*/ 143088 h 326826"/>
                      <a:gd name="connsiteX61" fmla="*/ 219373 w 342816"/>
                      <a:gd name="connsiteY61" fmla="*/ 134706 h 326826"/>
                      <a:gd name="connsiteX62" fmla="*/ 210991 w 342816"/>
                      <a:gd name="connsiteY62" fmla="*/ 145374 h 326826"/>
                      <a:gd name="connsiteX63" fmla="*/ 191941 w 342816"/>
                      <a:gd name="connsiteY63" fmla="*/ 177378 h 326826"/>
                      <a:gd name="connsiteX64" fmla="*/ 187464 w 342816"/>
                      <a:gd name="connsiteY64" fmla="*/ 173473 h 326826"/>
                      <a:gd name="connsiteX65" fmla="*/ 162509 w 342816"/>
                      <a:gd name="connsiteY65" fmla="*/ 122800 h 326826"/>
                      <a:gd name="connsiteX66" fmla="*/ 149602 w 342816"/>
                      <a:gd name="connsiteY66" fmla="*/ 126848 h 326826"/>
                      <a:gd name="connsiteX67" fmla="*/ 153651 w 342816"/>
                      <a:gd name="connsiteY67" fmla="*/ 139755 h 326826"/>
                      <a:gd name="connsiteX68" fmla="*/ 168605 w 342816"/>
                      <a:gd name="connsiteY68" fmla="*/ 170330 h 326826"/>
                      <a:gd name="connsiteX69" fmla="*/ 150317 w 342816"/>
                      <a:gd name="connsiteY69" fmla="*/ 175283 h 326826"/>
                      <a:gd name="connsiteX70" fmla="*/ 80213 w 342816"/>
                      <a:gd name="connsiteY70" fmla="*/ 129277 h 326826"/>
                      <a:gd name="connsiteX71" fmla="*/ 85642 w 342816"/>
                      <a:gd name="connsiteY71" fmla="*/ 141564 h 326826"/>
                      <a:gd name="connsiteX72" fmla="*/ 89071 w 342816"/>
                      <a:gd name="connsiteY72" fmla="*/ 142136 h 326826"/>
                      <a:gd name="connsiteX73" fmla="*/ 98025 w 342816"/>
                      <a:gd name="connsiteY73" fmla="*/ 136040 h 326826"/>
                      <a:gd name="connsiteX74" fmla="*/ 126600 w 342816"/>
                      <a:gd name="connsiteY74" fmla="*/ 61364 h 326826"/>
                      <a:gd name="connsiteX75" fmla="*/ 80499 w 342816"/>
                      <a:gd name="connsiteY75" fmla="*/ 61364 h 326826"/>
                      <a:gd name="connsiteX76" fmla="*/ 104025 w 342816"/>
                      <a:gd name="connsiteY76" fmla="*/ 13739 h 326826"/>
                      <a:gd name="connsiteX77" fmla="*/ 99672 w 342816"/>
                      <a:gd name="connsiteY77" fmla="*/ 994 h 326826"/>
                      <a:gd name="connsiteX78" fmla="*/ 99644 w 342816"/>
                      <a:gd name="connsiteY78" fmla="*/ 975 h 326826"/>
                      <a:gd name="connsiteX79" fmla="*/ 86899 w 342816"/>
                      <a:gd name="connsiteY79" fmla="*/ 5328 h 326826"/>
                      <a:gd name="connsiteX80" fmla="*/ 86880 w 342816"/>
                      <a:gd name="connsiteY80" fmla="*/ 5357 h 326826"/>
                      <a:gd name="connsiteX81" fmla="*/ 50019 w 342816"/>
                      <a:gd name="connsiteY81" fmla="*/ 80890 h 326826"/>
                      <a:gd name="connsiteX82" fmla="*/ 98882 w 342816"/>
                      <a:gd name="connsiteY82" fmla="*/ 80890 h 326826"/>
                      <a:gd name="connsiteX83" fmla="*/ 80213 w 342816"/>
                      <a:gd name="connsiteY83" fmla="*/ 129277 h 326826"/>
                      <a:gd name="connsiteX0" fmla="*/ 129933 w 342816"/>
                      <a:gd name="connsiteY0" fmla="*/ 307776 h 326826"/>
                      <a:gd name="connsiteX1" fmla="*/ 108121 w 342816"/>
                      <a:gd name="connsiteY1" fmla="*/ 326826 h 326826"/>
                      <a:gd name="connsiteX2" fmla="*/ 91833 w 342816"/>
                      <a:gd name="connsiteY2" fmla="*/ 326826 h 326826"/>
                      <a:gd name="connsiteX3" fmla="*/ 15633 w 342816"/>
                      <a:gd name="connsiteY3" fmla="*/ 281010 h 326826"/>
                      <a:gd name="connsiteX4" fmla="*/ 20205 w 342816"/>
                      <a:gd name="connsiteY4" fmla="*/ 145660 h 326826"/>
                      <a:gd name="connsiteX5" fmla="*/ 33255 w 342816"/>
                      <a:gd name="connsiteY5" fmla="*/ 142326 h 326826"/>
                      <a:gd name="connsiteX6" fmla="*/ 36588 w 342816"/>
                      <a:gd name="connsiteY6" fmla="*/ 155376 h 326826"/>
                      <a:gd name="connsiteX7" fmla="*/ 32207 w 342816"/>
                      <a:gd name="connsiteY7" fmla="*/ 271581 h 326826"/>
                      <a:gd name="connsiteX8" fmla="*/ 91833 w 342816"/>
                      <a:gd name="connsiteY8" fmla="*/ 307776 h 326826"/>
                      <a:gd name="connsiteX9" fmla="*/ 129933 w 342816"/>
                      <a:gd name="connsiteY9" fmla="*/ 307776 h 326826"/>
                      <a:gd name="connsiteX10" fmla="*/ 150317 w 342816"/>
                      <a:gd name="connsiteY10" fmla="*/ 175283 h 326826"/>
                      <a:gd name="connsiteX11" fmla="*/ 119075 w 342816"/>
                      <a:gd name="connsiteY11" fmla="*/ 194333 h 326826"/>
                      <a:gd name="connsiteX12" fmla="*/ 86499 w 342816"/>
                      <a:gd name="connsiteY12" fmla="*/ 176902 h 326826"/>
                      <a:gd name="connsiteX13" fmla="*/ 75165 w 342816"/>
                      <a:gd name="connsiteY13" fmla="*/ 169187 h 326826"/>
                      <a:gd name="connsiteX14" fmla="*/ 67449 w 342816"/>
                      <a:gd name="connsiteY14" fmla="*/ 180522 h 326826"/>
                      <a:gd name="connsiteX15" fmla="*/ 110788 w 342816"/>
                      <a:gd name="connsiteY15" fmla="*/ 212716 h 326826"/>
                      <a:gd name="connsiteX16" fmla="*/ 110026 w 342816"/>
                      <a:gd name="connsiteY16" fmla="*/ 218812 h 326826"/>
                      <a:gd name="connsiteX17" fmla="*/ 112884 w 342816"/>
                      <a:gd name="connsiteY17" fmla="*/ 239100 h 326826"/>
                      <a:gd name="connsiteX18" fmla="*/ 84309 w 342816"/>
                      <a:gd name="connsiteY18" fmla="*/ 246530 h 326826"/>
                      <a:gd name="connsiteX19" fmla="*/ 80975 w 342816"/>
                      <a:gd name="connsiteY19" fmla="*/ 259579 h 326826"/>
                      <a:gd name="connsiteX20" fmla="*/ 89071 w 342816"/>
                      <a:gd name="connsiteY20" fmla="*/ 264246 h 326826"/>
                      <a:gd name="connsiteX21" fmla="*/ 93738 w 342816"/>
                      <a:gd name="connsiteY21" fmla="*/ 263103 h 326826"/>
                      <a:gd name="connsiteX22" fmla="*/ 123742 w 342816"/>
                      <a:gd name="connsiteY22" fmla="*/ 260913 h 326826"/>
                      <a:gd name="connsiteX23" fmla="*/ 125647 w 342816"/>
                      <a:gd name="connsiteY23" fmla="*/ 261579 h 326826"/>
                      <a:gd name="connsiteX24" fmla="*/ 144697 w 342816"/>
                      <a:gd name="connsiteY24" fmla="*/ 281296 h 326826"/>
                      <a:gd name="connsiteX25" fmla="*/ 151650 w 342816"/>
                      <a:gd name="connsiteY25" fmla="*/ 284154 h 326826"/>
                      <a:gd name="connsiteX26" fmla="*/ 161137 w 342816"/>
                      <a:gd name="connsiteY26" fmla="*/ 274591 h 326826"/>
                      <a:gd name="connsiteX27" fmla="*/ 158508 w 342816"/>
                      <a:gd name="connsiteY27" fmla="*/ 268056 h 326826"/>
                      <a:gd name="connsiteX28" fmla="*/ 138887 w 342816"/>
                      <a:gd name="connsiteY28" fmla="*/ 247673 h 326826"/>
                      <a:gd name="connsiteX29" fmla="*/ 129362 w 342816"/>
                      <a:gd name="connsiteY29" fmla="*/ 219574 h 326826"/>
                      <a:gd name="connsiteX30" fmla="*/ 153365 w 342816"/>
                      <a:gd name="connsiteY30" fmla="*/ 193761 h 326826"/>
                      <a:gd name="connsiteX31" fmla="*/ 174987 w 342816"/>
                      <a:gd name="connsiteY31" fmla="*/ 187380 h 326826"/>
                      <a:gd name="connsiteX32" fmla="*/ 187369 w 342816"/>
                      <a:gd name="connsiteY32" fmla="*/ 227289 h 326826"/>
                      <a:gd name="connsiteX33" fmla="*/ 192227 w 342816"/>
                      <a:gd name="connsiteY33" fmla="*/ 239862 h 326826"/>
                      <a:gd name="connsiteX34" fmla="*/ 204800 w 342816"/>
                      <a:gd name="connsiteY34" fmla="*/ 235005 h 326826"/>
                      <a:gd name="connsiteX35" fmla="*/ 203466 w 342816"/>
                      <a:gd name="connsiteY35" fmla="*/ 192999 h 326826"/>
                      <a:gd name="connsiteX36" fmla="*/ 219564 w 342816"/>
                      <a:gd name="connsiteY36" fmla="*/ 181760 h 326826"/>
                      <a:gd name="connsiteX37" fmla="*/ 249377 w 342816"/>
                      <a:gd name="connsiteY37" fmla="*/ 192999 h 326826"/>
                      <a:gd name="connsiteX38" fmla="*/ 263760 w 342816"/>
                      <a:gd name="connsiteY38" fmla="*/ 234719 h 326826"/>
                      <a:gd name="connsiteX39" fmla="*/ 306432 w 342816"/>
                      <a:gd name="connsiteY39" fmla="*/ 246339 h 326826"/>
                      <a:gd name="connsiteX40" fmla="*/ 312147 w 342816"/>
                      <a:gd name="connsiteY40" fmla="*/ 246339 h 326826"/>
                      <a:gd name="connsiteX41" fmla="*/ 323767 w 342816"/>
                      <a:gd name="connsiteY41" fmla="*/ 257293 h 326826"/>
                      <a:gd name="connsiteX42" fmla="*/ 333292 w 342816"/>
                      <a:gd name="connsiteY42" fmla="*/ 264437 h 326826"/>
                      <a:gd name="connsiteX43" fmla="*/ 335673 w 342816"/>
                      <a:gd name="connsiteY43" fmla="*/ 264437 h 326826"/>
                      <a:gd name="connsiteX44" fmla="*/ 342531 w 342816"/>
                      <a:gd name="connsiteY44" fmla="*/ 252912 h 326826"/>
                      <a:gd name="connsiteX45" fmla="*/ 312432 w 342816"/>
                      <a:gd name="connsiteY45" fmla="*/ 227575 h 326826"/>
                      <a:gd name="connsiteX46" fmla="*/ 305955 w 342816"/>
                      <a:gd name="connsiteY46" fmla="*/ 227575 h 326826"/>
                      <a:gd name="connsiteX47" fmla="*/ 291382 w 342816"/>
                      <a:gd name="connsiteY47" fmla="*/ 227575 h 326826"/>
                      <a:gd name="connsiteX48" fmla="*/ 320624 w 342816"/>
                      <a:gd name="connsiteY48" fmla="*/ 214716 h 326826"/>
                      <a:gd name="connsiteX49" fmla="*/ 331244 w 342816"/>
                      <a:gd name="connsiteY49" fmla="*/ 206287 h 326826"/>
                      <a:gd name="connsiteX50" fmla="*/ 322815 w 342816"/>
                      <a:gd name="connsiteY50" fmla="*/ 195666 h 326826"/>
                      <a:gd name="connsiteX51" fmla="*/ 274713 w 342816"/>
                      <a:gd name="connsiteY51" fmla="*/ 218145 h 326826"/>
                      <a:gd name="connsiteX52" fmla="*/ 268713 w 342816"/>
                      <a:gd name="connsiteY52" fmla="*/ 191190 h 326826"/>
                      <a:gd name="connsiteX53" fmla="*/ 302050 w 342816"/>
                      <a:gd name="connsiteY53" fmla="*/ 165948 h 326826"/>
                      <a:gd name="connsiteX54" fmla="*/ 299478 w 342816"/>
                      <a:gd name="connsiteY54" fmla="*/ 152804 h 326826"/>
                      <a:gd name="connsiteX55" fmla="*/ 286248 w 342816"/>
                      <a:gd name="connsiteY55" fmla="*/ 155357 h 326826"/>
                      <a:gd name="connsiteX56" fmla="*/ 286239 w 342816"/>
                      <a:gd name="connsiteY56" fmla="*/ 155376 h 326826"/>
                      <a:gd name="connsiteX57" fmla="*/ 257664 w 342816"/>
                      <a:gd name="connsiteY57" fmla="*/ 174426 h 326826"/>
                      <a:gd name="connsiteX58" fmla="*/ 228327 w 342816"/>
                      <a:gd name="connsiteY58" fmla="*/ 164901 h 326826"/>
                      <a:gd name="connsiteX59" fmla="*/ 230041 w 342816"/>
                      <a:gd name="connsiteY59" fmla="*/ 143088 h 326826"/>
                      <a:gd name="connsiteX60" fmla="*/ 219373 w 342816"/>
                      <a:gd name="connsiteY60" fmla="*/ 134706 h 326826"/>
                      <a:gd name="connsiteX61" fmla="*/ 210991 w 342816"/>
                      <a:gd name="connsiteY61" fmla="*/ 145374 h 326826"/>
                      <a:gd name="connsiteX62" fmla="*/ 191941 w 342816"/>
                      <a:gd name="connsiteY62" fmla="*/ 177378 h 326826"/>
                      <a:gd name="connsiteX63" fmla="*/ 187464 w 342816"/>
                      <a:gd name="connsiteY63" fmla="*/ 173473 h 326826"/>
                      <a:gd name="connsiteX64" fmla="*/ 162509 w 342816"/>
                      <a:gd name="connsiteY64" fmla="*/ 122800 h 326826"/>
                      <a:gd name="connsiteX65" fmla="*/ 149602 w 342816"/>
                      <a:gd name="connsiteY65" fmla="*/ 126848 h 326826"/>
                      <a:gd name="connsiteX66" fmla="*/ 153651 w 342816"/>
                      <a:gd name="connsiteY66" fmla="*/ 139755 h 326826"/>
                      <a:gd name="connsiteX67" fmla="*/ 168605 w 342816"/>
                      <a:gd name="connsiteY67" fmla="*/ 170330 h 326826"/>
                      <a:gd name="connsiteX68" fmla="*/ 150317 w 342816"/>
                      <a:gd name="connsiteY68" fmla="*/ 175283 h 326826"/>
                      <a:gd name="connsiteX69" fmla="*/ 80213 w 342816"/>
                      <a:gd name="connsiteY69" fmla="*/ 129277 h 326826"/>
                      <a:gd name="connsiteX70" fmla="*/ 85642 w 342816"/>
                      <a:gd name="connsiteY70" fmla="*/ 141564 h 326826"/>
                      <a:gd name="connsiteX71" fmla="*/ 89071 w 342816"/>
                      <a:gd name="connsiteY71" fmla="*/ 142136 h 326826"/>
                      <a:gd name="connsiteX72" fmla="*/ 98025 w 342816"/>
                      <a:gd name="connsiteY72" fmla="*/ 136040 h 326826"/>
                      <a:gd name="connsiteX73" fmla="*/ 126600 w 342816"/>
                      <a:gd name="connsiteY73" fmla="*/ 61364 h 326826"/>
                      <a:gd name="connsiteX74" fmla="*/ 80499 w 342816"/>
                      <a:gd name="connsiteY74" fmla="*/ 61364 h 326826"/>
                      <a:gd name="connsiteX75" fmla="*/ 104025 w 342816"/>
                      <a:gd name="connsiteY75" fmla="*/ 13739 h 326826"/>
                      <a:gd name="connsiteX76" fmla="*/ 99672 w 342816"/>
                      <a:gd name="connsiteY76" fmla="*/ 994 h 326826"/>
                      <a:gd name="connsiteX77" fmla="*/ 99644 w 342816"/>
                      <a:gd name="connsiteY77" fmla="*/ 975 h 326826"/>
                      <a:gd name="connsiteX78" fmla="*/ 86899 w 342816"/>
                      <a:gd name="connsiteY78" fmla="*/ 5328 h 326826"/>
                      <a:gd name="connsiteX79" fmla="*/ 86880 w 342816"/>
                      <a:gd name="connsiteY79" fmla="*/ 5357 h 326826"/>
                      <a:gd name="connsiteX80" fmla="*/ 50019 w 342816"/>
                      <a:gd name="connsiteY80" fmla="*/ 80890 h 326826"/>
                      <a:gd name="connsiteX81" fmla="*/ 98882 w 342816"/>
                      <a:gd name="connsiteY81" fmla="*/ 80890 h 326826"/>
                      <a:gd name="connsiteX82" fmla="*/ 80213 w 342816"/>
                      <a:gd name="connsiteY82" fmla="*/ 129277 h 326826"/>
                      <a:gd name="connsiteX0" fmla="*/ 91833 w 342816"/>
                      <a:gd name="connsiteY0" fmla="*/ 307776 h 326826"/>
                      <a:gd name="connsiteX1" fmla="*/ 108121 w 342816"/>
                      <a:gd name="connsiteY1" fmla="*/ 326826 h 326826"/>
                      <a:gd name="connsiteX2" fmla="*/ 91833 w 342816"/>
                      <a:gd name="connsiteY2" fmla="*/ 326826 h 326826"/>
                      <a:gd name="connsiteX3" fmla="*/ 15633 w 342816"/>
                      <a:gd name="connsiteY3" fmla="*/ 281010 h 326826"/>
                      <a:gd name="connsiteX4" fmla="*/ 20205 w 342816"/>
                      <a:gd name="connsiteY4" fmla="*/ 145660 h 326826"/>
                      <a:gd name="connsiteX5" fmla="*/ 33255 w 342816"/>
                      <a:gd name="connsiteY5" fmla="*/ 142326 h 326826"/>
                      <a:gd name="connsiteX6" fmla="*/ 36588 w 342816"/>
                      <a:gd name="connsiteY6" fmla="*/ 155376 h 326826"/>
                      <a:gd name="connsiteX7" fmla="*/ 32207 w 342816"/>
                      <a:gd name="connsiteY7" fmla="*/ 271581 h 326826"/>
                      <a:gd name="connsiteX8" fmla="*/ 91833 w 342816"/>
                      <a:gd name="connsiteY8" fmla="*/ 307776 h 326826"/>
                      <a:gd name="connsiteX9" fmla="*/ 150317 w 342816"/>
                      <a:gd name="connsiteY9" fmla="*/ 175283 h 326826"/>
                      <a:gd name="connsiteX10" fmla="*/ 119075 w 342816"/>
                      <a:gd name="connsiteY10" fmla="*/ 194333 h 326826"/>
                      <a:gd name="connsiteX11" fmla="*/ 86499 w 342816"/>
                      <a:gd name="connsiteY11" fmla="*/ 176902 h 326826"/>
                      <a:gd name="connsiteX12" fmla="*/ 75165 w 342816"/>
                      <a:gd name="connsiteY12" fmla="*/ 169187 h 326826"/>
                      <a:gd name="connsiteX13" fmla="*/ 67449 w 342816"/>
                      <a:gd name="connsiteY13" fmla="*/ 180522 h 326826"/>
                      <a:gd name="connsiteX14" fmla="*/ 110788 w 342816"/>
                      <a:gd name="connsiteY14" fmla="*/ 212716 h 326826"/>
                      <a:gd name="connsiteX15" fmla="*/ 110026 w 342816"/>
                      <a:gd name="connsiteY15" fmla="*/ 218812 h 326826"/>
                      <a:gd name="connsiteX16" fmla="*/ 112884 w 342816"/>
                      <a:gd name="connsiteY16" fmla="*/ 239100 h 326826"/>
                      <a:gd name="connsiteX17" fmla="*/ 84309 w 342816"/>
                      <a:gd name="connsiteY17" fmla="*/ 246530 h 326826"/>
                      <a:gd name="connsiteX18" fmla="*/ 80975 w 342816"/>
                      <a:gd name="connsiteY18" fmla="*/ 259579 h 326826"/>
                      <a:gd name="connsiteX19" fmla="*/ 89071 w 342816"/>
                      <a:gd name="connsiteY19" fmla="*/ 264246 h 326826"/>
                      <a:gd name="connsiteX20" fmla="*/ 93738 w 342816"/>
                      <a:gd name="connsiteY20" fmla="*/ 263103 h 326826"/>
                      <a:gd name="connsiteX21" fmla="*/ 123742 w 342816"/>
                      <a:gd name="connsiteY21" fmla="*/ 260913 h 326826"/>
                      <a:gd name="connsiteX22" fmla="*/ 125647 w 342816"/>
                      <a:gd name="connsiteY22" fmla="*/ 261579 h 326826"/>
                      <a:gd name="connsiteX23" fmla="*/ 144697 w 342816"/>
                      <a:gd name="connsiteY23" fmla="*/ 281296 h 326826"/>
                      <a:gd name="connsiteX24" fmla="*/ 151650 w 342816"/>
                      <a:gd name="connsiteY24" fmla="*/ 284154 h 326826"/>
                      <a:gd name="connsiteX25" fmla="*/ 161137 w 342816"/>
                      <a:gd name="connsiteY25" fmla="*/ 274591 h 326826"/>
                      <a:gd name="connsiteX26" fmla="*/ 158508 w 342816"/>
                      <a:gd name="connsiteY26" fmla="*/ 268056 h 326826"/>
                      <a:gd name="connsiteX27" fmla="*/ 138887 w 342816"/>
                      <a:gd name="connsiteY27" fmla="*/ 247673 h 326826"/>
                      <a:gd name="connsiteX28" fmla="*/ 129362 w 342816"/>
                      <a:gd name="connsiteY28" fmla="*/ 219574 h 326826"/>
                      <a:gd name="connsiteX29" fmla="*/ 153365 w 342816"/>
                      <a:gd name="connsiteY29" fmla="*/ 193761 h 326826"/>
                      <a:gd name="connsiteX30" fmla="*/ 174987 w 342816"/>
                      <a:gd name="connsiteY30" fmla="*/ 187380 h 326826"/>
                      <a:gd name="connsiteX31" fmla="*/ 187369 w 342816"/>
                      <a:gd name="connsiteY31" fmla="*/ 227289 h 326826"/>
                      <a:gd name="connsiteX32" fmla="*/ 192227 w 342816"/>
                      <a:gd name="connsiteY32" fmla="*/ 239862 h 326826"/>
                      <a:gd name="connsiteX33" fmla="*/ 204800 w 342816"/>
                      <a:gd name="connsiteY33" fmla="*/ 235005 h 326826"/>
                      <a:gd name="connsiteX34" fmla="*/ 203466 w 342816"/>
                      <a:gd name="connsiteY34" fmla="*/ 192999 h 326826"/>
                      <a:gd name="connsiteX35" fmla="*/ 219564 w 342816"/>
                      <a:gd name="connsiteY35" fmla="*/ 181760 h 326826"/>
                      <a:gd name="connsiteX36" fmla="*/ 249377 w 342816"/>
                      <a:gd name="connsiteY36" fmla="*/ 192999 h 326826"/>
                      <a:gd name="connsiteX37" fmla="*/ 263760 w 342816"/>
                      <a:gd name="connsiteY37" fmla="*/ 234719 h 326826"/>
                      <a:gd name="connsiteX38" fmla="*/ 306432 w 342816"/>
                      <a:gd name="connsiteY38" fmla="*/ 246339 h 326826"/>
                      <a:gd name="connsiteX39" fmla="*/ 312147 w 342816"/>
                      <a:gd name="connsiteY39" fmla="*/ 246339 h 326826"/>
                      <a:gd name="connsiteX40" fmla="*/ 323767 w 342816"/>
                      <a:gd name="connsiteY40" fmla="*/ 257293 h 326826"/>
                      <a:gd name="connsiteX41" fmla="*/ 333292 w 342816"/>
                      <a:gd name="connsiteY41" fmla="*/ 264437 h 326826"/>
                      <a:gd name="connsiteX42" fmla="*/ 335673 w 342816"/>
                      <a:gd name="connsiteY42" fmla="*/ 264437 h 326826"/>
                      <a:gd name="connsiteX43" fmla="*/ 342531 w 342816"/>
                      <a:gd name="connsiteY43" fmla="*/ 252912 h 326826"/>
                      <a:gd name="connsiteX44" fmla="*/ 312432 w 342816"/>
                      <a:gd name="connsiteY44" fmla="*/ 227575 h 326826"/>
                      <a:gd name="connsiteX45" fmla="*/ 305955 w 342816"/>
                      <a:gd name="connsiteY45" fmla="*/ 227575 h 326826"/>
                      <a:gd name="connsiteX46" fmla="*/ 291382 w 342816"/>
                      <a:gd name="connsiteY46" fmla="*/ 227575 h 326826"/>
                      <a:gd name="connsiteX47" fmla="*/ 320624 w 342816"/>
                      <a:gd name="connsiteY47" fmla="*/ 214716 h 326826"/>
                      <a:gd name="connsiteX48" fmla="*/ 331244 w 342816"/>
                      <a:gd name="connsiteY48" fmla="*/ 206287 h 326826"/>
                      <a:gd name="connsiteX49" fmla="*/ 322815 w 342816"/>
                      <a:gd name="connsiteY49" fmla="*/ 195666 h 326826"/>
                      <a:gd name="connsiteX50" fmla="*/ 274713 w 342816"/>
                      <a:gd name="connsiteY50" fmla="*/ 218145 h 326826"/>
                      <a:gd name="connsiteX51" fmla="*/ 268713 w 342816"/>
                      <a:gd name="connsiteY51" fmla="*/ 191190 h 326826"/>
                      <a:gd name="connsiteX52" fmla="*/ 302050 w 342816"/>
                      <a:gd name="connsiteY52" fmla="*/ 165948 h 326826"/>
                      <a:gd name="connsiteX53" fmla="*/ 299478 w 342816"/>
                      <a:gd name="connsiteY53" fmla="*/ 152804 h 326826"/>
                      <a:gd name="connsiteX54" fmla="*/ 286248 w 342816"/>
                      <a:gd name="connsiteY54" fmla="*/ 155357 h 326826"/>
                      <a:gd name="connsiteX55" fmla="*/ 286239 w 342816"/>
                      <a:gd name="connsiteY55" fmla="*/ 155376 h 326826"/>
                      <a:gd name="connsiteX56" fmla="*/ 257664 w 342816"/>
                      <a:gd name="connsiteY56" fmla="*/ 174426 h 326826"/>
                      <a:gd name="connsiteX57" fmla="*/ 228327 w 342816"/>
                      <a:gd name="connsiteY57" fmla="*/ 164901 h 326826"/>
                      <a:gd name="connsiteX58" fmla="*/ 230041 w 342816"/>
                      <a:gd name="connsiteY58" fmla="*/ 143088 h 326826"/>
                      <a:gd name="connsiteX59" fmla="*/ 219373 w 342816"/>
                      <a:gd name="connsiteY59" fmla="*/ 134706 h 326826"/>
                      <a:gd name="connsiteX60" fmla="*/ 210991 w 342816"/>
                      <a:gd name="connsiteY60" fmla="*/ 145374 h 326826"/>
                      <a:gd name="connsiteX61" fmla="*/ 191941 w 342816"/>
                      <a:gd name="connsiteY61" fmla="*/ 177378 h 326826"/>
                      <a:gd name="connsiteX62" fmla="*/ 187464 w 342816"/>
                      <a:gd name="connsiteY62" fmla="*/ 173473 h 326826"/>
                      <a:gd name="connsiteX63" fmla="*/ 162509 w 342816"/>
                      <a:gd name="connsiteY63" fmla="*/ 122800 h 326826"/>
                      <a:gd name="connsiteX64" fmla="*/ 149602 w 342816"/>
                      <a:gd name="connsiteY64" fmla="*/ 126848 h 326826"/>
                      <a:gd name="connsiteX65" fmla="*/ 153651 w 342816"/>
                      <a:gd name="connsiteY65" fmla="*/ 139755 h 326826"/>
                      <a:gd name="connsiteX66" fmla="*/ 168605 w 342816"/>
                      <a:gd name="connsiteY66" fmla="*/ 170330 h 326826"/>
                      <a:gd name="connsiteX67" fmla="*/ 150317 w 342816"/>
                      <a:gd name="connsiteY67" fmla="*/ 175283 h 326826"/>
                      <a:gd name="connsiteX68" fmla="*/ 80213 w 342816"/>
                      <a:gd name="connsiteY68" fmla="*/ 129277 h 326826"/>
                      <a:gd name="connsiteX69" fmla="*/ 85642 w 342816"/>
                      <a:gd name="connsiteY69" fmla="*/ 141564 h 326826"/>
                      <a:gd name="connsiteX70" fmla="*/ 89071 w 342816"/>
                      <a:gd name="connsiteY70" fmla="*/ 142136 h 326826"/>
                      <a:gd name="connsiteX71" fmla="*/ 98025 w 342816"/>
                      <a:gd name="connsiteY71" fmla="*/ 136040 h 326826"/>
                      <a:gd name="connsiteX72" fmla="*/ 126600 w 342816"/>
                      <a:gd name="connsiteY72" fmla="*/ 61364 h 326826"/>
                      <a:gd name="connsiteX73" fmla="*/ 80499 w 342816"/>
                      <a:gd name="connsiteY73" fmla="*/ 61364 h 326826"/>
                      <a:gd name="connsiteX74" fmla="*/ 104025 w 342816"/>
                      <a:gd name="connsiteY74" fmla="*/ 13739 h 326826"/>
                      <a:gd name="connsiteX75" fmla="*/ 99672 w 342816"/>
                      <a:gd name="connsiteY75" fmla="*/ 994 h 326826"/>
                      <a:gd name="connsiteX76" fmla="*/ 99644 w 342816"/>
                      <a:gd name="connsiteY76" fmla="*/ 975 h 326826"/>
                      <a:gd name="connsiteX77" fmla="*/ 86899 w 342816"/>
                      <a:gd name="connsiteY77" fmla="*/ 5328 h 326826"/>
                      <a:gd name="connsiteX78" fmla="*/ 86880 w 342816"/>
                      <a:gd name="connsiteY78" fmla="*/ 5357 h 326826"/>
                      <a:gd name="connsiteX79" fmla="*/ 50019 w 342816"/>
                      <a:gd name="connsiteY79" fmla="*/ 80890 h 326826"/>
                      <a:gd name="connsiteX80" fmla="*/ 98882 w 342816"/>
                      <a:gd name="connsiteY80" fmla="*/ 80890 h 326826"/>
                      <a:gd name="connsiteX81" fmla="*/ 80213 w 342816"/>
                      <a:gd name="connsiteY81" fmla="*/ 129277 h 326826"/>
                      <a:gd name="connsiteX0" fmla="*/ 91833 w 342816"/>
                      <a:gd name="connsiteY0" fmla="*/ 307776 h 326826"/>
                      <a:gd name="connsiteX1" fmla="*/ 108121 w 342816"/>
                      <a:gd name="connsiteY1" fmla="*/ 326826 h 326826"/>
                      <a:gd name="connsiteX2" fmla="*/ 15633 w 342816"/>
                      <a:gd name="connsiteY2" fmla="*/ 281010 h 326826"/>
                      <a:gd name="connsiteX3" fmla="*/ 20205 w 342816"/>
                      <a:gd name="connsiteY3" fmla="*/ 145660 h 326826"/>
                      <a:gd name="connsiteX4" fmla="*/ 33255 w 342816"/>
                      <a:gd name="connsiteY4" fmla="*/ 142326 h 326826"/>
                      <a:gd name="connsiteX5" fmla="*/ 36588 w 342816"/>
                      <a:gd name="connsiteY5" fmla="*/ 155376 h 326826"/>
                      <a:gd name="connsiteX6" fmla="*/ 32207 w 342816"/>
                      <a:gd name="connsiteY6" fmla="*/ 271581 h 326826"/>
                      <a:gd name="connsiteX7" fmla="*/ 91833 w 342816"/>
                      <a:gd name="connsiteY7" fmla="*/ 307776 h 326826"/>
                      <a:gd name="connsiteX8" fmla="*/ 150317 w 342816"/>
                      <a:gd name="connsiteY8" fmla="*/ 175283 h 326826"/>
                      <a:gd name="connsiteX9" fmla="*/ 119075 w 342816"/>
                      <a:gd name="connsiteY9" fmla="*/ 194333 h 326826"/>
                      <a:gd name="connsiteX10" fmla="*/ 86499 w 342816"/>
                      <a:gd name="connsiteY10" fmla="*/ 176902 h 326826"/>
                      <a:gd name="connsiteX11" fmla="*/ 75165 w 342816"/>
                      <a:gd name="connsiteY11" fmla="*/ 169187 h 326826"/>
                      <a:gd name="connsiteX12" fmla="*/ 67449 w 342816"/>
                      <a:gd name="connsiteY12" fmla="*/ 180522 h 326826"/>
                      <a:gd name="connsiteX13" fmla="*/ 110788 w 342816"/>
                      <a:gd name="connsiteY13" fmla="*/ 212716 h 326826"/>
                      <a:gd name="connsiteX14" fmla="*/ 110026 w 342816"/>
                      <a:gd name="connsiteY14" fmla="*/ 218812 h 326826"/>
                      <a:gd name="connsiteX15" fmla="*/ 112884 w 342816"/>
                      <a:gd name="connsiteY15" fmla="*/ 239100 h 326826"/>
                      <a:gd name="connsiteX16" fmla="*/ 84309 w 342816"/>
                      <a:gd name="connsiteY16" fmla="*/ 246530 h 326826"/>
                      <a:gd name="connsiteX17" fmla="*/ 80975 w 342816"/>
                      <a:gd name="connsiteY17" fmla="*/ 259579 h 326826"/>
                      <a:gd name="connsiteX18" fmla="*/ 89071 w 342816"/>
                      <a:gd name="connsiteY18" fmla="*/ 264246 h 326826"/>
                      <a:gd name="connsiteX19" fmla="*/ 93738 w 342816"/>
                      <a:gd name="connsiteY19" fmla="*/ 263103 h 326826"/>
                      <a:gd name="connsiteX20" fmla="*/ 123742 w 342816"/>
                      <a:gd name="connsiteY20" fmla="*/ 260913 h 326826"/>
                      <a:gd name="connsiteX21" fmla="*/ 125647 w 342816"/>
                      <a:gd name="connsiteY21" fmla="*/ 261579 h 326826"/>
                      <a:gd name="connsiteX22" fmla="*/ 144697 w 342816"/>
                      <a:gd name="connsiteY22" fmla="*/ 281296 h 326826"/>
                      <a:gd name="connsiteX23" fmla="*/ 151650 w 342816"/>
                      <a:gd name="connsiteY23" fmla="*/ 284154 h 326826"/>
                      <a:gd name="connsiteX24" fmla="*/ 161137 w 342816"/>
                      <a:gd name="connsiteY24" fmla="*/ 274591 h 326826"/>
                      <a:gd name="connsiteX25" fmla="*/ 158508 w 342816"/>
                      <a:gd name="connsiteY25" fmla="*/ 268056 h 326826"/>
                      <a:gd name="connsiteX26" fmla="*/ 138887 w 342816"/>
                      <a:gd name="connsiteY26" fmla="*/ 247673 h 326826"/>
                      <a:gd name="connsiteX27" fmla="*/ 129362 w 342816"/>
                      <a:gd name="connsiteY27" fmla="*/ 219574 h 326826"/>
                      <a:gd name="connsiteX28" fmla="*/ 153365 w 342816"/>
                      <a:gd name="connsiteY28" fmla="*/ 193761 h 326826"/>
                      <a:gd name="connsiteX29" fmla="*/ 174987 w 342816"/>
                      <a:gd name="connsiteY29" fmla="*/ 187380 h 326826"/>
                      <a:gd name="connsiteX30" fmla="*/ 187369 w 342816"/>
                      <a:gd name="connsiteY30" fmla="*/ 227289 h 326826"/>
                      <a:gd name="connsiteX31" fmla="*/ 192227 w 342816"/>
                      <a:gd name="connsiteY31" fmla="*/ 239862 h 326826"/>
                      <a:gd name="connsiteX32" fmla="*/ 204800 w 342816"/>
                      <a:gd name="connsiteY32" fmla="*/ 235005 h 326826"/>
                      <a:gd name="connsiteX33" fmla="*/ 203466 w 342816"/>
                      <a:gd name="connsiteY33" fmla="*/ 192999 h 326826"/>
                      <a:gd name="connsiteX34" fmla="*/ 219564 w 342816"/>
                      <a:gd name="connsiteY34" fmla="*/ 181760 h 326826"/>
                      <a:gd name="connsiteX35" fmla="*/ 249377 w 342816"/>
                      <a:gd name="connsiteY35" fmla="*/ 192999 h 326826"/>
                      <a:gd name="connsiteX36" fmla="*/ 263760 w 342816"/>
                      <a:gd name="connsiteY36" fmla="*/ 234719 h 326826"/>
                      <a:gd name="connsiteX37" fmla="*/ 306432 w 342816"/>
                      <a:gd name="connsiteY37" fmla="*/ 246339 h 326826"/>
                      <a:gd name="connsiteX38" fmla="*/ 312147 w 342816"/>
                      <a:gd name="connsiteY38" fmla="*/ 246339 h 326826"/>
                      <a:gd name="connsiteX39" fmla="*/ 323767 w 342816"/>
                      <a:gd name="connsiteY39" fmla="*/ 257293 h 326826"/>
                      <a:gd name="connsiteX40" fmla="*/ 333292 w 342816"/>
                      <a:gd name="connsiteY40" fmla="*/ 264437 h 326826"/>
                      <a:gd name="connsiteX41" fmla="*/ 335673 w 342816"/>
                      <a:gd name="connsiteY41" fmla="*/ 264437 h 326826"/>
                      <a:gd name="connsiteX42" fmla="*/ 342531 w 342816"/>
                      <a:gd name="connsiteY42" fmla="*/ 252912 h 326826"/>
                      <a:gd name="connsiteX43" fmla="*/ 312432 w 342816"/>
                      <a:gd name="connsiteY43" fmla="*/ 227575 h 326826"/>
                      <a:gd name="connsiteX44" fmla="*/ 305955 w 342816"/>
                      <a:gd name="connsiteY44" fmla="*/ 227575 h 326826"/>
                      <a:gd name="connsiteX45" fmla="*/ 291382 w 342816"/>
                      <a:gd name="connsiteY45" fmla="*/ 227575 h 326826"/>
                      <a:gd name="connsiteX46" fmla="*/ 320624 w 342816"/>
                      <a:gd name="connsiteY46" fmla="*/ 214716 h 326826"/>
                      <a:gd name="connsiteX47" fmla="*/ 331244 w 342816"/>
                      <a:gd name="connsiteY47" fmla="*/ 206287 h 326826"/>
                      <a:gd name="connsiteX48" fmla="*/ 322815 w 342816"/>
                      <a:gd name="connsiteY48" fmla="*/ 195666 h 326826"/>
                      <a:gd name="connsiteX49" fmla="*/ 274713 w 342816"/>
                      <a:gd name="connsiteY49" fmla="*/ 218145 h 326826"/>
                      <a:gd name="connsiteX50" fmla="*/ 268713 w 342816"/>
                      <a:gd name="connsiteY50" fmla="*/ 191190 h 326826"/>
                      <a:gd name="connsiteX51" fmla="*/ 302050 w 342816"/>
                      <a:gd name="connsiteY51" fmla="*/ 165948 h 326826"/>
                      <a:gd name="connsiteX52" fmla="*/ 299478 w 342816"/>
                      <a:gd name="connsiteY52" fmla="*/ 152804 h 326826"/>
                      <a:gd name="connsiteX53" fmla="*/ 286248 w 342816"/>
                      <a:gd name="connsiteY53" fmla="*/ 155357 h 326826"/>
                      <a:gd name="connsiteX54" fmla="*/ 286239 w 342816"/>
                      <a:gd name="connsiteY54" fmla="*/ 155376 h 326826"/>
                      <a:gd name="connsiteX55" fmla="*/ 257664 w 342816"/>
                      <a:gd name="connsiteY55" fmla="*/ 174426 h 326826"/>
                      <a:gd name="connsiteX56" fmla="*/ 228327 w 342816"/>
                      <a:gd name="connsiteY56" fmla="*/ 164901 h 326826"/>
                      <a:gd name="connsiteX57" fmla="*/ 230041 w 342816"/>
                      <a:gd name="connsiteY57" fmla="*/ 143088 h 326826"/>
                      <a:gd name="connsiteX58" fmla="*/ 219373 w 342816"/>
                      <a:gd name="connsiteY58" fmla="*/ 134706 h 326826"/>
                      <a:gd name="connsiteX59" fmla="*/ 210991 w 342816"/>
                      <a:gd name="connsiteY59" fmla="*/ 145374 h 326826"/>
                      <a:gd name="connsiteX60" fmla="*/ 191941 w 342816"/>
                      <a:gd name="connsiteY60" fmla="*/ 177378 h 326826"/>
                      <a:gd name="connsiteX61" fmla="*/ 187464 w 342816"/>
                      <a:gd name="connsiteY61" fmla="*/ 173473 h 326826"/>
                      <a:gd name="connsiteX62" fmla="*/ 162509 w 342816"/>
                      <a:gd name="connsiteY62" fmla="*/ 122800 h 326826"/>
                      <a:gd name="connsiteX63" fmla="*/ 149602 w 342816"/>
                      <a:gd name="connsiteY63" fmla="*/ 126848 h 326826"/>
                      <a:gd name="connsiteX64" fmla="*/ 153651 w 342816"/>
                      <a:gd name="connsiteY64" fmla="*/ 139755 h 326826"/>
                      <a:gd name="connsiteX65" fmla="*/ 168605 w 342816"/>
                      <a:gd name="connsiteY65" fmla="*/ 170330 h 326826"/>
                      <a:gd name="connsiteX66" fmla="*/ 150317 w 342816"/>
                      <a:gd name="connsiteY66" fmla="*/ 175283 h 326826"/>
                      <a:gd name="connsiteX67" fmla="*/ 80213 w 342816"/>
                      <a:gd name="connsiteY67" fmla="*/ 129277 h 326826"/>
                      <a:gd name="connsiteX68" fmla="*/ 85642 w 342816"/>
                      <a:gd name="connsiteY68" fmla="*/ 141564 h 326826"/>
                      <a:gd name="connsiteX69" fmla="*/ 89071 w 342816"/>
                      <a:gd name="connsiteY69" fmla="*/ 142136 h 326826"/>
                      <a:gd name="connsiteX70" fmla="*/ 98025 w 342816"/>
                      <a:gd name="connsiteY70" fmla="*/ 136040 h 326826"/>
                      <a:gd name="connsiteX71" fmla="*/ 126600 w 342816"/>
                      <a:gd name="connsiteY71" fmla="*/ 61364 h 326826"/>
                      <a:gd name="connsiteX72" fmla="*/ 80499 w 342816"/>
                      <a:gd name="connsiteY72" fmla="*/ 61364 h 326826"/>
                      <a:gd name="connsiteX73" fmla="*/ 104025 w 342816"/>
                      <a:gd name="connsiteY73" fmla="*/ 13739 h 326826"/>
                      <a:gd name="connsiteX74" fmla="*/ 99672 w 342816"/>
                      <a:gd name="connsiteY74" fmla="*/ 994 h 326826"/>
                      <a:gd name="connsiteX75" fmla="*/ 99644 w 342816"/>
                      <a:gd name="connsiteY75" fmla="*/ 975 h 326826"/>
                      <a:gd name="connsiteX76" fmla="*/ 86899 w 342816"/>
                      <a:gd name="connsiteY76" fmla="*/ 5328 h 326826"/>
                      <a:gd name="connsiteX77" fmla="*/ 86880 w 342816"/>
                      <a:gd name="connsiteY77" fmla="*/ 5357 h 326826"/>
                      <a:gd name="connsiteX78" fmla="*/ 50019 w 342816"/>
                      <a:gd name="connsiteY78" fmla="*/ 80890 h 326826"/>
                      <a:gd name="connsiteX79" fmla="*/ 98882 w 342816"/>
                      <a:gd name="connsiteY79" fmla="*/ 80890 h 326826"/>
                      <a:gd name="connsiteX80" fmla="*/ 80213 w 342816"/>
                      <a:gd name="connsiteY80" fmla="*/ 129277 h 326826"/>
                      <a:gd name="connsiteX0" fmla="*/ 91833 w 342816"/>
                      <a:gd name="connsiteY0" fmla="*/ 307776 h 307776"/>
                      <a:gd name="connsiteX1" fmla="*/ 15633 w 342816"/>
                      <a:gd name="connsiteY1" fmla="*/ 281010 h 307776"/>
                      <a:gd name="connsiteX2" fmla="*/ 20205 w 342816"/>
                      <a:gd name="connsiteY2" fmla="*/ 145660 h 307776"/>
                      <a:gd name="connsiteX3" fmla="*/ 33255 w 342816"/>
                      <a:gd name="connsiteY3" fmla="*/ 142326 h 307776"/>
                      <a:gd name="connsiteX4" fmla="*/ 36588 w 342816"/>
                      <a:gd name="connsiteY4" fmla="*/ 155376 h 307776"/>
                      <a:gd name="connsiteX5" fmla="*/ 32207 w 342816"/>
                      <a:gd name="connsiteY5" fmla="*/ 271581 h 307776"/>
                      <a:gd name="connsiteX6" fmla="*/ 91833 w 342816"/>
                      <a:gd name="connsiteY6" fmla="*/ 307776 h 307776"/>
                      <a:gd name="connsiteX7" fmla="*/ 150317 w 342816"/>
                      <a:gd name="connsiteY7" fmla="*/ 175283 h 307776"/>
                      <a:gd name="connsiteX8" fmla="*/ 119075 w 342816"/>
                      <a:gd name="connsiteY8" fmla="*/ 194333 h 307776"/>
                      <a:gd name="connsiteX9" fmla="*/ 86499 w 342816"/>
                      <a:gd name="connsiteY9" fmla="*/ 176902 h 307776"/>
                      <a:gd name="connsiteX10" fmla="*/ 75165 w 342816"/>
                      <a:gd name="connsiteY10" fmla="*/ 169187 h 307776"/>
                      <a:gd name="connsiteX11" fmla="*/ 67449 w 342816"/>
                      <a:gd name="connsiteY11" fmla="*/ 180522 h 307776"/>
                      <a:gd name="connsiteX12" fmla="*/ 110788 w 342816"/>
                      <a:gd name="connsiteY12" fmla="*/ 212716 h 307776"/>
                      <a:gd name="connsiteX13" fmla="*/ 110026 w 342816"/>
                      <a:gd name="connsiteY13" fmla="*/ 218812 h 307776"/>
                      <a:gd name="connsiteX14" fmla="*/ 112884 w 342816"/>
                      <a:gd name="connsiteY14" fmla="*/ 239100 h 307776"/>
                      <a:gd name="connsiteX15" fmla="*/ 84309 w 342816"/>
                      <a:gd name="connsiteY15" fmla="*/ 246530 h 307776"/>
                      <a:gd name="connsiteX16" fmla="*/ 80975 w 342816"/>
                      <a:gd name="connsiteY16" fmla="*/ 259579 h 307776"/>
                      <a:gd name="connsiteX17" fmla="*/ 89071 w 342816"/>
                      <a:gd name="connsiteY17" fmla="*/ 264246 h 307776"/>
                      <a:gd name="connsiteX18" fmla="*/ 93738 w 342816"/>
                      <a:gd name="connsiteY18" fmla="*/ 263103 h 307776"/>
                      <a:gd name="connsiteX19" fmla="*/ 123742 w 342816"/>
                      <a:gd name="connsiteY19" fmla="*/ 260913 h 307776"/>
                      <a:gd name="connsiteX20" fmla="*/ 125647 w 342816"/>
                      <a:gd name="connsiteY20" fmla="*/ 261579 h 307776"/>
                      <a:gd name="connsiteX21" fmla="*/ 144697 w 342816"/>
                      <a:gd name="connsiteY21" fmla="*/ 281296 h 307776"/>
                      <a:gd name="connsiteX22" fmla="*/ 151650 w 342816"/>
                      <a:gd name="connsiteY22" fmla="*/ 284154 h 307776"/>
                      <a:gd name="connsiteX23" fmla="*/ 161137 w 342816"/>
                      <a:gd name="connsiteY23" fmla="*/ 274591 h 307776"/>
                      <a:gd name="connsiteX24" fmla="*/ 158508 w 342816"/>
                      <a:gd name="connsiteY24" fmla="*/ 268056 h 307776"/>
                      <a:gd name="connsiteX25" fmla="*/ 138887 w 342816"/>
                      <a:gd name="connsiteY25" fmla="*/ 247673 h 307776"/>
                      <a:gd name="connsiteX26" fmla="*/ 129362 w 342816"/>
                      <a:gd name="connsiteY26" fmla="*/ 219574 h 307776"/>
                      <a:gd name="connsiteX27" fmla="*/ 153365 w 342816"/>
                      <a:gd name="connsiteY27" fmla="*/ 193761 h 307776"/>
                      <a:gd name="connsiteX28" fmla="*/ 174987 w 342816"/>
                      <a:gd name="connsiteY28" fmla="*/ 187380 h 307776"/>
                      <a:gd name="connsiteX29" fmla="*/ 187369 w 342816"/>
                      <a:gd name="connsiteY29" fmla="*/ 227289 h 307776"/>
                      <a:gd name="connsiteX30" fmla="*/ 192227 w 342816"/>
                      <a:gd name="connsiteY30" fmla="*/ 239862 h 307776"/>
                      <a:gd name="connsiteX31" fmla="*/ 204800 w 342816"/>
                      <a:gd name="connsiteY31" fmla="*/ 235005 h 307776"/>
                      <a:gd name="connsiteX32" fmla="*/ 203466 w 342816"/>
                      <a:gd name="connsiteY32" fmla="*/ 192999 h 307776"/>
                      <a:gd name="connsiteX33" fmla="*/ 219564 w 342816"/>
                      <a:gd name="connsiteY33" fmla="*/ 181760 h 307776"/>
                      <a:gd name="connsiteX34" fmla="*/ 249377 w 342816"/>
                      <a:gd name="connsiteY34" fmla="*/ 192999 h 307776"/>
                      <a:gd name="connsiteX35" fmla="*/ 263760 w 342816"/>
                      <a:gd name="connsiteY35" fmla="*/ 234719 h 307776"/>
                      <a:gd name="connsiteX36" fmla="*/ 306432 w 342816"/>
                      <a:gd name="connsiteY36" fmla="*/ 246339 h 307776"/>
                      <a:gd name="connsiteX37" fmla="*/ 312147 w 342816"/>
                      <a:gd name="connsiteY37" fmla="*/ 246339 h 307776"/>
                      <a:gd name="connsiteX38" fmla="*/ 323767 w 342816"/>
                      <a:gd name="connsiteY38" fmla="*/ 257293 h 307776"/>
                      <a:gd name="connsiteX39" fmla="*/ 333292 w 342816"/>
                      <a:gd name="connsiteY39" fmla="*/ 264437 h 307776"/>
                      <a:gd name="connsiteX40" fmla="*/ 335673 w 342816"/>
                      <a:gd name="connsiteY40" fmla="*/ 264437 h 307776"/>
                      <a:gd name="connsiteX41" fmla="*/ 342531 w 342816"/>
                      <a:gd name="connsiteY41" fmla="*/ 252912 h 307776"/>
                      <a:gd name="connsiteX42" fmla="*/ 312432 w 342816"/>
                      <a:gd name="connsiteY42" fmla="*/ 227575 h 307776"/>
                      <a:gd name="connsiteX43" fmla="*/ 305955 w 342816"/>
                      <a:gd name="connsiteY43" fmla="*/ 227575 h 307776"/>
                      <a:gd name="connsiteX44" fmla="*/ 291382 w 342816"/>
                      <a:gd name="connsiteY44" fmla="*/ 227575 h 307776"/>
                      <a:gd name="connsiteX45" fmla="*/ 320624 w 342816"/>
                      <a:gd name="connsiteY45" fmla="*/ 214716 h 307776"/>
                      <a:gd name="connsiteX46" fmla="*/ 331244 w 342816"/>
                      <a:gd name="connsiteY46" fmla="*/ 206287 h 307776"/>
                      <a:gd name="connsiteX47" fmla="*/ 322815 w 342816"/>
                      <a:gd name="connsiteY47" fmla="*/ 195666 h 307776"/>
                      <a:gd name="connsiteX48" fmla="*/ 274713 w 342816"/>
                      <a:gd name="connsiteY48" fmla="*/ 218145 h 307776"/>
                      <a:gd name="connsiteX49" fmla="*/ 268713 w 342816"/>
                      <a:gd name="connsiteY49" fmla="*/ 191190 h 307776"/>
                      <a:gd name="connsiteX50" fmla="*/ 302050 w 342816"/>
                      <a:gd name="connsiteY50" fmla="*/ 165948 h 307776"/>
                      <a:gd name="connsiteX51" fmla="*/ 299478 w 342816"/>
                      <a:gd name="connsiteY51" fmla="*/ 152804 h 307776"/>
                      <a:gd name="connsiteX52" fmla="*/ 286248 w 342816"/>
                      <a:gd name="connsiteY52" fmla="*/ 155357 h 307776"/>
                      <a:gd name="connsiteX53" fmla="*/ 286239 w 342816"/>
                      <a:gd name="connsiteY53" fmla="*/ 155376 h 307776"/>
                      <a:gd name="connsiteX54" fmla="*/ 257664 w 342816"/>
                      <a:gd name="connsiteY54" fmla="*/ 174426 h 307776"/>
                      <a:gd name="connsiteX55" fmla="*/ 228327 w 342816"/>
                      <a:gd name="connsiteY55" fmla="*/ 164901 h 307776"/>
                      <a:gd name="connsiteX56" fmla="*/ 230041 w 342816"/>
                      <a:gd name="connsiteY56" fmla="*/ 143088 h 307776"/>
                      <a:gd name="connsiteX57" fmla="*/ 219373 w 342816"/>
                      <a:gd name="connsiteY57" fmla="*/ 134706 h 307776"/>
                      <a:gd name="connsiteX58" fmla="*/ 210991 w 342816"/>
                      <a:gd name="connsiteY58" fmla="*/ 145374 h 307776"/>
                      <a:gd name="connsiteX59" fmla="*/ 191941 w 342816"/>
                      <a:gd name="connsiteY59" fmla="*/ 177378 h 307776"/>
                      <a:gd name="connsiteX60" fmla="*/ 187464 w 342816"/>
                      <a:gd name="connsiteY60" fmla="*/ 173473 h 307776"/>
                      <a:gd name="connsiteX61" fmla="*/ 162509 w 342816"/>
                      <a:gd name="connsiteY61" fmla="*/ 122800 h 307776"/>
                      <a:gd name="connsiteX62" fmla="*/ 149602 w 342816"/>
                      <a:gd name="connsiteY62" fmla="*/ 126848 h 307776"/>
                      <a:gd name="connsiteX63" fmla="*/ 153651 w 342816"/>
                      <a:gd name="connsiteY63" fmla="*/ 139755 h 307776"/>
                      <a:gd name="connsiteX64" fmla="*/ 168605 w 342816"/>
                      <a:gd name="connsiteY64" fmla="*/ 170330 h 307776"/>
                      <a:gd name="connsiteX65" fmla="*/ 150317 w 342816"/>
                      <a:gd name="connsiteY65" fmla="*/ 175283 h 307776"/>
                      <a:gd name="connsiteX66" fmla="*/ 80213 w 342816"/>
                      <a:gd name="connsiteY66" fmla="*/ 129277 h 307776"/>
                      <a:gd name="connsiteX67" fmla="*/ 85642 w 342816"/>
                      <a:gd name="connsiteY67" fmla="*/ 141564 h 307776"/>
                      <a:gd name="connsiteX68" fmla="*/ 89071 w 342816"/>
                      <a:gd name="connsiteY68" fmla="*/ 142136 h 307776"/>
                      <a:gd name="connsiteX69" fmla="*/ 98025 w 342816"/>
                      <a:gd name="connsiteY69" fmla="*/ 136040 h 307776"/>
                      <a:gd name="connsiteX70" fmla="*/ 126600 w 342816"/>
                      <a:gd name="connsiteY70" fmla="*/ 61364 h 307776"/>
                      <a:gd name="connsiteX71" fmla="*/ 80499 w 342816"/>
                      <a:gd name="connsiteY71" fmla="*/ 61364 h 307776"/>
                      <a:gd name="connsiteX72" fmla="*/ 104025 w 342816"/>
                      <a:gd name="connsiteY72" fmla="*/ 13739 h 307776"/>
                      <a:gd name="connsiteX73" fmla="*/ 99672 w 342816"/>
                      <a:gd name="connsiteY73" fmla="*/ 994 h 307776"/>
                      <a:gd name="connsiteX74" fmla="*/ 99644 w 342816"/>
                      <a:gd name="connsiteY74" fmla="*/ 975 h 307776"/>
                      <a:gd name="connsiteX75" fmla="*/ 86899 w 342816"/>
                      <a:gd name="connsiteY75" fmla="*/ 5328 h 307776"/>
                      <a:gd name="connsiteX76" fmla="*/ 86880 w 342816"/>
                      <a:gd name="connsiteY76" fmla="*/ 5357 h 307776"/>
                      <a:gd name="connsiteX77" fmla="*/ 50019 w 342816"/>
                      <a:gd name="connsiteY77" fmla="*/ 80890 h 307776"/>
                      <a:gd name="connsiteX78" fmla="*/ 98882 w 342816"/>
                      <a:gd name="connsiteY78" fmla="*/ 80890 h 307776"/>
                      <a:gd name="connsiteX79" fmla="*/ 80213 w 342816"/>
                      <a:gd name="connsiteY79" fmla="*/ 129277 h 307776"/>
                      <a:gd name="connsiteX0" fmla="*/ 32207 w 342816"/>
                      <a:gd name="connsiteY0" fmla="*/ 271581 h 292791"/>
                      <a:gd name="connsiteX1" fmla="*/ 15633 w 342816"/>
                      <a:gd name="connsiteY1" fmla="*/ 281010 h 292791"/>
                      <a:gd name="connsiteX2" fmla="*/ 20205 w 342816"/>
                      <a:gd name="connsiteY2" fmla="*/ 145660 h 292791"/>
                      <a:gd name="connsiteX3" fmla="*/ 33255 w 342816"/>
                      <a:gd name="connsiteY3" fmla="*/ 142326 h 292791"/>
                      <a:gd name="connsiteX4" fmla="*/ 36588 w 342816"/>
                      <a:gd name="connsiteY4" fmla="*/ 155376 h 292791"/>
                      <a:gd name="connsiteX5" fmla="*/ 32207 w 342816"/>
                      <a:gd name="connsiteY5" fmla="*/ 271581 h 292791"/>
                      <a:gd name="connsiteX6" fmla="*/ 150317 w 342816"/>
                      <a:gd name="connsiteY6" fmla="*/ 175283 h 292791"/>
                      <a:gd name="connsiteX7" fmla="*/ 119075 w 342816"/>
                      <a:gd name="connsiteY7" fmla="*/ 194333 h 292791"/>
                      <a:gd name="connsiteX8" fmla="*/ 86499 w 342816"/>
                      <a:gd name="connsiteY8" fmla="*/ 176902 h 292791"/>
                      <a:gd name="connsiteX9" fmla="*/ 75165 w 342816"/>
                      <a:gd name="connsiteY9" fmla="*/ 169187 h 292791"/>
                      <a:gd name="connsiteX10" fmla="*/ 67449 w 342816"/>
                      <a:gd name="connsiteY10" fmla="*/ 180522 h 292791"/>
                      <a:gd name="connsiteX11" fmla="*/ 110788 w 342816"/>
                      <a:gd name="connsiteY11" fmla="*/ 212716 h 292791"/>
                      <a:gd name="connsiteX12" fmla="*/ 110026 w 342816"/>
                      <a:gd name="connsiteY12" fmla="*/ 218812 h 292791"/>
                      <a:gd name="connsiteX13" fmla="*/ 112884 w 342816"/>
                      <a:gd name="connsiteY13" fmla="*/ 239100 h 292791"/>
                      <a:gd name="connsiteX14" fmla="*/ 84309 w 342816"/>
                      <a:gd name="connsiteY14" fmla="*/ 246530 h 292791"/>
                      <a:gd name="connsiteX15" fmla="*/ 80975 w 342816"/>
                      <a:gd name="connsiteY15" fmla="*/ 259579 h 292791"/>
                      <a:gd name="connsiteX16" fmla="*/ 89071 w 342816"/>
                      <a:gd name="connsiteY16" fmla="*/ 264246 h 292791"/>
                      <a:gd name="connsiteX17" fmla="*/ 93738 w 342816"/>
                      <a:gd name="connsiteY17" fmla="*/ 263103 h 292791"/>
                      <a:gd name="connsiteX18" fmla="*/ 123742 w 342816"/>
                      <a:gd name="connsiteY18" fmla="*/ 260913 h 292791"/>
                      <a:gd name="connsiteX19" fmla="*/ 125647 w 342816"/>
                      <a:gd name="connsiteY19" fmla="*/ 261579 h 292791"/>
                      <a:gd name="connsiteX20" fmla="*/ 144697 w 342816"/>
                      <a:gd name="connsiteY20" fmla="*/ 281296 h 292791"/>
                      <a:gd name="connsiteX21" fmla="*/ 151650 w 342816"/>
                      <a:gd name="connsiteY21" fmla="*/ 284154 h 292791"/>
                      <a:gd name="connsiteX22" fmla="*/ 161137 w 342816"/>
                      <a:gd name="connsiteY22" fmla="*/ 274591 h 292791"/>
                      <a:gd name="connsiteX23" fmla="*/ 158508 w 342816"/>
                      <a:gd name="connsiteY23" fmla="*/ 268056 h 292791"/>
                      <a:gd name="connsiteX24" fmla="*/ 138887 w 342816"/>
                      <a:gd name="connsiteY24" fmla="*/ 247673 h 292791"/>
                      <a:gd name="connsiteX25" fmla="*/ 129362 w 342816"/>
                      <a:gd name="connsiteY25" fmla="*/ 219574 h 292791"/>
                      <a:gd name="connsiteX26" fmla="*/ 153365 w 342816"/>
                      <a:gd name="connsiteY26" fmla="*/ 193761 h 292791"/>
                      <a:gd name="connsiteX27" fmla="*/ 174987 w 342816"/>
                      <a:gd name="connsiteY27" fmla="*/ 187380 h 292791"/>
                      <a:gd name="connsiteX28" fmla="*/ 187369 w 342816"/>
                      <a:gd name="connsiteY28" fmla="*/ 227289 h 292791"/>
                      <a:gd name="connsiteX29" fmla="*/ 192227 w 342816"/>
                      <a:gd name="connsiteY29" fmla="*/ 239862 h 292791"/>
                      <a:gd name="connsiteX30" fmla="*/ 204800 w 342816"/>
                      <a:gd name="connsiteY30" fmla="*/ 235005 h 292791"/>
                      <a:gd name="connsiteX31" fmla="*/ 203466 w 342816"/>
                      <a:gd name="connsiteY31" fmla="*/ 192999 h 292791"/>
                      <a:gd name="connsiteX32" fmla="*/ 219564 w 342816"/>
                      <a:gd name="connsiteY32" fmla="*/ 181760 h 292791"/>
                      <a:gd name="connsiteX33" fmla="*/ 249377 w 342816"/>
                      <a:gd name="connsiteY33" fmla="*/ 192999 h 292791"/>
                      <a:gd name="connsiteX34" fmla="*/ 263760 w 342816"/>
                      <a:gd name="connsiteY34" fmla="*/ 234719 h 292791"/>
                      <a:gd name="connsiteX35" fmla="*/ 306432 w 342816"/>
                      <a:gd name="connsiteY35" fmla="*/ 246339 h 292791"/>
                      <a:gd name="connsiteX36" fmla="*/ 312147 w 342816"/>
                      <a:gd name="connsiteY36" fmla="*/ 246339 h 292791"/>
                      <a:gd name="connsiteX37" fmla="*/ 323767 w 342816"/>
                      <a:gd name="connsiteY37" fmla="*/ 257293 h 292791"/>
                      <a:gd name="connsiteX38" fmla="*/ 333292 w 342816"/>
                      <a:gd name="connsiteY38" fmla="*/ 264437 h 292791"/>
                      <a:gd name="connsiteX39" fmla="*/ 335673 w 342816"/>
                      <a:gd name="connsiteY39" fmla="*/ 264437 h 292791"/>
                      <a:gd name="connsiteX40" fmla="*/ 342531 w 342816"/>
                      <a:gd name="connsiteY40" fmla="*/ 252912 h 292791"/>
                      <a:gd name="connsiteX41" fmla="*/ 312432 w 342816"/>
                      <a:gd name="connsiteY41" fmla="*/ 227575 h 292791"/>
                      <a:gd name="connsiteX42" fmla="*/ 305955 w 342816"/>
                      <a:gd name="connsiteY42" fmla="*/ 227575 h 292791"/>
                      <a:gd name="connsiteX43" fmla="*/ 291382 w 342816"/>
                      <a:gd name="connsiteY43" fmla="*/ 227575 h 292791"/>
                      <a:gd name="connsiteX44" fmla="*/ 320624 w 342816"/>
                      <a:gd name="connsiteY44" fmla="*/ 214716 h 292791"/>
                      <a:gd name="connsiteX45" fmla="*/ 331244 w 342816"/>
                      <a:gd name="connsiteY45" fmla="*/ 206287 h 292791"/>
                      <a:gd name="connsiteX46" fmla="*/ 322815 w 342816"/>
                      <a:gd name="connsiteY46" fmla="*/ 195666 h 292791"/>
                      <a:gd name="connsiteX47" fmla="*/ 274713 w 342816"/>
                      <a:gd name="connsiteY47" fmla="*/ 218145 h 292791"/>
                      <a:gd name="connsiteX48" fmla="*/ 268713 w 342816"/>
                      <a:gd name="connsiteY48" fmla="*/ 191190 h 292791"/>
                      <a:gd name="connsiteX49" fmla="*/ 302050 w 342816"/>
                      <a:gd name="connsiteY49" fmla="*/ 165948 h 292791"/>
                      <a:gd name="connsiteX50" fmla="*/ 299478 w 342816"/>
                      <a:gd name="connsiteY50" fmla="*/ 152804 h 292791"/>
                      <a:gd name="connsiteX51" fmla="*/ 286248 w 342816"/>
                      <a:gd name="connsiteY51" fmla="*/ 155357 h 292791"/>
                      <a:gd name="connsiteX52" fmla="*/ 286239 w 342816"/>
                      <a:gd name="connsiteY52" fmla="*/ 155376 h 292791"/>
                      <a:gd name="connsiteX53" fmla="*/ 257664 w 342816"/>
                      <a:gd name="connsiteY53" fmla="*/ 174426 h 292791"/>
                      <a:gd name="connsiteX54" fmla="*/ 228327 w 342816"/>
                      <a:gd name="connsiteY54" fmla="*/ 164901 h 292791"/>
                      <a:gd name="connsiteX55" fmla="*/ 230041 w 342816"/>
                      <a:gd name="connsiteY55" fmla="*/ 143088 h 292791"/>
                      <a:gd name="connsiteX56" fmla="*/ 219373 w 342816"/>
                      <a:gd name="connsiteY56" fmla="*/ 134706 h 292791"/>
                      <a:gd name="connsiteX57" fmla="*/ 210991 w 342816"/>
                      <a:gd name="connsiteY57" fmla="*/ 145374 h 292791"/>
                      <a:gd name="connsiteX58" fmla="*/ 191941 w 342816"/>
                      <a:gd name="connsiteY58" fmla="*/ 177378 h 292791"/>
                      <a:gd name="connsiteX59" fmla="*/ 187464 w 342816"/>
                      <a:gd name="connsiteY59" fmla="*/ 173473 h 292791"/>
                      <a:gd name="connsiteX60" fmla="*/ 162509 w 342816"/>
                      <a:gd name="connsiteY60" fmla="*/ 122800 h 292791"/>
                      <a:gd name="connsiteX61" fmla="*/ 149602 w 342816"/>
                      <a:gd name="connsiteY61" fmla="*/ 126848 h 292791"/>
                      <a:gd name="connsiteX62" fmla="*/ 153651 w 342816"/>
                      <a:gd name="connsiteY62" fmla="*/ 139755 h 292791"/>
                      <a:gd name="connsiteX63" fmla="*/ 168605 w 342816"/>
                      <a:gd name="connsiteY63" fmla="*/ 170330 h 292791"/>
                      <a:gd name="connsiteX64" fmla="*/ 150317 w 342816"/>
                      <a:gd name="connsiteY64" fmla="*/ 175283 h 292791"/>
                      <a:gd name="connsiteX65" fmla="*/ 80213 w 342816"/>
                      <a:gd name="connsiteY65" fmla="*/ 129277 h 292791"/>
                      <a:gd name="connsiteX66" fmla="*/ 85642 w 342816"/>
                      <a:gd name="connsiteY66" fmla="*/ 141564 h 292791"/>
                      <a:gd name="connsiteX67" fmla="*/ 89071 w 342816"/>
                      <a:gd name="connsiteY67" fmla="*/ 142136 h 292791"/>
                      <a:gd name="connsiteX68" fmla="*/ 98025 w 342816"/>
                      <a:gd name="connsiteY68" fmla="*/ 136040 h 292791"/>
                      <a:gd name="connsiteX69" fmla="*/ 126600 w 342816"/>
                      <a:gd name="connsiteY69" fmla="*/ 61364 h 292791"/>
                      <a:gd name="connsiteX70" fmla="*/ 80499 w 342816"/>
                      <a:gd name="connsiteY70" fmla="*/ 61364 h 292791"/>
                      <a:gd name="connsiteX71" fmla="*/ 104025 w 342816"/>
                      <a:gd name="connsiteY71" fmla="*/ 13739 h 292791"/>
                      <a:gd name="connsiteX72" fmla="*/ 99672 w 342816"/>
                      <a:gd name="connsiteY72" fmla="*/ 994 h 292791"/>
                      <a:gd name="connsiteX73" fmla="*/ 99644 w 342816"/>
                      <a:gd name="connsiteY73" fmla="*/ 975 h 292791"/>
                      <a:gd name="connsiteX74" fmla="*/ 86899 w 342816"/>
                      <a:gd name="connsiteY74" fmla="*/ 5328 h 292791"/>
                      <a:gd name="connsiteX75" fmla="*/ 86880 w 342816"/>
                      <a:gd name="connsiteY75" fmla="*/ 5357 h 292791"/>
                      <a:gd name="connsiteX76" fmla="*/ 50019 w 342816"/>
                      <a:gd name="connsiteY76" fmla="*/ 80890 h 292791"/>
                      <a:gd name="connsiteX77" fmla="*/ 98882 w 342816"/>
                      <a:gd name="connsiteY77" fmla="*/ 80890 h 292791"/>
                      <a:gd name="connsiteX78" fmla="*/ 80213 w 342816"/>
                      <a:gd name="connsiteY78" fmla="*/ 129277 h 292791"/>
                      <a:gd name="connsiteX0" fmla="*/ 36588 w 342816"/>
                      <a:gd name="connsiteY0" fmla="*/ 155376 h 284155"/>
                      <a:gd name="connsiteX1" fmla="*/ 15633 w 342816"/>
                      <a:gd name="connsiteY1" fmla="*/ 281010 h 284155"/>
                      <a:gd name="connsiteX2" fmla="*/ 20205 w 342816"/>
                      <a:gd name="connsiteY2" fmla="*/ 145660 h 284155"/>
                      <a:gd name="connsiteX3" fmla="*/ 33255 w 342816"/>
                      <a:gd name="connsiteY3" fmla="*/ 142326 h 284155"/>
                      <a:gd name="connsiteX4" fmla="*/ 36588 w 342816"/>
                      <a:gd name="connsiteY4" fmla="*/ 155376 h 284155"/>
                      <a:gd name="connsiteX5" fmla="*/ 150317 w 342816"/>
                      <a:gd name="connsiteY5" fmla="*/ 175283 h 284155"/>
                      <a:gd name="connsiteX6" fmla="*/ 119075 w 342816"/>
                      <a:gd name="connsiteY6" fmla="*/ 194333 h 284155"/>
                      <a:gd name="connsiteX7" fmla="*/ 86499 w 342816"/>
                      <a:gd name="connsiteY7" fmla="*/ 176902 h 284155"/>
                      <a:gd name="connsiteX8" fmla="*/ 75165 w 342816"/>
                      <a:gd name="connsiteY8" fmla="*/ 169187 h 284155"/>
                      <a:gd name="connsiteX9" fmla="*/ 67449 w 342816"/>
                      <a:gd name="connsiteY9" fmla="*/ 180522 h 284155"/>
                      <a:gd name="connsiteX10" fmla="*/ 110788 w 342816"/>
                      <a:gd name="connsiteY10" fmla="*/ 212716 h 284155"/>
                      <a:gd name="connsiteX11" fmla="*/ 110026 w 342816"/>
                      <a:gd name="connsiteY11" fmla="*/ 218812 h 284155"/>
                      <a:gd name="connsiteX12" fmla="*/ 112884 w 342816"/>
                      <a:gd name="connsiteY12" fmla="*/ 239100 h 284155"/>
                      <a:gd name="connsiteX13" fmla="*/ 84309 w 342816"/>
                      <a:gd name="connsiteY13" fmla="*/ 246530 h 284155"/>
                      <a:gd name="connsiteX14" fmla="*/ 80975 w 342816"/>
                      <a:gd name="connsiteY14" fmla="*/ 259579 h 284155"/>
                      <a:gd name="connsiteX15" fmla="*/ 89071 w 342816"/>
                      <a:gd name="connsiteY15" fmla="*/ 264246 h 284155"/>
                      <a:gd name="connsiteX16" fmla="*/ 93738 w 342816"/>
                      <a:gd name="connsiteY16" fmla="*/ 263103 h 284155"/>
                      <a:gd name="connsiteX17" fmla="*/ 123742 w 342816"/>
                      <a:gd name="connsiteY17" fmla="*/ 260913 h 284155"/>
                      <a:gd name="connsiteX18" fmla="*/ 125647 w 342816"/>
                      <a:gd name="connsiteY18" fmla="*/ 261579 h 284155"/>
                      <a:gd name="connsiteX19" fmla="*/ 144697 w 342816"/>
                      <a:gd name="connsiteY19" fmla="*/ 281296 h 284155"/>
                      <a:gd name="connsiteX20" fmla="*/ 151650 w 342816"/>
                      <a:gd name="connsiteY20" fmla="*/ 284154 h 284155"/>
                      <a:gd name="connsiteX21" fmla="*/ 161137 w 342816"/>
                      <a:gd name="connsiteY21" fmla="*/ 274591 h 284155"/>
                      <a:gd name="connsiteX22" fmla="*/ 158508 w 342816"/>
                      <a:gd name="connsiteY22" fmla="*/ 268056 h 284155"/>
                      <a:gd name="connsiteX23" fmla="*/ 138887 w 342816"/>
                      <a:gd name="connsiteY23" fmla="*/ 247673 h 284155"/>
                      <a:gd name="connsiteX24" fmla="*/ 129362 w 342816"/>
                      <a:gd name="connsiteY24" fmla="*/ 219574 h 284155"/>
                      <a:gd name="connsiteX25" fmla="*/ 153365 w 342816"/>
                      <a:gd name="connsiteY25" fmla="*/ 193761 h 284155"/>
                      <a:gd name="connsiteX26" fmla="*/ 174987 w 342816"/>
                      <a:gd name="connsiteY26" fmla="*/ 187380 h 284155"/>
                      <a:gd name="connsiteX27" fmla="*/ 187369 w 342816"/>
                      <a:gd name="connsiteY27" fmla="*/ 227289 h 284155"/>
                      <a:gd name="connsiteX28" fmla="*/ 192227 w 342816"/>
                      <a:gd name="connsiteY28" fmla="*/ 239862 h 284155"/>
                      <a:gd name="connsiteX29" fmla="*/ 204800 w 342816"/>
                      <a:gd name="connsiteY29" fmla="*/ 235005 h 284155"/>
                      <a:gd name="connsiteX30" fmla="*/ 203466 w 342816"/>
                      <a:gd name="connsiteY30" fmla="*/ 192999 h 284155"/>
                      <a:gd name="connsiteX31" fmla="*/ 219564 w 342816"/>
                      <a:gd name="connsiteY31" fmla="*/ 181760 h 284155"/>
                      <a:gd name="connsiteX32" fmla="*/ 249377 w 342816"/>
                      <a:gd name="connsiteY32" fmla="*/ 192999 h 284155"/>
                      <a:gd name="connsiteX33" fmla="*/ 263760 w 342816"/>
                      <a:gd name="connsiteY33" fmla="*/ 234719 h 284155"/>
                      <a:gd name="connsiteX34" fmla="*/ 306432 w 342816"/>
                      <a:gd name="connsiteY34" fmla="*/ 246339 h 284155"/>
                      <a:gd name="connsiteX35" fmla="*/ 312147 w 342816"/>
                      <a:gd name="connsiteY35" fmla="*/ 246339 h 284155"/>
                      <a:gd name="connsiteX36" fmla="*/ 323767 w 342816"/>
                      <a:gd name="connsiteY36" fmla="*/ 257293 h 284155"/>
                      <a:gd name="connsiteX37" fmla="*/ 333292 w 342816"/>
                      <a:gd name="connsiteY37" fmla="*/ 264437 h 284155"/>
                      <a:gd name="connsiteX38" fmla="*/ 335673 w 342816"/>
                      <a:gd name="connsiteY38" fmla="*/ 264437 h 284155"/>
                      <a:gd name="connsiteX39" fmla="*/ 342531 w 342816"/>
                      <a:gd name="connsiteY39" fmla="*/ 252912 h 284155"/>
                      <a:gd name="connsiteX40" fmla="*/ 312432 w 342816"/>
                      <a:gd name="connsiteY40" fmla="*/ 227575 h 284155"/>
                      <a:gd name="connsiteX41" fmla="*/ 305955 w 342816"/>
                      <a:gd name="connsiteY41" fmla="*/ 227575 h 284155"/>
                      <a:gd name="connsiteX42" fmla="*/ 291382 w 342816"/>
                      <a:gd name="connsiteY42" fmla="*/ 227575 h 284155"/>
                      <a:gd name="connsiteX43" fmla="*/ 320624 w 342816"/>
                      <a:gd name="connsiteY43" fmla="*/ 214716 h 284155"/>
                      <a:gd name="connsiteX44" fmla="*/ 331244 w 342816"/>
                      <a:gd name="connsiteY44" fmla="*/ 206287 h 284155"/>
                      <a:gd name="connsiteX45" fmla="*/ 322815 w 342816"/>
                      <a:gd name="connsiteY45" fmla="*/ 195666 h 284155"/>
                      <a:gd name="connsiteX46" fmla="*/ 274713 w 342816"/>
                      <a:gd name="connsiteY46" fmla="*/ 218145 h 284155"/>
                      <a:gd name="connsiteX47" fmla="*/ 268713 w 342816"/>
                      <a:gd name="connsiteY47" fmla="*/ 191190 h 284155"/>
                      <a:gd name="connsiteX48" fmla="*/ 302050 w 342816"/>
                      <a:gd name="connsiteY48" fmla="*/ 165948 h 284155"/>
                      <a:gd name="connsiteX49" fmla="*/ 299478 w 342816"/>
                      <a:gd name="connsiteY49" fmla="*/ 152804 h 284155"/>
                      <a:gd name="connsiteX50" fmla="*/ 286248 w 342816"/>
                      <a:gd name="connsiteY50" fmla="*/ 155357 h 284155"/>
                      <a:gd name="connsiteX51" fmla="*/ 286239 w 342816"/>
                      <a:gd name="connsiteY51" fmla="*/ 155376 h 284155"/>
                      <a:gd name="connsiteX52" fmla="*/ 257664 w 342816"/>
                      <a:gd name="connsiteY52" fmla="*/ 174426 h 284155"/>
                      <a:gd name="connsiteX53" fmla="*/ 228327 w 342816"/>
                      <a:gd name="connsiteY53" fmla="*/ 164901 h 284155"/>
                      <a:gd name="connsiteX54" fmla="*/ 230041 w 342816"/>
                      <a:gd name="connsiteY54" fmla="*/ 143088 h 284155"/>
                      <a:gd name="connsiteX55" fmla="*/ 219373 w 342816"/>
                      <a:gd name="connsiteY55" fmla="*/ 134706 h 284155"/>
                      <a:gd name="connsiteX56" fmla="*/ 210991 w 342816"/>
                      <a:gd name="connsiteY56" fmla="*/ 145374 h 284155"/>
                      <a:gd name="connsiteX57" fmla="*/ 191941 w 342816"/>
                      <a:gd name="connsiteY57" fmla="*/ 177378 h 284155"/>
                      <a:gd name="connsiteX58" fmla="*/ 187464 w 342816"/>
                      <a:gd name="connsiteY58" fmla="*/ 173473 h 284155"/>
                      <a:gd name="connsiteX59" fmla="*/ 162509 w 342816"/>
                      <a:gd name="connsiteY59" fmla="*/ 122800 h 284155"/>
                      <a:gd name="connsiteX60" fmla="*/ 149602 w 342816"/>
                      <a:gd name="connsiteY60" fmla="*/ 126848 h 284155"/>
                      <a:gd name="connsiteX61" fmla="*/ 153651 w 342816"/>
                      <a:gd name="connsiteY61" fmla="*/ 139755 h 284155"/>
                      <a:gd name="connsiteX62" fmla="*/ 168605 w 342816"/>
                      <a:gd name="connsiteY62" fmla="*/ 170330 h 284155"/>
                      <a:gd name="connsiteX63" fmla="*/ 150317 w 342816"/>
                      <a:gd name="connsiteY63" fmla="*/ 175283 h 284155"/>
                      <a:gd name="connsiteX64" fmla="*/ 80213 w 342816"/>
                      <a:gd name="connsiteY64" fmla="*/ 129277 h 284155"/>
                      <a:gd name="connsiteX65" fmla="*/ 85642 w 342816"/>
                      <a:gd name="connsiteY65" fmla="*/ 141564 h 284155"/>
                      <a:gd name="connsiteX66" fmla="*/ 89071 w 342816"/>
                      <a:gd name="connsiteY66" fmla="*/ 142136 h 284155"/>
                      <a:gd name="connsiteX67" fmla="*/ 98025 w 342816"/>
                      <a:gd name="connsiteY67" fmla="*/ 136040 h 284155"/>
                      <a:gd name="connsiteX68" fmla="*/ 126600 w 342816"/>
                      <a:gd name="connsiteY68" fmla="*/ 61364 h 284155"/>
                      <a:gd name="connsiteX69" fmla="*/ 80499 w 342816"/>
                      <a:gd name="connsiteY69" fmla="*/ 61364 h 284155"/>
                      <a:gd name="connsiteX70" fmla="*/ 104025 w 342816"/>
                      <a:gd name="connsiteY70" fmla="*/ 13739 h 284155"/>
                      <a:gd name="connsiteX71" fmla="*/ 99672 w 342816"/>
                      <a:gd name="connsiteY71" fmla="*/ 994 h 284155"/>
                      <a:gd name="connsiteX72" fmla="*/ 99644 w 342816"/>
                      <a:gd name="connsiteY72" fmla="*/ 975 h 284155"/>
                      <a:gd name="connsiteX73" fmla="*/ 86899 w 342816"/>
                      <a:gd name="connsiteY73" fmla="*/ 5328 h 284155"/>
                      <a:gd name="connsiteX74" fmla="*/ 86880 w 342816"/>
                      <a:gd name="connsiteY74" fmla="*/ 5357 h 284155"/>
                      <a:gd name="connsiteX75" fmla="*/ 50019 w 342816"/>
                      <a:gd name="connsiteY75" fmla="*/ 80890 h 284155"/>
                      <a:gd name="connsiteX76" fmla="*/ 98882 w 342816"/>
                      <a:gd name="connsiteY76" fmla="*/ 80890 h 284155"/>
                      <a:gd name="connsiteX77" fmla="*/ 80213 w 342816"/>
                      <a:gd name="connsiteY77" fmla="*/ 129277 h 284155"/>
                      <a:gd name="connsiteX0" fmla="*/ 16408 w 322636"/>
                      <a:gd name="connsiteY0" fmla="*/ 155376 h 284155"/>
                      <a:gd name="connsiteX1" fmla="*/ 25 w 322636"/>
                      <a:gd name="connsiteY1" fmla="*/ 145660 h 284155"/>
                      <a:gd name="connsiteX2" fmla="*/ 13075 w 322636"/>
                      <a:gd name="connsiteY2" fmla="*/ 142326 h 284155"/>
                      <a:gd name="connsiteX3" fmla="*/ 16408 w 322636"/>
                      <a:gd name="connsiteY3" fmla="*/ 155376 h 284155"/>
                      <a:gd name="connsiteX4" fmla="*/ 130137 w 322636"/>
                      <a:gd name="connsiteY4" fmla="*/ 175283 h 284155"/>
                      <a:gd name="connsiteX5" fmla="*/ 98895 w 322636"/>
                      <a:gd name="connsiteY5" fmla="*/ 194333 h 284155"/>
                      <a:gd name="connsiteX6" fmla="*/ 66319 w 322636"/>
                      <a:gd name="connsiteY6" fmla="*/ 176902 h 284155"/>
                      <a:gd name="connsiteX7" fmla="*/ 54985 w 322636"/>
                      <a:gd name="connsiteY7" fmla="*/ 169187 h 284155"/>
                      <a:gd name="connsiteX8" fmla="*/ 47269 w 322636"/>
                      <a:gd name="connsiteY8" fmla="*/ 180522 h 284155"/>
                      <a:gd name="connsiteX9" fmla="*/ 90608 w 322636"/>
                      <a:gd name="connsiteY9" fmla="*/ 212716 h 284155"/>
                      <a:gd name="connsiteX10" fmla="*/ 89846 w 322636"/>
                      <a:gd name="connsiteY10" fmla="*/ 218812 h 284155"/>
                      <a:gd name="connsiteX11" fmla="*/ 92704 w 322636"/>
                      <a:gd name="connsiteY11" fmla="*/ 239100 h 284155"/>
                      <a:gd name="connsiteX12" fmla="*/ 64129 w 322636"/>
                      <a:gd name="connsiteY12" fmla="*/ 246530 h 284155"/>
                      <a:gd name="connsiteX13" fmla="*/ 60795 w 322636"/>
                      <a:gd name="connsiteY13" fmla="*/ 259579 h 284155"/>
                      <a:gd name="connsiteX14" fmla="*/ 68891 w 322636"/>
                      <a:gd name="connsiteY14" fmla="*/ 264246 h 284155"/>
                      <a:gd name="connsiteX15" fmla="*/ 73558 w 322636"/>
                      <a:gd name="connsiteY15" fmla="*/ 263103 h 284155"/>
                      <a:gd name="connsiteX16" fmla="*/ 103562 w 322636"/>
                      <a:gd name="connsiteY16" fmla="*/ 260913 h 284155"/>
                      <a:gd name="connsiteX17" fmla="*/ 105467 w 322636"/>
                      <a:gd name="connsiteY17" fmla="*/ 261579 h 284155"/>
                      <a:gd name="connsiteX18" fmla="*/ 124517 w 322636"/>
                      <a:gd name="connsiteY18" fmla="*/ 281296 h 284155"/>
                      <a:gd name="connsiteX19" fmla="*/ 131470 w 322636"/>
                      <a:gd name="connsiteY19" fmla="*/ 284154 h 284155"/>
                      <a:gd name="connsiteX20" fmla="*/ 140957 w 322636"/>
                      <a:gd name="connsiteY20" fmla="*/ 274591 h 284155"/>
                      <a:gd name="connsiteX21" fmla="*/ 138328 w 322636"/>
                      <a:gd name="connsiteY21" fmla="*/ 268056 h 284155"/>
                      <a:gd name="connsiteX22" fmla="*/ 118707 w 322636"/>
                      <a:gd name="connsiteY22" fmla="*/ 247673 h 284155"/>
                      <a:gd name="connsiteX23" fmla="*/ 109182 w 322636"/>
                      <a:gd name="connsiteY23" fmla="*/ 219574 h 284155"/>
                      <a:gd name="connsiteX24" fmla="*/ 133185 w 322636"/>
                      <a:gd name="connsiteY24" fmla="*/ 193761 h 284155"/>
                      <a:gd name="connsiteX25" fmla="*/ 154807 w 322636"/>
                      <a:gd name="connsiteY25" fmla="*/ 187380 h 284155"/>
                      <a:gd name="connsiteX26" fmla="*/ 167189 w 322636"/>
                      <a:gd name="connsiteY26" fmla="*/ 227289 h 284155"/>
                      <a:gd name="connsiteX27" fmla="*/ 172047 w 322636"/>
                      <a:gd name="connsiteY27" fmla="*/ 239862 h 284155"/>
                      <a:gd name="connsiteX28" fmla="*/ 184620 w 322636"/>
                      <a:gd name="connsiteY28" fmla="*/ 235005 h 284155"/>
                      <a:gd name="connsiteX29" fmla="*/ 183286 w 322636"/>
                      <a:gd name="connsiteY29" fmla="*/ 192999 h 284155"/>
                      <a:gd name="connsiteX30" fmla="*/ 199384 w 322636"/>
                      <a:gd name="connsiteY30" fmla="*/ 181760 h 284155"/>
                      <a:gd name="connsiteX31" fmla="*/ 229197 w 322636"/>
                      <a:gd name="connsiteY31" fmla="*/ 192999 h 284155"/>
                      <a:gd name="connsiteX32" fmla="*/ 243580 w 322636"/>
                      <a:gd name="connsiteY32" fmla="*/ 234719 h 284155"/>
                      <a:gd name="connsiteX33" fmla="*/ 286252 w 322636"/>
                      <a:gd name="connsiteY33" fmla="*/ 246339 h 284155"/>
                      <a:gd name="connsiteX34" fmla="*/ 291967 w 322636"/>
                      <a:gd name="connsiteY34" fmla="*/ 246339 h 284155"/>
                      <a:gd name="connsiteX35" fmla="*/ 303587 w 322636"/>
                      <a:gd name="connsiteY35" fmla="*/ 257293 h 284155"/>
                      <a:gd name="connsiteX36" fmla="*/ 313112 w 322636"/>
                      <a:gd name="connsiteY36" fmla="*/ 264437 h 284155"/>
                      <a:gd name="connsiteX37" fmla="*/ 315493 w 322636"/>
                      <a:gd name="connsiteY37" fmla="*/ 264437 h 284155"/>
                      <a:gd name="connsiteX38" fmla="*/ 322351 w 322636"/>
                      <a:gd name="connsiteY38" fmla="*/ 252912 h 284155"/>
                      <a:gd name="connsiteX39" fmla="*/ 292252 w 322636"/>
                      <a:gd name="connsiteY39" fmla="*/ 227575 h 284155"/>
                      <a:gd name="connsiteX40" fmla="*/ 285775 w 322636"/>
                      <a:gd name="connsiteY40" fmla="*/ 227575 h 284155"/>
                      <a:gd name="connsiteX41" fmla="*/ 271202 w 322636"/>
                      <a:gd name="connsiteY41" fmla="*/ 227575 h 284155"/>
                      <a:gd name="connsiteX42" fmla="*/ 300444 w 322636"/>
                      <a:gd name="connsiteY42" fmla="*/ 214716 h 284155"/>
                      <a:gd name="connsiteX43" fmla="*/ 311064 w 322636"/>
                      <a:gd name="connsiteY43" fmla="*/ 206287 h 284155"/>
                      <a:gd name="connsiteX44" fmla="*/ 302635 w 322636"/>
                      <a:gd name="connsiteY44" fmla="*/ 195666 h 284155"/>
                      <a:gd name="connsiteX45" fmla="*/ 254533 w 322636"/>
                      <a:gd name="connsiteY45" fmla="*/ 218145 h 284155"/>
                      <a:gd name="connsiteX46" fmla="*/ 248533 w 322636"/>
                      <a:gd name="connsiteY46" fmla="*/ 191190 h 284155"/>
                      <a:gd name="connsiteX47" fmla="*/ 281870 w 322636"/>
                      <a:gd name="connsiteY47" fmla="*/ 165948 h 284155"/>
                      <a:gd name="connsiteX48" fmla="*/ 279298 w 322636"/>
                      <a:gd name="connsiteY48" fmla="*/ 152804 h 284155"/>
                      <a:gd name="connsiteX49" fmla="*/ 266068 w 322636"/>
                      <a:gd name="connsiteY49" fmla="*/ 155357 h 284155"/>
                      <a:gd name="connsiteX50" fmla="*/ 266059 w 322636"/>
                      <a:gd name="connsiteY50" fmla="*/ 155376 h 284155"/>
                      <a:gd name="connsiteX51" fmla="*/ 237484 w 322636"/>
                      <a:gd name="connsiteY51" fmla="*/ 174426 h 284155"/>
                      <a:gd name="connsiteX52" fmla="*/ 208147 w 322636"/>
                      <a:gd name="connsiteY52" fmla="*/ 164901 h 284155"/>
                      <a:gd name="connsiteX53" fmla="*/ 209861 w 322636"/>
                      <a:gd name="connsiteY53" fmla="*/ 143088 h 284155"/>
                      <a:gd name="connsiteX54" fmla="*/ 199193 w 322636"/>
                      <a:gd name="connsiteY54" fmla="*/ 134706 h 284155"/>
                      <a:gd name="connsiteX55" fmla="*/ 190811 w 322636"/>
                      <a:gd name="connsiteY55" fmla="*/ 145374 h 284155"/>
                      <a:gd name="connsiteX56" fmla="*/ 171761 w 322636"/>
                      <a:gd name="connsiteY56" fmla="*/ 177378 h 284155"/>
                      <a:gd name="connsiteX57" fmla="*/ 167284 w 322636"/>
                      <a:gd name="connsiteY57" fmla="*/ 173473 h 284155"/>
                      <a:gd name="connsiteX58" fmla="*/ 142329 w 322636"/>
                      <a:gd name="connsiteY58" fmla="*/ 122800 h 284155"/>
                      <a:gd name="connsiteX59" fmla="*/ 129422 w 322636"/>
                      <a:gd name="connsiteY59" fmla="*/ 126848 h 284155"/>
                      <a:gd name="connsiteX60" fmla="*/ 133471 w 322636"/>
                      <a:gd name="connsiteY60" fmla="*/ 139755 h 284155"/>
                      <a:gd name="connsiteX61" fmla="*/ 148425 w 322636"/>
                      <a:gd name="connsiteY61" fmla="*/ 170330 h 284155"/>
                      <a:gd name="connsiteX62" fmla="*/ 130137 w 322636"/>
                      <a:gd name="connsiteY62" fmla="*/ 175283 h 284155"/>
                      <a:gd name="connsiteX63" fmla="*/ 60033 w 322636"/>
                      <a:gd name="connsiteY63" fmla="*/ 129277 h 284155"/>
                      <a:gd name="connsiteX64" fmla="*/ 65462 w 322636"/>
                      <a:gd name="connsiteY64" fmla="*/ 141564 h 284155"/>
                      <a:gd name="connsiteX65" fmla="*/ 68891 w 322636"/>
                      <a:gd name="connsiteY65" fmla="*/ 142136 h 284155"/>
                      <a:gd name="connsiteX66" fmla="*/ 77845 w 322636"/>
                      <a:gd name="connsiteY66" fmla="*/ 136040 h 284155"/>
                      <a:gd name="connsiteX67" fmla="*/ 106420 w 322636"/>
                      <a:gd name="connsiteY67" fmla="*/ 61364 h 284155"/>
                      <a:gd name="connsiteX68" fmla="*/ 60319 w 322636"/>
                      <a:gd name="connsiteY68" fmla="*/ 61364 h 284155"/>
                      <a:gd name="connsiteX69" fmla="*/ 83845 w 322636"/>
                      <a:gd name="connsiteY69" fmla="*/ 13739 h 284155"/>
                      <a:gd name="connsiteX70" fmla="*/ 79492 w 322636"/>
                      <a:gd name="connsiteY70" fmla="*/ 994 h 284155"/>
                      <a:gd name="connsiteX71" fmla="*/ 79464 w 322636"/>
                      <a:gd name="connsiteY71" fmla="*/ 975 h 284155"/>
                      <a:gd name="connsiteX72" fmla="*/ 66719 w 322636"/>
                      <a:gd name="connsiteY72" fmla="*/ 5328 h 284155"/>
                      <a:gd name="connsiteX73" fmla="*/ 66700 w 322636"/>
                      <a:gd name="connsiteY73" fmla="*/ 5357 h 284155"/>
                      <a:gd name="connsiteX74" fmla="*/ 29839 w 322636"/>
                      <a:gd name="connsiteY74" fmla="*/ 80890 h 284155"/>
                      <a:gd name="connsiteX75" fmla="*/ 78702 w 322636"/>
                      <a:gd name="connsiteY75" fmla="*/ 80890 h 284155"/>
                      <a:gd name="connsiteX76" fmla="*/ 60033 w 322636"/>
                      <a:gd name="connsiteY76" fmla="*/ 129277 h 284155"/>
                      <a:gd name="connsiteX0" fmla="*/ 13067 w 322628"/>
                      <a:gd name="connsiteY0" fmla="*/ 142326 h 284155"/>
                      <a:gd name="connsiteX1" fmla="*/ 17 w 322628"/>
                      <a:gd name="connsiteY1" fmla="*/ 145660 h 284155"/>
                      <a:gd name="connsiteX2" fmla="*/ 13067 w 322628"/>
                      <a:gd name="connsiteY2" fmla="*/ 142326 h 284155"/>
                      <a:gd name="connsiteX3" fmla="*/ 130129 w 322628"/>
                      <a:gd name="connsiteY3" fmla="*/ 175283 h 284155"/>
                      <a:gd name="connsiteX4" fmla="*/ 98887 w 322628"/>
                      <a:gd name="connsiteY4" fmla="*/ 194333 h 284155"/>
                      <a:gd name="connsiteX5" fmla="*/ 66311 w 322628"/>
                      <a:gd name="connsiteY5" fmla="*/ 176902 h 284155"/>
                      <a:gd name="connsiteX6" fmla="*/ 54977 w 322628"/>
                      <a:gd name="connsiteY6" fmla="*/ 169187 h 284155"/>
                      <a:gd name="connsiteX7" fmla="*/ 47261 w 322628"/>
                      <a:gd name="connsiteY7" fmla="*/ 180522 h 284155"/>
                      <a:gd name="connsiteX8" fmla="*/ 90600 w 322628"/>
                      <a:gd name="connsiteY8" fmla="*/ 212716 h 284155"/>
                      <a:gd name="connsiteX9" fmla="*/ 89838 w 322628"/>
                      <a:gd name="connsiteY9" fmla="*/ 218812 h 284155"/>
                      <a:gd name="connsiteX10" fmla="*/ 92696 w 322628"/>
                      <a:gd name="connsiteY10" fmla="*/ 239100 h 284155"/>
                      <a:gd name="connsiteX11" fmla="*/ 64121 w 322628"/>
                      <a:gd name="connsiteY11" fmla="*/ 246530 h 284155"/>
                      <a:gd name="connsiteX12" fmla="*/ 60787 w 322628"/>
                      <a:gd name="connsiteY12" fmla="*/ 259579 h 284155"/>
                      <a:gd name="connsiteX13" fmla="*/ 68883 w 322628"/>
                      <a:gd name="connsiteY13" fmla="*/ 264246 h 284155"/>
                      <a:gd name="connsiteX14" fmla="*/ 73550 w 322628"/>
                      <a:gd name="connsiteY14" fmla="*/ 263103 h 284155"/>
                      <a:gd name="connsiteX15" fmla="*/ 103554 w 322628"/>
                      <a:gd name="connsiteY15" fmla="*/ 260913 h 284155"/>
                      <a:gd name="connsiteX16" fmla="*/ 105459 w 322628"/>
                      <a:gd name="connsiteY16" fmla="*/ 261579 h 284155"/>
                      <a:gd name="connsiteX17" fmla="*/ 124509 w 322628"/>
                      <a:gd name="connsiteY17" fmla="*/ 281296 h 284155"/>
                      <a:gd name="connsiteX18" fmla="*/ 131462 w 322628"/>
                      <a:gd name="connsiteY18" fmla="*/ 284154 h 284155"/>
                      <a:gd name="connsiteX19" fmla="*/ 140949 w 322628"/>
                      <a:gd name="connsiteY19" fmla="*/ 274591 h 284155"/>
                      <a:gd name="connsiteX20" fmla="*/ 138320 w 322628"/>
                      <a:gd name="connsiteY20" fmla="*/ 268056 h 284155"/>
                      <a:gd name="connsiteX21" fmla="*/ 118699 w 322628"/>
                      <a:gd name="connsiteY21" fmla="*/ 247673 h 284155"/>
                      <a:gd name="connsiteX22" fmla="*/ 109174 w 322628"/>
                      <a:gd name="connsiteY22" fmla="*/ 219574 h 284155"/>
                      <a:gd name="connsiteX23" fmla="*/ 133177 w 322628"/>
                      <a:gd name="connsiteY23" fmla="*/ 193761 h 284155"/>
                      <a:gd name="connsiteX24" fmla="*/ 154799 w 322628"/>
                      <a:gd name="connsiteY24" fmla="*/ 187380 h 284155"/>
                      <a:gd name="connsiteX25" fmla="*/ 167181 w 322628"/>
                      <a:gd name="connsiteY25" fmla="*/ 227289 h 284155"/>
                      <a:gd name="connsiteX26" fmla="*/ 172039 w 322628"/>
                      <a:gd name="connsiteY26" fmla="*/ 239862 h 284155"/>
                      <a:gd name="connsiteX27" fmla="*/ 184612 w 322628"/>
                      <a:gd name="connsiteY27" fmla="*/ 235005 h 284155"/>
                      <a:gd name="connsiteX28" fmla="*/ 183278 w 322628"/>
                      <a:gd name="connsiteY28" fmla="*/ 192999 h 284155"/>
                      <a:gd name="connsiteX29" fmla="*/ 199376 w 322628"/>
                      <a:gd name="connsiteY29" fmla="*/ 181760 h 284155"/>
                      <a:gd name="connsiteX30" fmla="*/ 229189 w 322628"/>
                      <a:gd name="connsiteY30" fmla="*/ 192999 h 284155"/>
                      <a:gd name="connsiteX31" fmla="*/ 243572 w 322628"/>
                      <a:gd name="connsiteY31" fmla="*/ 234719 h 284155"/>
                      <a:gd name="connsiteX32" fmla="*/ 286244 w 322628"/>
                      <a:gd name="connsiteY32" fmla="*/ 246339 h 284155"/>
                      <a:gd name="connsiteX33" fmla="*/ 291959 w 322628"/>
                      <a:gd name="connsiteY33" fmla="*/ 246339 h 284155"/>
                      <a:gd name="connsiteX34" fmla="*/ 303579 w 322628"/>
                      <a:gd name="connsiteY34" fmla="*/ 257293 h 284155"/>
                      <a:gd name="connsiteX35" fmla="*/ 313104 w 322628"/>
                      <a:gd name="connsiteY35" fmla="*/ 264437 h 284155"/>
                      <a:gd name="connsiteX36" fmla="*/ 315485 w 322628"/>
                      <a:gd name="connsiteY36" fmla="*/ 264437 h 284155"/>
                      <a:gd name="connsiteX37" fmla="*/ 322343 w 322628"/>
                      <a:gd name="connsiteY37" fmla="*/ 252912 h 284155"/>
                      <a:gd name="connsiteX38" fmla="*/ 292244 w 322628"/>
                      <a:gd name="connsiteY38" fmla="*/ 227575 h 284155"/>
                      <a:gd name="connsiteX39" fmla="*/ 285767 w 322628"/>
                      <a:gd name="connsiteY39" fmla="*/ 227575 h 284155"/>
                      <a:gd name="connsiteX40" fmla="*/ 271194 w 322628"/>
                      <a:gd name="connsiteY40" fmla="*/ 227575 h 284155"/>
                      <a:gd name="connsiteX41" fmla="*/ 300436 w 322628"/>
                      <a:gd name="connsiteY41" fmla="*/ 214716 h 284155"/>
                      <a:gd name="connsiteX42" fmla="*/ 311056 w 322628"/>
                      <a:gd name="connsiteY42" fmla="*/ 206287 h 284155"/>
                      <a:gd name="connsiteX43" fmla="*/ 302627 w 322628"/>
                      <a:gd name="connsiteY43" fmla="*/ 195666 h 284155"/>
                      <a:gd name="connsiteX44" fmla="*/ 254525 w 322628"/>
                      <a:gd name="connsiteY44" fmla="*/ 218145 h 284155"/>
                      <a:gd name="connsiteX45" fmla="*/ 248525 w 322628"/>
                      <a:gd name="connsiteY45" fmla="*/ 191190 h 284155"/>
                      <a:gd name="connsiteX46" fmla="*/ 281862 w 322628"/>
                      <a:gd name="connsiteY46" fmla="*/ 165948 h 284155"/>
                      <a:gd name="connsiteX47" fmla="*/ 279290 w 322628"/>
                      <a:gd name="connsiteY47" fmla="*/ 152804 h 284155"/>
                      <a:gd name="connsiteX48" fmla="*/ 266060 w 322628"/>
                      <a:gd name="connsiteY48" fmla="*/ 155357 h 284155"/>
                      <a:gd name="connsiteX49" fmla="*/ 266051 w 322628"/>
                      <a:gd name="connsiteY49" fmla="*/ 155376 h 284155"/>
                      <a:gd name="connsiteX50" fmla="*/ 237476 w 322628"/>
                      <a:gd name="connsiteY50" fmla="*/ 174426 h 284155"/>
                      <a:gd name="connsiteX51" fmla="*/ 208139 w 322628"/>
                      <a:gd name="connsiteY51" fmla="*/ 164901 h 284155"/>
                      <a:gd name="connsiteX52" fmla="*/ 209853 w 322628"/>
                      <a:gd name="connsiteY52" fmla="*/ 143088 h 284155"/>
                      <a:gd name="connsiteX53" fmla="*/ 199185 w 322628"/>
                      <a:gd name="connsiteY53" fmla="*/ 134706 h 284155"/>
                      <a:gd name="connsiteX54" fmla="*/ 190803 w 322628"/>
                      <a:gd name="connsiteY54" fmla="*/ 145374 h 284155"/>
                      <a:gd name="connsiteX55" fmla="*/ 171753 w 322628"/>
                      <a:gd name="connsiteY55" fmla="*/ 177378 h 284155"/>
                      <a:gd name="connsiteX56" fmla="*/ 167276 w 322628"/>
                      <a:gd name="connsiteY56" fmla="*/ 173473 h 284155"/>
                      <a:gd name="connsiteX57" fmla="*/ 142321 w 322628"/>
                      <a:gd name="connsiteY57" fmla="*/ 122800 h 284155"/>
                      <a:gd name="connsiteX58" fmla="*/ 129414 w 322628"/>
                      <a:gd name="connsiteY58" fmla="*/ 126848 h 284155"/>
                      <a:gd name="connsiteX59" fmla="*/ 133463 w 322628"/>
                      <a:gd name="connsiteY59" fmla="*/ 139755 h 284155"/>
                      <a:gd name="connsiteX60" fmla="*/ 148417 w 322628"/>
                      <a:gd name="connsiteY60" fmla="*/ 170330 h 284155"/>
                      <a:gd name="connsiteX61" fmla="*/ 130129 w 322628"/>
                      <a:gd name="connsiteY61" fmla="*/ 175283 h 284155"/>
                      <a:gd name="connsiteX62" fmla="*/ 60025 w 322628"/>
                      <a:gd name="connsiteY62" fmla="*/ 129277 h 284155"/>
                      <a:gd name="connsiteX63" fmla="*/ 65454 w 322628"/>
                      <a:gd name="connsiteY63" fmla="*/ 141564 h 284155"/>
                      <a:gd name="connsiteX64" fmla="*/ 68883 w 322628"/>
                      <a:gd name="connsiteY64" fmla="*/ 142136 h 284155"/>
                      <a:gd name="connsiteX65" fmla="*/ 77837 w 322628"/>
                      <a:gd name="connsiteY65" fmla="*/ 136040 h 284155"/>
                      <a:gd name="connsiteX66" fmla="*/ 106412 w 322628"/>
                      <a:gd name="connsiteY66" fmla="*/ 61364 h 284155"/>
                      <a:gd name="connsiteX67" fmla="*/ 60311 w 322628"/>
                      <a:gd name="connsiteY67" fmla="*/ 61364 h 284155"/>
                      <a:gd name="connsiteX68" fmla="*/ 83837 w 322628"/>
                      <a:gd name="connsiteY68" fmla="*/ 13739 h 284155"/>
                      <a:gd name="connsiteX69" fmla="*/ 79484 w 322628"/>
                      <a:gd name="connsiteY69" fmla="*/ 994 h 284155"/>
                      <a:gd name="connsiteX70" fmla="*/ 79456 w 322628"/>
                      <a:gd name="connsiteY70" fmla="*/ 975 h 284155"/>
                      <a:gd name="connsiteX71" fmla="*/ 66711 w 322628"/>
                      <a:gd name="connsiteY71" fmla="*/ 5328 h 284155"/>
                      <a:gd name="connsiteX72" fmla="*/ 66692 w 322628"/>
                      <a:gd name="connsiteY72" fmla="*/ 5357 h 284155"/>
                      <a:gd name="connsiteX73" fmla="*/ 29831 w 322628"/>
                      <a:gd name="connsiteY73" fmla="*/ 80890 h 284155"/>
                      <a:gd name="connsiteX74" fmla="*/ 78694 w 322628"/>
                      <a:gd name="connsiteY74" fmla="*/ 80890 h 284155"/>
                      <a:gd name="connsiteX75" fmla="*/ 60025 w 322628"/>
                      <a:gd name="connsiteY75" fmla="*/ 129277 h 284155"/>
                      <a:gd name="connsiteX0" fmla="*/ 100298 w 292797"/>
                      <a:gd name="connsiteY0" fmla="*/ 175283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24968 w 292797"/>
                      <a:gd name="connsiteY21" fmla="*/ 187380 h 284155"/>
                      <a:gd name="connsiteX22" fmla="*/ 137350 w 292797"/>
                      <a:gd name="connsiteY22" fmla="*/ 227289 h 284155"/>
                      <a:gd name="connsiteX23" fmla="*/ 142208 w 292797"/>
                      <a:gd name="connsiteY23" fmla="*/ 239862 h 284155"/>
                      <a:gd name="connsiteX24" fmla="*/ 154781 w 292797"/>
                      <a:gd name="connsiteY24" fmla="*/ 235005 h 284155"/>
                      <a:gd name="connsiteX25" fmla="*/ 153447 w 292797"/>
                      <a:gd name="connsiteY25" fmla="*/ 192999 h 284155"/>
                      <a:gd name="connsiteX26" fmla="*/ 169545 w 292797"/>
                      <a:gd name="connsiteY26" fmla="*/ 181760 h 284155"/>
                      <a:gd name="connsiteX27" fmla="*/ 199358 w 292797"/>
                      <a:gd name="connsiteY27" fmla="*/ 192999 h 284155"/>
                      <a:gd name="connsiteX28" fmla="*/ 213741 w 292797"/>
                      <a:gd name="connsiteY28" fmla="*/ 234719 h 284155"/>
                      <a:gd name="connsiteX29" fmla="*/ 256413 w 292797"/>
                      <a:gd name="connsiteY29" fmla="*/ 246339 h 284155"/>
                      <a:gd name="connsiteX30" fmla="*/ 262128 w 292797"/>
                      <a:gd name="connsiteY30" fmla="*/ 246339 h 284155"/>
                      <a:gd name="connsiteX31" fmla="*/ 273748 w 292797"/>
                      <a:gd name="connsiteY31" fmla="*/ 257293 h 284155"/>
                      <a:gd name="connsiteX32" fmla="*/ 283273 w 292797"/>
                      <a:gd name="connsiteY32" fmla="*/ 264437 h 284155"/>
                      <a:gd name="connsiteX33" fmla="*/ 285654 w 292797"/>
                      <a:gd name="connsiteY33" fmla="*/ 264437 h 284155"/>
                      <a:gd name="connsiteX34" fmla="*/ 292512 w 292797"/>
                      <a:gd name="connsiteY34" fmla="*/ 252912 h 284155"/>
                      <a:gd name="connsiteX35" fmla="*/ 262413 w 292797"/>
                      <a:gd name="connsiteY35" fmla="*/ 227575 h 284155"/>
                      <a:gd name="connsiteX36" fmla="*/ 255936 w 292797"/>
                      <a:gd name="connsiteY36" fmla="*/ 227575 h 284155"/>
                      <a:gd name="connsiteX37" fmla="*/ 241363 w 292797"/>
                      <a:gd name="connsiteY37" fmla="*/ 227575 h 284155"/>
                      <a:gd name="connsiteX38" fmla="*/ 270605 w 292797"/>
                      <a:gd name="connsiteY38" fmla="*/ 214716 h 284155"/>
                      <a:gd name="connsiteX39" fmla="*/ 281225 w 292797"/>
                      <a:gd name="connsiteY39" fmla="*/ 206287 h 284155"/>
                      <a:gd name="connsiteX40" fmla="*/ 272796 w 292797"/>
                      <a:gd name="connsiteY40" fmla="*/ 195666 h 284155"/>
                      <a:gd name="connsiteX41" fmla="*/ 224694 w 292797"/>
                      <a:gd name="connsiteY41" fmla="*/ 218145 h 284155"/>
                      <a:gd name="connsiteX42" fmla="*/ 218694 w 292797"/>
                      <a:gd name="connsiteY42" fmla="*/ 191190 h 284155"/>
                      <a:gd name="connsiteX43" fmla="*/ 252031 w 292797"/>
                      <a:gd name="connsiteY43" fmla="*/ 165948 h 284155"/>
                      <a:gd name="connsiteX44" fmla="*/ 249459 w 292797"/>
                      <a:gd name="connsiteY44" fmla="*/ 152804 h 284155"/>
                      <a:gd name="connsiteX45" fmla="*/ 236229 w 292797"/>
                      <a:gd name="connsiteY45" fmla="*/ 155357 h 284155"/>
                      <a:gd name="connsiteX46" fmla="*/ 236220 w 292797"/>
                      <a:gd name="connsiteY46" fmla="*/ 155376 h 284155"/>
                      <a:gd name="connsiteX47" fmla="*/ 207645 w 292797"/>
                      <a:gd name="connsiteY47" fmla="*/ 174426 h 284155"/>
                      <a:gd name="connsiteX48" fmla="*/ 178308 w 292797"/>
                      <a:gd name="connsiteY48" fmla="*/ 164901 h 284155"/>
                      <a:gd name="connsiteX49" fmla="*/ 180022 w 292797"/>
                      <a:gd name="connsiteY49" fmla="*/ 143088 h 284155"/>
                      <a:gd name="connsiteX50" fmla="*/ 169354 w 292797"/>
                      <a:gd name="connsiteY50" fmla="*/ 134706 h 284155"/>
                      <a:gd name="connsiteX51" fmla="*/ 160972 w 292797"/>
                      <a:gd name="connsiteY51" fmla="*/ 145374 h 284155"/>
                      <a:gd name="connsiteX52" fmla="*/ 141922 w 292797"/>
                      <a:gd name="connsiteY52" fmla="*/ 177378 h 284155"/>
                      <a:gd name="connsiteX53" fmla="*/ 137445 w 292797"/>
                      <a:gd name="connsiteY53" fmla="*/ 173473 h 284155"/>
                      <a:gd name="connsiteX54" fmla="*/ 112490 w 292797"/>
                      <a:gd name="connsiteY54" fmla="*/ 122800 h 284155"/>
                      <a:gd name="connsiteX55" fmla="*/ 99583 w 292797"/>
                      <a:gd name="connsiteY55" fmla="*/ 126848 h 284155"/>
                      <a:gd name="connsiteX56" fmla="*/ 103632 w 292797"/>
                      <a:gd name="connsiteY56" fmla="*/ 139755 h 284155"/>
                      <a:gd name="connsiteX57" fmla="*/ 118586 w 292797"/>
                      <a:gd name="connsiteY57" fmla="*/ 170330 h 284155"/>
                      <a:gd name="connsiteX58" fmla="*/ 100298 w 292797"/>
                      <a:gd name="connsiteY58" fmla="*/ 175283 h 284155"/>
                      <a:gd name="connsiteX59" fmla="*/ 30194 w 292797"/>
                      <a:gd name="connsiteY59" fmla="*/ 129277 h 284155"/>
                      <a:gd name="connsiteX60" fmla="*/ 35623 w 292797"/>
                      <a:gd name="connsiteY60" fmla="*/ 141564 h 284155"/>
                      <a:gd name="connsiteX61" fmla="*/ 39052 w 292797"/>
                      <a:gd name="connsiteY61" fmla="*/ 142136 h 284155"/>
                      <a:gd name="connsiteX62" fmla="*/ 48006 w 292797"/>
                      <a:gd name="connsiteY62" fmla="*/ 136040 h 284155"/>
                      <a:gd name="connsiteX63" fmla="*/ 76581 w 292797"/>
                      <a:gd name="connsiteY63" fmla="*/ 61364 h 284155"/>
                      <a:gd name="connsiteX64" fmla="*/ 30480 w 292797"/>
                      <a:gd name="connsiteY64" fmla="*/ 61364 h 284155"/>
                      <a:gd name="connsiteX65" fmla="*/ 54006 w 292797"/>
                      <a:gd name="connsiteY65" fmla="*/ 13739 h 284155"/>
                      <a:gd name="connsiteX66" fmla="*/ 49653 w 292797"/>
                      <a:gd name="connsiteY66" fmla="*/ 994 h 284155"/>
                      <a:gd name="connsiteX67" fmla="*/ 49625 w 292797"/>
                      <a:gd name="connsiteY67" fmla="*/ 975 h 284155"/>
                      <a:gd name="connsiteX68" fmla="*/ 36880 w 292797"/>
                      <a:gd name="connsiteY68" fmla="*/ 5328 h 284155"/>
                      <a:gd name="connsiteX69" fmla="*/ 36861 w 292797"/>
                      <a:gd name="connsiteY69" fmla="*/ 5357 h 284155"/>
                      <a:gd name="connsiteX70" fmla="*/ 0 w 292797"/>
                      <a:gd name="connsiteY70" fmla="*/ 80890 h 284155"/>
                      <a:gd name="connsiteX71" fmla="*/ 48863 w 292797"/>
                      <a:gd name="connsiteY71" fmla="*/ 80890 h 284155"/>
                      <a:gd name="connsiteX72" fmla="*/ 30194 w 292797"/>
                      <a:gd name="connsiteY72" fmla="*/ 129277 h 284155"/>
                      <a:gd name="connsiteX0" fmla="*/ 118586 w 292797"/>
                      <a:gd name="connsiteY0" fmla="*/ 170330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24968 w 292797"/>
                      <a:gd name="connsiteY21" fmla="*/ 187380 h 284155"/>
                      <a:gd name="connsiteX22" fmla="*/ 137350 w 292797"/>
                      <a:gd name="connsiteY22" fmla="*/ 227289 h 284155"/>
                      <a:gd name="connsiteX23" fmla="*/ 142208 w 292797"/>
                      <a:gd name="connsiteY23" fmla="*/ 239862 h 284155"/>
                      <a:gd name="connsiteX24" fmla="*/ 154781 w 292797"/>
                      <a:gd name="connsiteY24" fmla="*/ 235005 h 284155"/>
                      <a:gd name="connsiteX25" fmla="*/ 153447 w 292797"/>
                      <a:gd name="connsiteY25" fmla="*/ 192999 h 284155"/>
                      <a:gd name="connsiteX26" fmla="*/ 169545 w 292797"/>
                      <a:gd name="connsiteY26" fmla="*/ 181760 h 284155"/>
                      <a:gd name="connsiteX27" fmla="*/ 199358 w 292797"/>
                      <a:gd name="connsiteY27" fmla="*/ 192999 h 284155"/>
                      <a:gd name="connsiteX28" fmla="*/ 213741 w 292797"/>
                      <a:gd name="connsiteY28" fmla="*/ 234719 h 284155"/>
                      <a:gd name="connsiteX29" fmla="*/ 256413 w 292797"/>
                      <a:gd name="connsiteY29" fmla="*/ 246339 h 284155"/>
                      <a:gd name="connsiteX30" fmla="*/ 262128 w 292797"/>
                      <a:gd name="connsiteY30" fmla="*/ 246339 h 284155"/>
                      <a:gd name="connsiteX31" fmla="*/ 273748 w 292797"/>
                      <a:gd name="connsiteY31" fmla="*/ 257293 h 284155"/>
                      <a:gd name="connsiteX32" fmla="*/ 283273 w 292797"/>
                      <a:gd name="connsiteY32" fmla="*/ 264437 h 284155"/>
                      <a:gd name="connsiteX33" fmla="*/ 285654 w 292797"/>
                      <a:gd name="connsiteY33" fmla="*/ 264437 h 284155"/>
                      <a:gd name="connsiteX34" fmla="*/ 292512 w 292797"/>
                      <a:gd name="connsiteY34" fmla="*/ 252912 h 284155"/>
                      <a:gd name="connsiteX35" fmla="*/ 262413 w 292797"/>
                      <a:gd name="connsiteY35" fmla="*/ 227575 h 284155"/>
                      <a:gd name="connsiteX36" fmla="*/ 255936 w 292797"/>
                      <a:gd name="connsiteY36" fmla="*/ 227575 h 284155"/>
                      <a:gd name="connsiteX37" fmla="*/ 241363 w 292797"/>
                      <a:gd name="connsiteY37" fmla="*/ 227575 h 284155"/>
                      <a:gd name="connsiteX38" fmla="*/ 270605 w 292797"/>
                      <a:gd name="connsiteY38" fmla="*/ 214716 h 284155"/>
                      <a:gd name="connsiteX39" fmla="*/ 281225 w 292797"/>
                      <a:gd name="connsiteY39" fmla="*/ 206287 h 284155"/>
                      <a:gd name="connsiteX40" fmla="*/ 272796 w 292797"/>
                      <a:gd name="connsiteY40" fmla="*/ 195666 h 284155"/>
                      <a:gd name="connsiteX41" fmla="*/ 224694 w 292797"/>
                      <a:gd name="connsiteY41" fmla="*/ 218145 h 284155"/>
                      <a:gd name="connsiteX42" fmla="*/ 218694 w 292797"/>
                      <a:gd name="connsiteY42" fmla="*/ 191190 h 284155"/>
                      <a:gd name="connsiteX43" fmla="*/ 252031 w 292797"/>
                      <a:gd name="connsiteY43" fmla="*/ 165948 h 284155"/>
                      <a:gd name="connsiteX44" fmla="*/ 249459 w 292797"/>
                      <a:gd name="connsiteY44" fmla="*/ 152804 h 284155"/>
                      <a:gd name="connsiteX45" fmla="*/ 236229 w 292797"/>
                      <a:gd name="connsiteY45" fmla="*/ 155357 h 284155"/>
                      <a:gd name="connsiteX46" fmla="*/ 236220 w 292797"/>
                      <a:gd name="connsiteY46" fmla="*/ 155376 h 284155"/>
                      <a:gd name="connsiteX47" fmla="*/ 207645 w 292797"/>
                      <a:gd name="connsiteY47" fmla="*/ 174426 h 284155"/>
                      <a:gd name="connsiteX48" fmla="*/ 178308 w 292797"/>
                      <a:gd name="connsiteY48" fmla="*/ 164901 h 284155"/>
                      <a:gd name="connsiteX49" fmla="*/ 180022 w 292797"/>
                      <a:gd name="connsiteY49" fmla="*/ 143088 h 284155"/>
                      <a:gd name="connsiteX50" fmla="*/ 169354 w 292797"/>
                      <a:gd name="connsiteY50" fmla="*/ 134706 h 284155"/>
                      <a:gd name="connsiteX51" fmla="*/ 160972 w 292797"/>
                      <a:gd name="connsiteY51" fmla="*/ 145374 h 284155"/>
                      <a:gd name="connsiteX52" fmla="*/ 141922 w 292797"/>
                      <a:gd name="connsiteY52" fmla="*/ 177378 h 284155"/>
                      <a:gd name="connsiteX53" fmla="*/ 137445 w 292797"/>
                      <a:gd name="connsiteY53" fmla="*/ 173473 h 284155"/>
                      <a:gd name="connsiteX54" fmla="*/ 112490 w 292797"/>
                      <a:gd name="connsiteY54" fmla="*/ 122800 h 284155"/>
                      <a:gd name="connsiteX55" fmla="*/ 99583 w 292797"/>
                      <a:gd name="connsiteY55" fmla="*/ 126848 h 284155"/>
                      <a:gd name="connsiteX56" fmla="*/ 103632 w 292797"/>
                      <a:gd name="connsiteY56" fmla="*/ 139755 h 284155"/>
                      <a:gd name="connsiteX57" fmla="*/ 118586 w 292797"/>
                      <a:gd name="connsiteY57" fmla="*/ 170330 h 284155"/>
                      <a:gd name="connsiteX58" fmla="*/ 30194 w 292797"/>
                      <a:gd name="connsiteY58" fmla="*/ 129277 h 284155"/>
                      <a:gd name="connsiteX59" fmla="*/ 35623 w 292797"/>
                      <a:gd name="connsiteY59" fmla="*/ 141564 h 284155"/>
                      <a:gd name="connsiteX60" fmla="*/ 39052 w 292797"/>
                      <a:gd name="connsiteY60" fmla="*/ 142136 h 284155"/>
                      <a:gd name="connsiteX61" fmla="*/ 48006 w 292797"/>
                      <a:gd name="connsiteY61" fmla="*/ 136040 h 284155"/>
                      <a:gd name="connsiteX62" fmla="*/ 76581 w 292797"/>
                      <a:gd name="connsiteY62" fmla="*/ 61364 h 284155"/>
                      <a:gd name="connsiteX63" fmla="*/ 30480 w 292797"/>
                      <a:gd name="connsiteY63" fmla="*/ 61364 h 284155"/>
                      <a:gd name="connsiteX64" fmla="*/ 54006 w 292797"/>
                      <a:gd name="connsiteY64" fmla="*/ 13739 h 284155"/>
                      <a:gd name="connsiteX65" fmla="*/ 49653 w 292797"/>
                      <a:gd name="connsiteY65" fmla="*/ 994 h 284155"/>
                      <a:gd name="connsiteX66" fmla="*/ 49625 w 292797"/>
                      <a:gd name="connsiteY66" fmla="*/ 975 h 284155"/>
                      <a:gd name="connsiteX67" fmla="*/ 36880 w 292797"/>
                      <a:gd name="connsiteY67" fmla="*/ 5328 h 284155"/>
                      <a:gd name="connsiteX68" fmla="*/ 36861 w 292797"/>
                      <a:gd name="connsiteY68" fmla="*/ 5357 h 284155"/>
                      <a:gd name="connsiteX69" fmla="*/ 0 w 292797"/>
                      <a:gd name="connsiteY69" fmla="*/ 80890 h 284155"/>
                      <a:gd name="connsiteX70" fmla="*/ 48863 w 292797"/>
                      <a:gd name="connsiteY70" fmla="*/ 80890 h 284155"/>
                      <a:gd name="connsiteX71" fmla="*/ 30194 w 292797"/>
                      <a:gd name="connsiteY71" fmla="*/ 129277 h 284155"/>
                      <a:gd name="connsiteX0" fmla="*/ 118586 w 292797"/>
                      <a:gd name="connsiteY0" fmla="*/ 170330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24968 w 292797"/>
                      <a:gd name="connsiteY21" fmla="*/ 187380 h 284155"/>
                      <a:gd name="connsiteX22" fmla="*/ 137350 w 292797"/>
                      <a:gd name="connsiteY22" fmla="*/ 227289 h 284155"/>
                      <a:gd name="connsiteX23" fmla="*/ 142208 w 292797"/>
                      <a:gd name="connsiteY23" fmla="*/ 239862 h 284155"/>
                      <a:gd name="connsiteX24" fmla="*/ 154781 w 292797"/>
                      <a:gd name="connsiteY24" fmla="*/ 235005 h 284155"/>
                      <a:gd name="connsiteX25" fmla="*/ 153447 w 292797"/>
                      <a:gd name="connsiteY25" fmla="*/ 192999 h 284155"/>
                      <a:gd name="connsiteX26" fmla="*/ 169545 w 292797"/>
                      <a:gd name="connsiteY26" fmla="*/ 181760 h 284155"/>
                      <a:gd name="connsiteX27" fmla="*/ 199358 w 292797"/>
                      <a:gd name="connsiteY27" fmla="*/ 192999 h 284155"/>
                      <a:gd name="connsiteX28" fmla="*/ 213741 w 292797"/>
                      <a:gd name="connsiteY28" fmla="*/ 234719 h 284155"/>
                      <a:gd name="connsiteX29" fmla="*/ 256413 w 292797"/>
                      <a:gd name="connsiteY29" fmla="*/ 246339 h 284155"/>
                      <a:gd name="connsiteX30" fmla="*/ 262128 w 292797"/>
                      <a:gd name="connsiteY30" fmla="*/ 246339 h 284155"/>
                      <a:gd name="connsiteX31" fmla="*/ 273748 w 292797"/>
                      <a:gd name="connsiteY31" fmla="*/ 257293 h 284155"/>
                      <a:gd name="connsiteX32" fmla="*/ 283273 w 292797"/>
                      <a:gd name="connsiteY32" fmla="*/ 264437 h 284155"/>
                      <a:gd name="connsiteX33" fmla="*/ 285654 w 292797"/>
                      <a:gd name="connsiteY33" fmla="*/ 264437 h 284155"/>
                      <a:gd name="connsiteX34" fmla="*/ 292512 w 292797"/>
                      <a:gd name="connsiteY34" fmla="*/ 252912 h 284155"/>
                      <a:gd name="connsiteX35" fmla="*/ 262413 w 292797"/>
                      <a:gd name="connsiteY35" fmla="*/ 227575 h 284155"/>
                      <a:gd name="connsiteX36" fmla="*/ 255936 w 292797"/>
                      <a:gd name="connsiteY36" fmla="*/ 227575 h 284155"/>
                      <a:gd name="connsiteX37" fmla="*/ 241363 w 292797"/>
                      <a:gd name="connsiteY37" fmla="*/ 227575 h 284155"/>
                      <a:gd name="connsiteX38" fmla="*/ 270605 w 292797"/>
                      <a:gd name="connsiteY38" fmla="*/ 214716 h 284155"/>
                      <a:gd name="connsiteX39" fmla="*/ 281225 w 292797"/>
                      <a:gd name="connsiteY39" fmla="*/ 206287 h 284155"/>
                      <a:gd name="connsiteX40" fmla="*/ 272796 w 292797"/>
                      <a:gd name="connsiteY40" fmla="*/ 195666 h 284155"/>
                      <a:gd name="connsiteX41" fmla="*/ 224694 w 292797"/>
                      <a:gd name="connsiteY41" fmla="*/ 218145 h 284155"/>
                      <a:gd name="connsiteX42" fmla="*/ 218694 w 292797"/>
                      <a:gd name="connsiteY42" fmla="*/ 191190 h 284155"/>
                      <a:gd name="connsiteX43" fmla="*/ 252031 w 292797"/>
                      <a:gd name="connsiteY43" fmla="*/ 165948 h 284155"/>
                      <a:gd name="connsiteX44" fmla="*/ 249459 w 292797"/>
                      <a:gd name="connsiteY44" fmla="*/ 152804 h 284155"/>
                      <a:gd name="connsiteX45" fmla="*/ 236229 w 292797"/>
                      <a:gd name="connsiteY45" fmla="*/ 155357 h 284155"/>
                      <a:gd name="connsiteX46" fmla="*/ 236220 w 292797"/>
                      <a:gd name="connsiteY46" fmla="*/ 155376 h 284155"/>
                      <a:gd name="connsiteX47" fmla="*/ 207645 w 292797"/>
                      <a:gd name="connsiteY47" fmla="*/ 174426 h 284155"/>
                      <a:gd name="connsiteX48" fmla="*/ 178308 w 292797"/>
                      <a:gd name="connsiteY48" fmla="*/ 164901 h 284155"/>
                      <a:gd name="connsiteX49" fmla="*/ 180022 w 292797"/>
                      <a:gd name="connsiteY49" fmla="*/ 143088 h 284155"/>
                      <a:gd name="connsiteX50" fmla="*/ 169354 w 292797"/>
                      <a:gd name="connsiteY50" fmla="*/ 134706 h 284155"/>
                      <a:gd name="connsiteX51" fmla="*/ 160972 w 292797"/>
                      <a:gd name="connsiteY51" fmla="*/ 145374 h 284155"/>
                      <a:gd name="connsiteX52" fmla="*/ 141922 w 292797"/>
                      <a:gd name="connsiteY52" fmla="*/ 177378 h 284155"/>
                      <a:gd name="connsiteX53" fmla="*/ 137445 w 292797"/>
                      <a:gd name="connsiteY53" fmla="*/ 173473 h 284155"/>
                      <a:gd name="connsiteX54" fmla="*/ 112490 w 292797"/>
                      <a:gd name="connsiteY54" fmla="*/ 122800 h 284155"/>
                      <a:gd name="connsiteX55" fmla="*/ 99583 w 292797"/>
                      <a:gd name="connsiteY55" fmla="*/ 126848 h 284155"/>
                      <a:gd name="connsiteX56" fmla="*/ 118586 w 292797"/>
                      <a:gd name="connsiteY56" fmla="*/ 170330 h 284155"/>
                      <a:gd name="connsiteX57" fmla="*/ 30194 w 292797"/>
                      <a:gd name="connsiteY57" fmla="*/ 129277 h 284155"/>
                      <a:gd name="connsiteX58" fmla="*/ 35623 w 292797"/>
                      <a:gd name="connsiteY58" fmla="*/ 141564 h 284155"/>
                      <a:gd name="connsiteX59" fmla="*/ 39052 w 292797"/>
                      <a:gd name="connsiteY59" fmla="*/ 142136 h 284155"/>
                      <a:gd name="connsiteX60" fmla="*/ 48006 w 292797"/>
                      <a:gd name="connsiteY60" fmla="*/ 136040 h 284155"/>
                      <a:gd name="connsiteX61" fmla="*/ 76581 w 292797"/>
                      <a:gd name="connsiteY61" fmla="*/ 61364 h 284155"/>
                      <a:gd name="connsiteX62" fmla="*/ 30480 w 292797"/>
                      <a:gd name="connsiteY62" fmla="*/ 61364 h 284155"/>
                      <a:gd name="connsiteX63" fmla="*/ 54006 w 292797"/>
                      <a:gd name="connsiteY63" fmla="*/ 13739 h 284155"/>
                      <a:gd name="connsiteX64" fmla="*/ 49653 w 292797"/>
                      <a:gd name="connsiteY64" fmla="*/ 994 h 284155"/>
                      <a:gd name="connsiteX65" fmla="*/ 49625 w 292797"/>
                      <a:gd name="connsiteY65" fmla="*/ 975 h 284155"/>
                      <a:gd name="connsiteX66" fmla="*/ 36880 w 292797"/>
                      <a:gd name="connsiteY66" fmla="*/ 5328 h 284155"/>
                      <a:gd name="connsiteX67" fmla="*/ 36861 w 292797"/>
                      <a:gd name="connsiteY67" fmla="*/ 5357 h 284155"/>
                      <a:gd name="connsiteX68" fmla="*/ 0 w 292797"/>
                      <a:gd name="connsiteY68" fmla="*/ 80890 h 284155"/>
                      <a:gd name="connsiteX69" fmla="*/ 48863 w 292797"/>
                      <a:gd name="connsiteY69" fmla="*/ 80890 h 284155"/>
                      <a:gd name="connsiteX70" fmla="*/ 30194 w 292797"/>
                      <a:gd name="connsiteY70" fmla="*/ 129277 h 284155"/>
                      <a:gd name="connsiteX0" fmla="*/ 118586 w 292797"/>
                      <a:gd name="connsiteY0" fmla="*/ 170330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24968 w 292797"/>
                      <a:gd name="connsiteY21" fmla="*/ 187380 h 284155"/>
                      <a:gd name="connsiteX22" fmla="*/ 137350 w 292797"/>
                      <a:gd name="connsiteY22" fmla="*/ 227289 h 284155"/>
                      <a:gd name="connsiteX23" fmla="*/ 142208 w 292797"/>
                      <a:gd name="connsiteY23" fmla="*/ 239862 h 284155"/>
                      <a:gd name="connsiteX24" fmla="*/ 154781 w 292797"/>
                      <a:gd name="connsiteY24" fmla="*/ 235005 h 284155"/>
                      <a:gd name="connsiteX25" fmla="*/ 153447 w 292797"/>
                      <a:gd name="connsiteY25" fmla="*/ 192999 h 284155"/>
                      <a:gd name="connsiteX26" fmla="*/ 169545 w 292797"/>
                      <a:gd name="connsiteY26" fmla="*/ 181760 h 284155"/>
                      <a:gd name="connsiteX27" fmla="*/ 199358 w 292797"/>
                      <a:gd name="connsiteY27" fmla="*/ 192999 h 284155"/>
                      <a:gd name="connsiteX28" fmla="*/ 213741 w 292797"/>
                      <a:gd name="connsiteY28" fmla="*/ 234719 h 284155"/>
                      <a:gd name="connsiteX29" fmla="*/ 256413 w 292797"/>
                      <a:gd name="connsiteY29" fmla="*/ 246339 h 284155"/>
                      <a:gd name="connsiteX30" fmla="*/ 262128 w 292797"/>
                      <a:gd name="connsiteY30" fmla="*/ 246339 h 284155"/>
                      <a:gd name="connsiteX31" fmla="*/ 273748 w 292797"/>
                      <a:gd name="connsiteY31" fmla="*/ 257293 h 284155"/>
                      <a:gd name="connsiteX32" fmla="*/ 283273 w 292797"/>
                      <a:gd name="connsiteY32" fmla="*/ 264437 h 284155"/>
                      <a:gd name="connsiteX33" fmla="*/ 285654 w 292797"/>
                      <a:gd name="connsiteY33" fmla="*/ 264437 h 284155"/>
                      <a:gd name="connsiteX34" fmla="*/ 292512 w 292797"/>
                      <a:gd name="connsiteY34" fmla="*/ 252912 h 284155"/>
                      <a:gd name="connsiteX35" fmla="*/ 262413 w 292797"/>
                      <a:gd name="connsiteY35" fmla="*/ 227575 h 284155"/>
                      <a:gd name="connsiteX36" fmla="*/ 255936 w 292797"/>
                      <a:gd name="connsiteY36" fmla="*/ 227575 h 284155"/>
                      <a:gd name="connsiteX37" fmla="*/ 241363 w 292797"/>
                      <a:gd name="connsiteY37" fmla="*/ 227575 h 284155"/>
                      <a:gd name="connsiteX38" fmla="*/ 270605 w 292797"/>
                      <a:gd name="connsiteY38" fmla="*/ 214716 h 284155"/>
                      <a:gd name="connsiteX39" fmla="*/ 281225 w 292797"/>
                      <a:gd name="connsiteY39" fmla="*/ 206287 h 284155"/>
                      <a:gd name="connsiteX40" fmla="*/ 272796 w 292797"/>
                      <a:gd name="connsiteY40" fmla="*/ 195666 h 284155"/>
                      <a:gd name="connsiteX41" fmla="*/ 224694 w 292797"/>
                      <a:gd name="connsiteY41" fmla="*/ 218145 h 284155"/>
                      <a:gd name="connsiteX42" fmla="*/ 218694 w 292797"/>
                      <a:gd name="connsiteY42" fmla="*/ 191190 h 284155"/>
                      <a:gd name="connsiteX43" fmla="*/ 252031 w 292797"/>
                      <a:gd name="connsiteY43" fmla="*/ 165948 h 284155"/>
                      <a:gd name="connsiteX44" fmla="*/ 249459 w 292797"/>
                      <a:gd name="connsiteY44" fmla="*/ 152804 h 284155"/>
                      <a:gd name="connsiteX45" fmla="*/ 236229 w 292797"/>
                      <a:gd name="connsiteY45" fmla="*/ 155357 h 284155"/>
                      <a:gd name="connsiteX46" fmla="*/ 236220 w 292797"/>
                      <a:gd name="connsiteY46" fmla="*/ 155376 h 284155"/>
                      <a:gd name="connsiteX47" fmla="*/ 207645 w 292797"/>
                      <a:gd name="connsiteY47" fmla="*/ 174426 h 284155"/>
                      <a:gd name="connsiteX48" fmla="*/ 178308 w 292797"/>
                      <a:gd name="connsiteY48" fmla="*/ 164901 h 284155"/>
                      <a:gd name="connsiteX49" fmla="*/ 180022 w 292797"/>
                      <a:gd name="connsiteY49" fmla="*/ 143088 h 284155"/>
                      <a:gd name="connsiteX50" fmla="*/ 169354 w 292797"/>
                      <a:gd name="connsiteY50" fmla="*/ 134706 h 284155"/>
                      <a:gd name="connsiteX51" fmla="*/ 160972 w 292797"/>
                      <a:gd name="connsiteY51" fmla="*/ 145374 h 284155"/>
                      <a:gd name="connsiteX52" fmla="*/ 141922 w 292797"/>
                      <a:gd name="connsiteY52" fmla="*/ 177378 h 284155"/>
                      <a:gd name="connsiteX53" fmla="*/ 137445 w 292797"/>
                      <a:gd name="connsiteY53" fmla="*/ 173473 h 284155"/>
                      <a:gd name="connsiteX54" fmla="*/ 112490 w 292797"/>
                      <a:gd name="connsiteY54" fmla="*/ 122800 h 284155"/>
                      <a:gd name="connsiteX55" fmla="*/ 118586 w 292797"/>
                      <a:gd name="connsiteY55" fmla="*/ 170330 h 284155"/>
                      <a:gd name="connsiteX56" fmla="*/ 30194 w 292797"/>
                      <a:gd name="connsiteY56" fmla="*/ 129277 h 284155"/>
                      <a:gd name="connsiteX57" fmla="*/ 35623 w 292797"/>
                      <a:gd name="connsiteY57" fmla="*/ 141564 h 284155"/>
                      <a:gd name="connsiteX58" fmla="*/ 39052 w 292797"/>
                      <a:gd name="connsiteY58" fmla="*/ 142136 h 284155"/>
                      <a:gd name="connsiteX59" fmla="*/ 48006 w 292797"/>
                      <a:gd name="connsiteY59" fmla="*/ 136040 h 284155"/>
                      <a:gd name="connsiteX60" fmla="*/ 76581 w 292797"/>
                      <a:gd name="connsiteY60" fmla="*/ 61364 h 284155"/>
                      <a:gd name="connsiteX61" fmla="*/ 30480 w 292797"/>
                      <a:gd name="connsiteY61" fmla="*/ 61364 h 284155"/>
                      <a:gd name="connsiteX62" fmla="*/ 54006 w 292797"/>
                      <a:gd name="connsiteY62" fmla="*/ 13739 h 284155"/>
                      <a:gd name="connsiteX63" fmla="*/ 49653 w 292797"/>
                      <a:gd name="connsiteY63" fmla="*/ 994 h 284155"/>
                      <a:gd name="connsiteX64" fmla="*/ 49625 w 292797"/>
                      <a:gd name="connsiteY64" fmla="*/ 975 h 284155"/>
                      <a:gd name="connsiteX65" fmla="*/ 36880 w 292797"/>
                      <a:gd name="connsiteY65" fmla="*/ 5328 h 284155"/>
                      <a:gd name="connsiteX66" fmla="*/ 36861 w 292797"/>
                      <a:gd name="connsiteY66" fmla="*/ 5357 h 284155"/>
                      <a:gd name="connsiteX67" fmla="*/ 0 w 292797"/>
                      <a:gd name="connsiteY67" fmla="*/ 80890 h 284155"/>
                      <a:gd name="connsiteX68" fmla="*/ 48863 w 292797"/>
                      <a:gd name="connsiteY68" fmla="*/ 80890 h 284155"/>
                      <a:gd name="connsiteX69" fmla="*/ 30194 w 292797"/>
                      <a:gd name="connsiteY69" fmla="*/ 129277 h 284155"/>
                      <a:gd name="connsiteX0" fmla="*/ 118586 w 292797"/>
                      <a:gd name="connsiteY0" fmla="*/ 170330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24968 w 292797"/>
                      <a:gd name="connsiteY21" fmla="*/ 187380 h 284155"/>
                      <a:gd name="connsiteX22" fmla="*/ 137350 w 292797"/>
                      <a:gd name="connsiteY22" fmla="*/ 227289 h 284155"/>
                      <a:gd name="connsiteX23" fmla="*/ 142208 w 292797"/>
                      <a:gd name="connsiteY23" fmla="*/ 239862 h 284155"/>
                      <a:gd name="connsiteX24" fmla="*/ 154781 w 292797"/>
                      <a:gd name="connsiteY24" fmla="*/ 235005 h 284155"/>
                      <a:gd name="connsiteX25" fmla="*/ 153447 w 292797"/>
                      <a:gd name="connsiteY25" fmla="*/ 192999 h 284155"/>
                      <a:gd name="connsiteX26" fmla="*/ 169545 w 292797"/>
                      <a:gd name="connsiteY26" fmla="*/ 181760 h 284155"/>
                      <a:gd name="connsiteX27" fmla="*/ 199358 w 292797"/>
                      <a:gd name="connsiteY27" fmla="*/ 192999 h 284155"/>
                      <a:gd name="connsiteX28" fmla="*/ 213741 w 292797"/>
                      <a:gd name="connsiteY28" fmla="*/ 234719 h 284155"/>
                      <a:gd name="connsiteX29" fmla="*/ 256413 w 292797"/>
                      <a:gd name="connsiteY29" fmla="*/ 246339 h 284155"/>
                      <a:gd name="connsiteX30" fmla="*/ 262128 w 292797"/>
                      <a:gd name="connsiteY30" fmla="*/ 246339 h 284155"/>
                      <a:gd name="connsiteX31" fmla="*/ 273748 w 292797"/>
                      <a:gd name="connsiteY31" fmla="*/ 257293 h 284155"/>
                      <a:gd name="connsiteX32" fmla="*/ 283273 w 292797"/>
                      <a:gd name="connsiteY32" fmla="*/ 264437 h 284155"/>
                      <a:gd name="connsiteX33" fmla="*/ 285654 w 292797"/>
                      <a:gd name="connsiteY33" fmla="*/ 264437 h 284155"/>
                      <a:gd name="connsiteX34" fmla="*/ 292512 w 292797"/>
                      <a:gd name="connsiteY34" fmla="*/ 252912 h 284155"/>
                      <a:gd name="connsiteX35" fmla="*/ 262413 w 292797"/>
                      <a:gd name="connsiteY35" fmla="*/ 227575 h 284155"/>
                      <a:gd name="connsiteX36" fmla="*/ 255936 w 292797"/>
                      <a:gd name="connsiteY36" fmla="*/ 227575 h 284155"/>
                      <a:gd name="connsiteX37" fmla="*/ 241363 w 292797"/>
                      <a:gd name="connsiteY37" fmla="*/ 227575 h 284155"/>
                      <a:gd name="connsiteX38" fmla="*/ 270605 w 292797"/>
                      <a:gd name="connsiteY38" fmla="*/ 214716 h 284155"/>
                      <a:gd name="connsiteX39" fmla="*/ 281225 w 292797"/>
                      <a:gd name="connsiteY39" fmla="*/ 206287 h 284155"/>
                      <a:gd name="connsiteX40" fmla="*/ 272796 w 292797"/>
                      <a:gd name="connsiteY40" fmla="*/ 195666 h 284155"/>
                      <a:gd name="connsiteX41" fmla="*/ 224694 w 292797"/>
                      <a:gd name="connsiteY41" fmla="*/ 218145 h 284155"/>
                      <a:gd name="connsiteX42" fmla="*/ 218694 w 292797"/>
                      <a:gd name="connsiteY42" fmla="*/ 191190 h 284155"/>
                      <a:gd name="connsiteX43" fmla="*/ 252031 w 292797"/>
                      <a:gd name="connsiteY43" fmla="*/ 165948 h 284155"/>
                      <a:gd name="connsiteX44" fmla="*/ 249459 w 292797"/>
                      <a:gd name="connsiteY44" fmla="*/ 152804 h 284155"/>
                      <a:gd name="connsiteX45" fmla="*/ 236229 w 292797"/>
                      <a:gd name="connsiteY45" fmla="*/ 155357 h 284155"/>
                      <a:gd name="connsiteX46" fmla="*/ 236220 w 292797"/>
                      <a:gd name="connsiteY46" fmla="*/ 155376 h 284155"/>
                      <a:gd name="connsiteX47" fmla="*/ 207645 w 292797"/>
                      <a:gd name="connsiteY47" fmla="*/ 174426 h 284155"/>
                      <a:gd name="connsiteX48" fmla="*/ 178308 w 292797"/>
                      <a:gd name="connsiteY48" fmla="*/ 164901 h 284155"/>
                      <a:gd name="connsiteX49" fmla="*/ 180022 w 292797"/>
                      <a:gd name="connsiteY49" fmla="*/ 143088 h 284155"/>
                      <a:gd name="connsiteX50" fmla="*/ 169354 w 292797"/>
                      <a:gd name="connsiteY50" fmla="*/ 134706 h 284155"/>
                      <a:gd name="connsiteX51" fmla="*/ 160972 w 292797"/>
                      <a:gd name="connsiteY51" fmla="*/ 145374 h 284155"/>
                      <a:gd name="connsiteX52" fmla="*/ 141922 w 292797"/>
                      <a:gd name="connsiteY52" fmla="*/ 177378 h 284155"/>
                      <a:gd name="connsiteX53" fmla="*/ 137445 w 292797"/>
                      <a:gd name="connsiteY53" fmla="*/ 173473 h 284155"/>
                      <a:gd name="connsiteX54" fmla="*/ 118586 w 292797"/>
                      <a:gd name="connsiteY54" fmla="*/ 170330 h 284155"/>
                      <a:gd name="connsiteX55" fmla="*/ 30194 w 292797"/>
                      <a:gd name="connsiteY55" fmla="*/ 129277 h 284155"/>
                      <a:gd name="connsiteX56" fmla="*/ 35623 w 292797"/>
                      <a:gd name="connsiteY56" fmla="*/ 141564 h 284155"/>
                      <a:gd name="connsiteX57" fmla="*/ 39052 w 292797"/>
                      <a:gd name="connsiteY57" fmla="*/ 142136 h 284155"/>
                      <a:gd name="connsiteX58" fmla="*/ 48006 w 292797"/>
                      <a:gd name="connsiteY58" fmla="*/ 136040 h 284155"/>
                      <a:gd name="connsiteX59" fmla="*/ 76581 w 292797"/>
                      <a:gd name="connsiteY59" fmla="*/ 61364 h 284155"/>
                      <a:gd name="connsiteX60" fmla="*/ 30480 w 292797"/>
                      <a:gd name="connsiteY60" fmla="*/ 61364 h 284155"/>
                      <a:gd name="connsiteX61" fmla="*/ 54006 w 292797"/>
                      <a:gd name="connsiteY61" fmla="*/ 13739 h 284155"/>
                      <a:gd name="connsiteX62" fmla="*/ 49653 w 292797"/>
                      <a:gd name="connsiteY62" fmla="*/ 994 h 284155"/>
                      <a:gd name="connsiteX63" fmla="*/ 49625 w 292797"/>
                      <a:gd name="connsiteY63" fmla="*/ 975 h 284155"/>
                      <a:gd name="connsiteX64" fmla="*/ 36880 w 292797"/>
                      <a:gd name="connsiteY64" fmla="*/ 5328 h 284155"/>
                      <a:gd name="connsiteX65" fmla="*/ 36861 w 292797"/>
                      <a:gd name="connsiteY65" fmla="*/ 5357 h 284155"/>
                      <a:gd name="connsiteX66" fmla="*/ 0 w 292797"/>
                      <a:gd name="connsiteY66" fmla="*/ 80890 h 284155"/>
                      <a:gd name="connsiteX67" fmla="*/ 48863 w 292797"/>
                      <a:gd name="connsiteY67" fmla="*/ 80890 h 284155"/>
                      <a:gd name="connsiteX68" fmla="*/ 30194 w 292797"/>
                      <a:gd name="connsiteY68" fmla="*/ 129277 h 284155"/>
                      <a:gd name="connsiteX0" fmla="*/ 137445 w 292797"/>
                      <a:gd name="connsiteY0" fmla="*/ 173473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24968 w 292797"/>
                      <a:gd name="connsiteY21" fmla="*/ 187380 h 284155"/>
                      <a:gd name="connsiteX22" fmla="*/ 137350 w 292797"/>
                      <a:gd name="connsiteY22" fmla="*/ 227289 h 284155"/>
                      <a:gd name="connsiteX23" fmla="*/ 142208 w 292797"/>
                      <a:gd name="connsiteY23" fmla="*/ 239862 h 284155"/>
                      <a:gd name="connsiteX24" fmla="*/ 154781 w 292797"/>
                      <a:gd name="connsiteY24" fmla="*/ 235005 h 284155"/>
                      <a:gd name="connsiteX25" fmla="*/ 153447 w 292797"/>
                      <a:gd name="connsiteY25" fmla="*/ 192999 h 284155"/>
                      <a:gd name="connsiteX26" fmla="*/ 169545 w 292797"/>
                      <a:gd name="connsiteY26" fmla="*/ 181760 h 284155"/>
                      <a:gd name="connsiteX27" fmla="*/ 199358 w 292797"/>
                      <a:gd name="connsiteY27" fmla="*/ 192999 h 284155"/>
                      <a:gd name="connsiteX28" fmla="*/ 213741 w 292797"/>
                      <a:gd name="connsiteY28" fmla="*/ 234719 h 284155"/>
                      <a:gd name="connsiteX29" fmla="*/ 256413 w 292797"/>
                      <a:gd name="connsiteY29" fmla="*/ 246339 h 284155"/>
                      <a:gd name="connsiteX30" fmla="*/ 262128 w 292797"/>
                      <a:gd name="connsiteY30" fmla="*/ 246339 h 284155"/>
                      <a:gd name="connsiteX31" fmla="*/ 273748 w 292797"/>
                      <a:gd name="connsiteY31" fmla="*/ 257293 h 284155"/>
                      <a:gd name="connsiteX32" fmla="*/ 283273 w 292797"/>
                      <a:gd name="connsiteY32" fmla="*/ 264437 h 284155"/>
                      <a:gd name="connsiteX33" fmla="*/ 285654 w 292797"/>
                      <a:gd name="connsiteY33" fmla="*/ 264437 h 284155"/>
                      <a:gd name="connsiteX34" fmla="*/ 292512 w 292797"/>
                      <a:gd name="connsiteY34" fmla="*/ 252912 h 284155"/>
                      <a:gd name="connsiteX35" fmla="*/ 262413 w 292797"/>
                      <a:gd name="connsiteY35" fmla="*/ 227575 h 284155"/>
                      <a:gd name="connsiteX36" fmla="*/ 255936 w 292797"/>
                      <a:gd name="connsiteY36" fmla="*/ 227575 h 284155"/>
                      <a:gd name="connsiteX37" fmla="*/ 241363 w 292797"/>
                      <a:gd name="connsiteY37" fmla="*/ 227575 h 284155"/>
                      <a:gd name="connsiteX38" fmla="*/ 270605 w 292797"/>
                      <a:gd name="connsiteY38" fmla="*/ 214716 h 284155"/>
                      <a:gd name="connsiteX39" fmla="*/ 281225 w 292797"/>
                      <a:gd name="connsiteY39" fmla="*/ 206287 h 284155"/>
                      <a:gd name="connsiteX40" fmla="*/ 272796 w 292797"/>
                      <a:gd name="connsiteY40" fmla="*/ 195666 h 284155"/>
                      <a:gd name="connsiteX41" fmla="*/ 224694 w 292797"/>
                      <a:gd name="connsiteY41" fmla="*/ 218145 h 284155"/>
                      <a:gd name="connsiteX42" fmla="*/ 218694 w 292797"/>
                      <a:gd name="connsiteY42" fmla="*/ 191190 h 284155"/>
                      <a:gd name="connsiteX43" fmla="*/ 252031 w 292797"/>
                      <a:gd name="connsiteY43" fmla="*/ 165948 h 284155"/>
                      <a:gd name="connsiteX44" fmla="*/ 249459 w 292797"/>
                      <a:gd name="connsiteY44" fmla="*/ 152804 h 284155"/>
                      <a:gd name="connsiteX45" fmla="*/ 236229 w 292797"/>
                      <a:gd name="connsiteY45" fmla="*/ 155357 h 284155"/>
                      <a:gd name="connsiteX46" fmla="*/ 236220 w 292797"/>
                      <a:gd name="connsiteY46" fmla="*/ 155376 h 284155"/>
                      <a:gd name="connsiteX47" fmla="*/ 207645 w 292797"/>
                      <a:gd name="connsiteY47" fmla="*/ 174426 h 284155"/>
                      <a:gd name="connsiteX48" fmla="*/ 178308 w 292797"/>
                      <a:gd name="connsiteY48" fmla="*/ 164901 h 284155"/>
                      <a:gd name="connsiteX49" fmla="*/ 180022 w 292797"/>
                      <a:gd name="connsiteY49" fmla="*/ 143088 h 284155"/>
                      <a:gd name="connsiteX50" fmla="*/ 169354 w 292797"/>
                      <a:gd name="connsiteY50" fmla="*/ 134706 h 284155"/>
                      <a:gd name="connsiteX51" fmla="*/ 160972 w 292797"/>
                      <a:gd name="connsiteY51" fmla="*/ 145374 h 284155"/>
                      <a:gd name="connsiteX52" fmla="*/ 141922 w 292797"/>
                      <a:gd name="connsiteY52" fmla="*/ 177378 h 284155"/>
                      <a:gd name="connsiteX53" fmla="*/ 137445 w 292797"/>
                      <a:gd name="connsiteY53" fmla="*/ 173473 h 284155"/>
                      <a:gd name="connsiteX54" fmla="*/ 30194 w 292797"/>
                      <a:gd name="connsiteY54" fmla="*/ 129277 h 284155"/>
                      <a:gd name="connsiteX55" fmla="*/ 35623 w 292797"/>
                      <a:gd name="connsiteY55" fmla="*/ 141564 h 284155"/>
                      <a:gd name="connsiteX56" fmla="*/ 39052 w 292797"/>
                      <a:gd name="connsiteY56" fmla="*/ 142136 h 284155"/>
                      <a:gd name="connsiteX57" fmla="*/ 48006 w 292797"/>
                      <a:gd name="connsiteY57" fmla="*/ 136040 h 284155"/>
                      <a:gd name="connsiteX58" fmla="*/ 76581 w 292797"/>
                      <a:gd name="connsiteY58" fmla="*/ 61364 h 284155"/>
                      <a:gd name="connsiteX59" fmla="*/ 30480 w 292797"/>
                      <a:gd name="connsiteY59" fmla="*/ 61364 h 284155"/>
                      <a:gd name="connsiteX60" fmla="*/ 54006 w 292797"/>
                      <a:gd name="connsiteY60" fmla="*/ 13739 h 284155"/>
                      <a:gd name="connsiteX61" fmla="*/ 49653 w 292797"/>
                      <a:gd name="connsiteY61" fmla="*/ 994 h 284155"/>
                      <a:gd name="connsiteX62" fmla="*/ 49625 w 292797"/>
                      <a:gd name="connsiteY62" fmla="*/ 975 h 284155"/>
                      <a:gd name="connsiteX63" fmla="*/ 36880 w 292797"/>
                      <a:gd name="connsiteY63" fmla="*/ 5328 h 284155"/>
                      <a:gd name="connsiteX64" fmla="*/ 36861 w 292797"/>
                      <a:gd name="connsiteY64" fmla="*/ 5357 h 284155"/>
                      <a:gd name="connsiteX65" fmla="*/ 0 w 292797"/>
                      <a:gd name="connsiteY65" fmla="*/ 80890 h 284155"/>
                      <a:gd name="connsiteX66" fmla="*/ 48863 w 292797"/>
                      <a:gd name="connsiteY66" fmla="*/ 80890 h 284155"/>
                      <a:gd name="connsiteX67" fmla="*/ 30194 w 292797"/>
                      <a:gd name="connsiteY67" fmla="*/ 129277 h 284155"/>
                      <a:gd name="connsiteX0" fmla="*/ 137445 w 292797"/>
                      <a:gd name="connsiteY0" fmla="*/ 173473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37350 w 292797"/>
                      <a:gd name="connsiteY21" fmla="*/ 227289 h 284155"/>
                      <a:gd name="connsiteX22" fmla="*/ 142208 w 292797"/>
                      <a:gd name="connsiteY22" fmla="*/ 239862 h 284155"/>
                      <a:gd name="connsiteX23" fmla="*/ 154781 w 292797"/>
                      <a:gd name="connsiteY23" fmla="*/ 235005 h 284155"/>
                      <a:gd name="connsiteX24" fmla="*/ 153447 w 292797"/>
                      <a:gd name="connsiteY24" fmla="*/ 192999 h 284155"/>
                      <a:gd name="connsiteX25" fmla="*/ 169545 w 292797"/>
                      <a:gd name="connsiteY25" fmla="*/ 181760 h 284155"/>
                      <a:gd name="connsiteX26" fmla="*/ 199358 w 292797"/>
                      <a:gd name="connsiteY26" fmla="*/ 192999 h 284155"/>
                      <a:gd name="connsiteX27" fmla="*/ 213741 w 292797"/>
                      <a:gd name="connsiteY27" fmla="*/ 234719 h 284155"/>
                      <a:gd name="connsiteX28" fmla="*/ 256413 w 292797"/>
                      <a:gd name="connsiteY28" fmla="*/ 246339 h 284155"/>
                      <a:gd name="connsiteX29" fmla="*/ 262128 w 292797"/>
                      <a:gd name="connsiteY29" fmla="*/ 246339 h 284155"/>
                      <a:gd name="connsiteX30" fmla="*/ 273748 w 292797"/>
                      <a:gd name="connsiteY30" fmla="*/ 257293 h 284155"/>
                      <a:gd name="connsiteX31" fmla="*/ 283273 w 292797"/>
                      <a:gd name="connsiteY31" fmla="*/ 264437 h 284155"/>
                      <a:gd name="connsiteX32" fmla="*/ 285654 w 292797"/>
                      <a:gd name="connsiteY32" fmla="*/ 264437 h 284155"/>
                      <a:gd name="connsiteX33" fmla="*/ 292512 w 292797"/>
                      <a:gd name="connsiteY33" fmla="*/ 252912 h 284155"/>
                      <a:gd name="connsiteX34" fmla="*/ 262413 w 292797"/>
                      <a:gd name="connsiteY34" fmla="*/ 227575 h 284155"/>
                      <a:gd name="connsiteX35" fmla="*/ 255936 w 292797"/>
                      <a:gd name="connsiteY35" fmla="*/ 227575 h 284155"/>
                      <a:gd name="connsiteX36" fmla="*/ 241363 w 292797"/>
                      <a:gd name="connsiteY36" fmla="*/ 227575 h 284155"/>
                      <a:gd name="connsiteX37" fmla="*/ 270605 w 292797"/>
                      <a:gd name="connsiteY37" fmla="*/ 214716 h 284155"/>
                      <a:gd name="connsiteX38" fmla="*/ 281225 w 292797"/>
                      <a:gd name="connsiteY38" fmla="*/ 206287 h 284155"/>
                      <a:gd name="connsiteX39" fmla="*/ 272796 w 292797"/>
                      <a:gd name="connsiteY39" fmla="*/ 195666 h 284155"/>
                      <a:gd name="connsiteX40" fmla="*/ 224694 w 292797"/>
                      <a:gd name="connsiteY40" fmla="*/ 218145 h 284155"/>
                      <a:gd name="connsiteX41" fmla="*/ 218694 w 292797"/>
                      <a:gd name="connsiteY41" fmla="*/ 191190 h 284155"/>
                      <a:gd name="connsiteX42" fmla="*/ 252031 w 292797"/>
                      <a:gd name="connsiteY42" fmla="*/ 165948 h 284155"/>
                      <a:gd name="connsiteX43" fmla="*/ 249459 w 292797"/>
                      <a:gd name="connsiteY43" fmla="*/ 152804 h 284155"/>
                      <a:gd name="connsiteX44" fmla="*/ 236229 w 292797"/>
                      <a:gd name="connsiteY44" fmla="*/ 155357 h 284155"/>
                      <a:gd name="connsiteX45" fmla="*/ 236220 w 292797"/>
                      <a:gd name="connsiteY45" fmla="*/ 155376 h 284155"/>
                      <a:gd name="connsiteX46" fmla="*/ 207645 w 292797"/>
                      <a:gd name="connsiteY46" fmla="*/ 174426 h 284155"/>
                      <a:gd name="connsiteX47" fmla="*/ 178308 w 292797"/>
                      <a:gd name="connsiteY47" fmla="*/ 164901 h 284155"/>
                      <a:gd name="connsiteX48" fmla="*/ 180022 w 292797"/>
                      <a:gd name="connsiteY48" fmla="*/ 143088 h 284155"/>
                      <a:gd name="connsiteX49" fmla="*/ 169354 w 292797"/>
                      <a:gd name="connsiteY49" fmla="*/ 134706 h 284155"/>
                      <a:gd name="connsiteX50" fmla="*/ 160972 w 292797"/>
                      <a:gd name="connsiteY50" fmla="*/ 145374 h 284155"/>
                      <a:gd name="connsiteX51" fmla="*/ 141922 w 292797"/>
                      <a:gd name="connsiteY51" fmla="*/ 177378 h 284155"/>
                      <a:gd name="connsiteX52" fmla="*/ 137445 w 292797"/>
                      <a:gd name="connsiteY52" fmla="*/ 173473 h 284155"/>
                      <a:gd name="connsiteX53" fmla="*/ 30194 w 292797"/>
                      <a:gd name="connsiteY53" fmla="*/ 129277 h 284155"/>
                      <a:gd name="connsiteX54" fmla="*/ 35623 w 292797"/>
                      <a:gd name="connsiteY54" fmla="*/ 141564 h 284155"/>
                      <a:gd name="connsiteX55" fmla="*/ 39052 w 292797"/>
                      <a:gd name="connsiteY55" fmla="*/ 142136 h 284155"/>
                      <a:gd name="connsiteX56" fmla="*/ 48006 w 292797"/>
                      <a:gd name="connsiteY56" fmla="*/ 136040 h 284155"/>
                      <a:gd name="connsiteX57" fmla="*/ 76581 w 292797"/>
                      <a:gd name="connsiteY57" fmla="*/ 61364 h 284155"/>
                      <a:gd name="connsiteX58" fmla="*/ 30480 w 292797"/>
                      <a:gd name="connsiteY58" fmla="*/ 61364 h 284155"/>
                      <a:gd name="connsiteX59" fmla="*/ 54006 w 292797"/>
                      <a:gd name="connsiteY59" fmla="*/ 13739 h 284155"/>
                      <a:gd name="connsiteX60" fmla="*/ 49653 w 292797"/>
                      <a:gd name="connsiteY60" fmla="*/ 994 h 284155"/>
                      <a:gd name="connsiteX61" fmla="*/ 49625 w 292797"/>
                      <a:gd name="connsiteY61" fmla="*/ 975 h 284155"/>
                      <a:gd name="connsiteX62" fmla="*/ 36880 w 292797"/>
                      <a:gd name="connsiteY62" fmla="*/ 5328 h 284155"/>
                      <a:gd name="connsiteX63" fmla="*/ 36861 w 292797"/>
                      <a:gd name="connsiteY63" fmla="*/ 5357 h 284155"/>
                      <a:gd name="connsiteX64" fmla="*/ 0 w 292797"/>
                      <a:gd name="connsiteY64" fmla="*/ 80890 h 284155"/>
                      <a:gd name="connsiteX65" fmla="*/ 48863 w 292797"/>
                      <a:gd name="connsiteY65" fmla="*/ 80890 h 284155"/>
                      <a:gd name="connsiteX66" fmla="*/ 30194 w 292797"/>
                      <a:gd name="connsiteY66" fmla="*/ 129277 h 284155"/>
                      <a:gd name="connsiteX0" fmla="*/ 137445 w 292797"/>
                      <a:gd name="connsiteY0" fmla="*/ 173473 h 284155"/>
                      <a:gd name="connsiteX1" fmla="*/ 69056 w 292797"/>
                      <a:gd name="connsiteY1" fmla="*/ 194333 h 284155"/>
                      <a:gd name="connsiteX2" fmla="*/ 36480 w 292797"/>
                      <a:gd name="connsiteY2" fmla="*/ 176902 h 284155"/>
                      <a:gd name="connsiteX3" fmla="*/ 25146 w 292797"/>
                      <a:gd name="connsiteY3" fmla="*/ 169187 h 284155"/>
                      <a:gd name="connsiteX4" fmla="*/ 17430 w 292797"/>
                      <a:gd name="connsiteY4" fmla="*/ 180522 h 284155"/>
                      <a:gd name="connsiteX5" fmla="*/ 60769 w 292797"/>
                      <a:gd name="connsiteY5" fmla="*/ 212716 h 284155"/>
                      <a:gd name="connsiteX6" fmla="*/ 60007 w 292797"/>
                      <a:gd name="connsiteY6" fmla="*/ 218812 h 284155"/>
                      <a:gd name="connsiteX7" fmla="*/ 62865 w 292797"/>
                      <a:gd name="connsiteY7" fmla="*/ 239100 h 284155"/>
                      <a:gd name="connsiteX8" fmla="*/ 34290 w 292797"/>
                      <a:gd name="connsiteY8" fmla="*/ 246530 h 284155"/>
                      <a:gd name="connsiteX9" fmla="*/ 30956 w 292797"/>
                      <a:gd name="connsiteY9" fmla="*/ 259579 h 284155"/>
                      <a:gd name="connsiteX10" fmla="*/ 39052 w 292797"/>
                      <a:gd name="connsiteY10" fmla="*/ 264246 h 284155"/>
                      <a:gd name="connsiteX11" fmla="*/ 43719 w 292797"/>
                      <a:gd name="connsiteY11" fmla="*/ 263103 h 284155"/>
                      <a:gd name="connsiteX12" fmla="*/ 73723 w 292797"/>
                      <a:gd name="connsiteY12" fmla="*/ 260913 h 284155"/>
                      <a:gd name="connsiteX13" fmla="*/ 75628 w 292797"/>
                      <a:gd name="connsiteY13" fmla="*/ 261579 h 284155"/>
                      <a:gd name="connsiteX14" fmla="*/ 94678 w 292797"/>
                      <a:gd name="connsiteY14" fmla="*/ 281296 h 284155"/>
                      <a:gd name="connsiteX15" fmla="*/ 101631 w 292797"/>
                      <a:gd name="connsiteY15" fmla="*/ 284154 h 284155"/>
                      <a:gd name="connsiteX16" fmla="*/ 111118 w 292797"/>
                      <a:gd name="connsiteY16" fmla="*/ 274591 h 284155"/>
                      <a:gd name="connsiteX17" fmla="*/ 108489 w 292797"/>
                      <a:gd name="connsiteY17" fmla="*/ 268056 h 284155"/>
                      <a:gd name="connsiteX18" fmla="*/ 88868 w 292797"/>
                      <a:gd name="connsiteY18" fmla="*/ 247673 h 284155"/>
                      <a:gd name="connsiteX19" fmla="*/ 79343 w 292797"/>
                      <a:gd name="connsiteY19" fmla="*/ 219574 h 284155"/>
                      <a:gd name="connsiteX20" fmla="*/ 103346 w 292797"/>
                      <a:gd name="connsiteY20" fmla="*/ 193761 h 284155"/>
                      <a:gd name="connsiteX21" fmla="*/ 137350 w 292797"/>
                      <a:gd name="connsiteY21" fmla="*/ 227289 h 284155"/>
                      <a:gd name="connsiteX22" fmla="*/ 142208 w 292797"/>
                      <a:gd name="connsiteY22" fmla="*/ 239862 h 284155"/>
                      <a:gd name="connsiteX23" fmla="*/ 154781 w 292797"/>
                      <a:gd name="connsiteY23" fmla="*/ 235005 h 284155"/>
                      <a:gd name="connsiteX24" fmla="*/ 153447 w 292797"/>
                      <a:gd name="connsiteY24" fmla="*/ 192999 h 284155"/>
                      <a:gd name="connsiteX25" fmla="*/ 169545 w 292797"/>
                      <a:gd name="connsiteY25" fmla="*/ 181760 h 284155"/>
                      <a:gd name="connsiteX26" fmla="*/ 199358 w 292797"/>
                      <a:gd name="connsiteY26" fmla="*/ 192999 h 284155"/>
                      <a:gd name="connsiteX27" fmla="*/ 213741 w 292797"/>
                      <a:gd name="connsiteY27" fmla="*/ 234719 h 284155"/>
                      <a:gd name="connsiteX28" fmla="*/ 256413 w 292797"/>
                      <a:gd name="connsiteY28" fmla="*/ 246339 h 284155"/>
                      <a:gd name="connsiteX29" fmla="*/ 262128 w 292797"/>
                      <a:gd name="connsiteY29" fmla="*/ 246339 h 284155"/>
                      <a:gd name="connsiteX30" fmla="*/ 273748 w 292797"/>
                      <a:gd name="connsiteY30" fmla="*/ 257293 h 284155"/>
                      <a:gd name="connsiteX31" fmla="*/ 283273 w 292797"/>
                      <a:gd name="connsiteY31" fmla="*/ 264437 h 284155"/>
                      <a:gd name="connsiteX32" fmla="*/ 285654 w 292797"/>
                      <a:gd name="connsiteY32" fmla="*/ 264437 h 284155"/>
                      <a:gd name="connsiteX33" fmla="*/ 292512 w 292797"/>
                      <a:gd name="connsiteY33" fmla="*/ 252912 h 284155"/>
                      <a:gd name="connsiteX34" fmla="*/ 262413 w 292797"/>
                      <a:gd name="connsiteY34" fmla="*/ 227575 h 284155"/>
                      <a:gd name="connsiteX35" fmla="*/ 255936 w 292797"/>
                      <a:gd name="connsiteY35" fmla="*/ 227575 h 284155"/>
                      <a:gd name="connsiteX36" fmla="*/ 241363 w 292797"/>
                      <a:gd name="connsiteY36" fmla="*/ 227575 h 284155"/>
                      <a:gd name="connsiteX37" fmla="*/ 270605 w 292797"/>
                      <a:gd name="connsiteY37" fmla="*/ 214716 h 284155"/>
                      <a:gd name="connsiteX38" fmla="*/ 281225 w 292797"/>
                      <a:gd name="connsiteY38" fmla="*/ 206287 h 284155"/>
                      <a:gd name="connsiteX39" fmla="*/ 272796 w 292797"/>
                      <a:gd name="connsiteY39" fmla="*/ 195666 h 284155"/>
                      <a:gd name="connsiteX40" fmla="*/ 224694 w 292797"/>
                      <a:gd name="connsiteY40" fmla="*/ 218145 h 284155"/>
                      <a:gd name="connsiteX41" fmla="*/ 218694 w 292797"/>
                      <a:gd name="connsiteY41" fmla="*/ 191190 h 284155"/>
                      <a:gd name="connsiteX42" fmla="*/ 252031 w 292797"/>
                      <a:gd name="connsiteY42" fmla="*/ 165948 h 284155"/>
                      <a:gd name="connsiteX43" fmla="*/ 249459 w 292797"/>
                      <a:gd name="connsiteY43" fmla="*/ 152804 h 284155"/>
                      <a:gd name="connsiteX44" fmla="*/ 236229 w 292797"/>
                      <a:gd name="connsiteY44" fmla="*/ 155357 h 284155"/>
                      <a:gd name="connsiteX45" fmla="*/ 236220 w 292797"/>
                      <a:gd name="connsiteY45" fmla="*/ 155376 h 284155"/>
                      <a:gd name="connsiteX46" fmla="*/ 207645 w 292797"/>
                      <a:gd name="connsiteY46" fmla="*/ 174426 h 284155"/>
                      <a:gd name="connsiteX47" fmla="*/ 178308 w 292797"/>
                      <a:gd name="connsiteY47" fmla="*/ 164901 h 284155"/>
                      <a:gd name="connsiteX48" fmla="*/ 180022 w 292797"/>
                      <a:gd name="connsiteY48" fmla="*/ 143088 h 284155"/>
                      <a:gd name="connsiteX49" fmla="*/ 169354 w 292797"/>
                      <a:gd name="connsiteY49" fmla="*/ 134706 h 284155"/>
                      <a:gd name="connsiteX50" fmla="*/ 160972 w 292797"/>
                      <a:gd name="connsiteY50" fmla="*/ 145374 h 284155"/>
                      <a:gd name="connsiteX51" fmla="*/ 137445 w 292797"/>
                      <a:gd name="connsiteY51" fmla="*/ 173473 h 284155"/>
                      <a:gd name="connsiteX52" fmla="*/ 30194 w 292797"/>
                      <a:gd name="connsiteY52" fmla="*/ 129277 h 284155"/>
                      <a:gd name="connsiteX53" fmla="*/ 35623 w 292797"/>
                      <a:gd name="connsiteY53" fmla="*/ 141564 h 284155"/>
                      <a:gd name="connsiteX54" fmla="*/ 39052 w 292797"/>
                      <a:gd name="connsiteY54" fmla="*/ 142136 h 284155"/>
                      <a:gd name="connsiteX55" fmla="*/ 48006 w 292797"/>
                      <a:gd name="connsiteY55" fmla="*/ 136040 h 284155"/>
                      <a:gd name="connsiteX56" fmla="*/ 76581 w 292797"/>
                      <a:gd name="connsiteY56" fmla="*/ 61364 h 284155"/>
                      <a:gd name="connsiteX57" fmla="*/ 30480 w 292797"/>
                      <a:gd name="connsiteY57" fmla="*/ 61364 h 284155"/>
                      <a:gd name="connsiteX58" fmla="*/ 54006 w 292797"/>
                      <a:gd name="connsiteY58" fmla="*/ 13739 h 284155"/>
                      <a:gd name="connsiteX59" fmla="*/ 49653 w 292797"/>
                      <a:gd name="connsiteY59" fmla="*/ 994 h 284155"/>
                      <a:gd name="connsiteX60" fmla="*/ 49625 w 292797"/>
                      <a:gd name="connsiteY60" fmla="*/ 975 h 284155"/>
                      <a:gd name="connsiteX61" fmla="*/ 36880 w 292797"/>
                      <a:gd name="connsiteY61" fmla="*/ 5328 h 284155"/>
                      <a:gd name="connsiteX62" fmla="*/ 36861 w 292797"/>
                      <a:gd name="connsiteY62" fmla="*/ 5357 h 284155"/>
                      <a:gd name="connsiteX63" fmla="*/ 0 w 292797"/>
                      <a:gd name="connsiteY63" fmla="*/ 80890 h 284155"/>
                      <a:gd name="connsiteX64" fmla="*/ 48863 w 292797"/>
                      <a:gd name="connsiteY64" fmla="*/ 80890 h 284155"/>
                      <a:gd name="connsiteX65" fmla="*/ 30194 w 292797"/>
                      <a:gd name="connsiteY65" fmla="*/ 129277 h 284155"/>
                      <a:gd name="connsiteX0" fmla="*/ 137445 w 292797"/>
                      <a:gd name="connsiteY0" fmla="*/ 173473 h 284155"/>
                      <a:gd name="connsiteX1" fmla="*/ 69056 w 292797"/>
                      <a:gd name="connsiteY1" fmla="*/ 194333 h 284155"/>
                      <a:gd name="connsiteX2" fmla="*/ 36480 w 292797"/>
                      <a:gd name="connsiteY2" fmla="*/ 176902 h 284155"/>
                      <a:gd name="connsiteX3" fmla="*/ 17430 w 292797"/>
                      <a:gd name="connsiteY3" fmla="*/ 180522 h 284155"/>
                      <a:gd name="connsiteX4" fmla="*/ 60769 w 292797"/>
                      <a:gd name="connsiteY4" fmla="*/ 212716 h 284155"/>
                      <a:gd name="connsiteX5" fmla="*/ 60007 w 292797"/>
                      <a:gd name="connsiteY5" fmla="*/ 218812 h 284155"/>
                      <a:gd name="connsiteX6" fmla="*/ 62865 w 292797"/>
                      <a:gd name="connsiteY6" fmla="*/ 239100 h 284155"/>
                      <a:gd name="connsiteX7" fmla="*/ 34290 w 292797"/>
                      <a:gd name="connsiteY7" fmla="*/ 246530 h 284155"/>
                      <a:gd name="connsiteX8" fmla="*/ 30956 w 292797"/>
                      <a:gd name="connsiteY8" fmla="*/ 259579 h 284155"/>
                      <a:gd name="connsiteX9" fmla="*/ 39052 w 292797"/>
                      <a:gd name="connsiteY9" fmla="*/ 264246 h 284155"/>
                      <a:gd name="connsiteX10" fmla="*/ 43719 w 292797"/>
                      <a:gd name="connsiteY10" fmla="*/ 263103 h 284155"/>
                      <a:gd name="connsiteX11" fmla="*/ 73723 w 292797"/>
                      <a:gd name="connsiteY11" fmla="*/ 260913 h 284155"/>
                      <a:gd name="connsiteX12" fmla="*/ 75628 w 292797"/>
                      <a:gd name="connsiteY12" fmla="*/ 261579 h 284155"/>
                      <a:gd name="connsiteX13" fmla="*/ 94678 w 292797"/>
                      <a:gd name="connsiteY13" fmla="*/ 281296 h 284155"/>
                      <a:gd name="connsiteX14" fmla="*/ 101631 w 292797"/>
                      <a:gd name="connsiteY14" fmla="*/ 284154 h 284155"/>
                      <a:gd name="connsiteX15" fmla="*/ 111118 w 292797"/>
                      <a:gd name="connsiteY15" fmla="*/ 274591 h 284155"/>
                      <a:gd name="connsiteX16" fmla="*/ 108489 w 292797"/>
                      <a:gd name="connsiteY16" fmla="*/ 268056 h 284155"/>
                      <a:gd name="connsiteX17" fmla="*/ 88868 w 292797"/>
                      <a:gd name="connsiteY17" fmla="*/ 247673 h 284155"/>
                      <a:gd name="connsiteX18" fmla="*/ 79343 w 292797"/>
                      <a:gd name="connsiteY18" fmla="*/ 219574 h 284155"/>
                      <a:gd name="connsiteX19" fmla="*/ 103346 w 292797"/>
                      <a:gd name="connsiteY19" fmla="*/ 193761 h 284155"/>
                      <a:gd name="connsiteX20" fmla="*/ 137350 w 292797"/>
                      <a:gd name="connsiteY20" fmla="*/ 227289 h 284155"/>
                      <a:gd name="connsiteX21" fmla="*/ 142208 w 292797"/>
                      <a:gd name="connsiteY21" fmla="*/ 239862 h 284155"/>
                      <a:gd name="connsiteX22" fmla="*/ 154781 w 292797"/>
                      <a:gd name="connsiteY22" fmla="*/ 235005 h 284155"/>
                      <a:gd name="connsiteX23" fmla="*/ 153447 w 292797"/>
                      <a:gd name="connsiteY23" fmla="*/ 192999 h 284155"/>
                      <a:gd name="connsiteX24" fmla="*/ 169545 w 292797"/>
                      <a:gd name="connsiteY24" fmla="*/ 181760 h 284155"/>
                      <a:gd name="connsiteX25" fmla="*/ 199358 w 292797"/>
                      <a:gd name="connsiteY25" fmla="*/ 192999 h 284155"/>
                      <a:gd name="connsiteX26" fmla="*/ 213741 w 292797"/>
                      <a:gd name="connsiteY26" fmla="*/ 234719 h 284155"/>
                      <a:gd name="connsiteX27" fmla="*/ 256413 w 292797"/>
                      <a:gd name="connsiteY27" fmla="*/ 246339 h 284155"/>
                      <a:gd name="connsiteX28" fmla="*/ 262128 w 292797"/>
                      <a:gd name="connsiteY28" fmla="*/ 246339 h 284155"/>
                      <a:gd name="connsiteX29" fmla="*/ 273748 w 292797"/>
                      <a:gd name="connsiteY29" fmla="*/ 257293 h 284155"/>
                      <a:gd name="connsiteX30" fmla="*/ 283273 w 292797"/>
                      <a:gd name="connsiteY30" fmla="*/ 264437 h 284155"/>
                      <a:gd name="connsiteX31" fmla="*/ 285654 w 292797"/>
                      <a:gd name="connsiteY31" fmla="*/ 264437 h 284155"/>
                      <a:gd name="connsiteX32" fmla="*/ 292512 w 292797"/>
                      <a:gd name="connsiteY32" fmla="*/ 252912 h 284155"/>
                      <a:gd name="connsiteX33" fmla="*/ 262413 w 292797"/>
                      <a:gd name="connsiteY33" fmla="*/ 227575 h 284155"/>
                      <a:gd name="connsiteX34" fmla="*/ 255936 w 292797"/>
                      <a:gd name="connsiteY34" fmla="*/ 227575 h 284155"/>
                      <a:gd name="connsiteX35" fmla="*/ 241363 w 292797"/>
                      <a:gd name="connsiteY35" fmla="*/ 227575 h 284155"/>
                      <a:gd name="connsiteX36" fmla="*/ 270605 w 292797"/>
                      <a:gd name="connsiteY36" fmla="*/ 214716 h 284155"/>
                      <a:gd name="connsiteX37" fmla="*/ 281225 w 292797"/>
                      <a:gd name="connsiteY37" fmla="*/ 206287 h 284155"/>
                      <a:gd name="connsiteX38" fmla="*/ 272796 w 292797"/>
                      <a:gd name="connsiteY38" fmla="*/ 195666 h 284155"/>
                      <a:gd name="connsiteX39" fmla="*/ 224694 w 292797"/>
                      <a:gd name="connsiteY39" fmla="*/ 218145 h 284155"/>
                      <a:gd name="connsiteX40" fmla="*/ 218694 w 292797"/>
                      <a:gd name="connsiteY40" fmla="*/ 191190 h 284155"/>
                      <a:gd name="connsiteX41" fmla="*/ 252031 w 292797"/>
                      <a:gd name="connsiteY41" fmla="*/ 165948 h 284155"/>
                      <a:gd name="connsiteX42" fmla="*/ 249459 w 292797"/>
                      <a:gd name="connsiteY42" fmla="*/ 152804 h 284155"/>
                      <a:gd name="connsiteX43" fmla="*/ 236229 w 292797"/>
                      <a:gd name="connsiteY43" fmla="*/ 155357 h 284155"/>
                      <a:gd name="connsiteX44" fmla="*/ 236220 w 292797"/>
                      <a:gd name="connsiteY44" fmla="*/ 155376 h 284155"/>
                      <a:gd name="connsiteX45" fmla="*/ 207645 w 292797"/>
                      <a:gd name="connsiteY45" fmla="*/ 174426 h 284155"/>
                      <a:gd name="connsiteX46" fmla="*/ 178308 w 292797"/>
                      <a:gd name="connsiteY46" fmla="*/ 164901 h 284155"/>
                      <a:gd name="connsiteX47" fmla="*/ 180022 w 292797"/>
                      <a:gd name="connsiteY47" fmla="*/ 143088 h 284155"/>
                      <a:gd name="connsiteX48" fmla="*/ 169354 w 292797"/>
                      <a:gd name="connsiteY48" fmla="*/ 134706 h 284155"/>
                      <a:gd name="connsiteX49" fmla="*/ 160972 w 292797"/>
                      <a:gd name="connsiteY49" fmla="*/ 145374 h 284155"/>
                      <a:gd name="connsiteX50" fmla="*/ 137445 w 292797"/>
                      <a:gd name="connsiteY50" fmla="*/ 173473 h 284155"/>
                      <a:gd name="connsiteX51" fmla="*/ 30194 w 292797"/>
                      <a:gd name="connsiteY51" fmla="*/ 129277 h 284155"/>
                      <a:gd name="connsiteX52" fmla="*/ 35623 w 292797"/>
                      <a:gd name="connsiteY52" fmla="*/ 141564 h 284155"/>
                      <a:gd name="connsiteX53" fmla="*/ 39052 w 292797"/>
                      <a:gd name="connsiteY53" fmla="*/ 142136 h 284155"/>
                      <a:gd name="connsiteX54" fmla="*/ 48006 w 292797"/>
                      <a:gd name="connsiteY54" fmla="*/ 136040 h 284155"/>
                      <a:gd name="connsiteX55" fmla="*/ 76581 w 292797"/>
                      <a:gd name="connsiteY55" fmla="*/ 61364 h 284155"/>
                      <a:gd name="connsiteX56" fmla="*/ 30480 w 292797"/>
                      <a:gd name="connsiteY56" fmla="*/ 61364 h 284155"/>
                      <a:gd name="connsiteX57" fmla="*/ 54006 w 292797"/>
                      <a:gd name="connsiteY57" fmla="*/ 13739 h 284155"/>
                      <a:gd name="connsiteX58" fmla="*/ 49653 w 292797"/>
                      <a:gd name="connsiteY58" fmla="*/ 994 h 284155"/>
                      <a:gd name="connsiteX59" fmla="*/ 49625 w 292797"/>
                      <a:gd name="connsiteY59" fmla="*/ 975 h 284155"/>
                      <a:gd name="connsiteX60" fmla="*/ 36880 w 292797"/>
                      <a:gd name="connsiteY60" fmla="*/ 5328 h 284155"/>
                      <a:gd name="connsiteX61" fmla="*/ 36861 w 292797"/>
                      <a:gd name="connsiteY61" fmla="*/ 5357 h 284155"/>
                      <a:gd name="connsiteX62" fmla="*/ 0 w 292797"/>
                      <a:gd name="connsiteY62" fmla="*/ 80890 h 284155"/>
                      <a:gd name="connsiteX63" fmla="*/ 48863 w 292797"/>
                      <a:gd name="connsiteY63" fmla="*/ 80890 h 284155"/>
                      <a:gd name="connsiteX64" fmla="*/ 30194 w 292797"/>
                      <a:gd name="connsiteY64" fmla="*/ 129277 h 284155"/>
                      <a:gd name="connsiteX0" fmla="*/ 137445 w 292797"/>
                      <a:gd name="connsiteY0" fmla="*/ 173473 h 284155"/>
                      <a:gd name="connsiteX1" fmla="*/ 69056 w 292797"/>
                      <a:gd name="connsiteY1" fmla="*/ 194333 h 284155"/>
                      <a:gd name="connsiteX2" fmla="*/ 17430 w 292797"/>
                      <a:gd name="connsiteY2" fmla="*/ 180522 h 284155"/>
                      <a:gd name="connsiteX3" fmla="*/ 60769 w 292797"/>
                      <a:gd name="connsiteY3" fmla="*/ 212716 h 284155"/>
                      <a:gd name="connsiteX4" fmla="*/ 60007 w 292797"/>
                      <a:gd name="connsiteY4" fmla="*/ 218812 h 284155"/>
                      <a:gd name="connsiteX5" fmla="*/ 62865 w 292797"/>
                      <a:gd name="connsiteY5" fmla="*/ 239100 h 284155"/>
                      <a:gd name="connsiteX6" fmla="*/ 34290 w 292797"/>
                      <a:gd name="connsiteY6" fmla="*/ 246530 h 284155"/>
                      <a:gd name="connsiteX7" fmla="*/ 30956 w 292797"/>
                      <a:gd name="connsiteY7" fmla="*/ 259579 h 284155"/>
                      <a:gd name="connsiteX8" fmla="*/ 39052 w 292797"/>
                      <a:gd name="connsiteY8" fmla="*/ 264246 h 284155"/>
                      <a:gd name="connsiteX9" fmla="*/ 43719 w 292797"/>
                      <a:gd name="connsiteY9" fmla="*/ 263103 h 284155"/>
                      <a:gd name="connsiteX10" fmla="*/ 73723 w 292797"/>
                      <a:gd name="connsiteY10" fmla="*/ 260913 h 284155"/>
                      <a:gd name="connsiteX11" fmla="*/ 75628 w 292797"/>
                      <a:gd name="connsiteY11" fmla="*/ 261579 h 284155"/>
                      <a:gd name="connsiteX12" fmla="*/ 94678 w 292797"/>
                      <a:gd name="connsiteY12" fmla="*/ 281296 h 284155"/>
                      <a:gd name="connsiteX13" fmla="*/ 101631 w 292797"/>
                      <a:gd name="connsiteY13" fmla="*/ 284154 h 284155"/>
                      <a:gd name="connsiteX14" fmla="*/ 111118 w 292797"/>
                      <a:gd name="connsiteY14" fmla="*/ 274591 h 284155"/>
                      <a:gd name="connsiteX15" fmla="*/ 108489 w 292797"/>
                      <a:gd name="connsiteY15" fmla="*/ 268056 h 284155"/>
                      <a:gd name="connsiteX16" fmla="*/ 88868 w 292797"/>
                      <a:gd name="connsiteY16" fmla="*/ 247673 h 284155"/>
                      <a:gd name="connsiteX17" fmla="*/ 79343 w 292797"/>
                      <a:gd name="connsiteY17" fmla="*/ 219574 h 284155"/>
                      <a:gd name="connsiteX18" fmla="*/ 103346 w 292797"/>
                      <a:gd name="connsiteY18" fmla="*/ 193761 h 284155"/>
                      <a:gd name="connsiteX19" fmla="*/ 137350 w 292797"/>
                      <a:gd name="connsiteY19" fmla="*/ 227289 h 284155"/>
                      <a:gd name="connsiteX20" fmla="*/ 142208 w 292797"/>
                      <a:gd name="connsiteY20" fmla="*/ 239862 h 284155"/>
                      <a:gd name="connsiteX21" fmla="*/ 154781 w 292797"/>
                      <a:gd name="connsiteY21" fmla="*/ 235005 h 284155"/>
                      <a:gd name="connsiteX22" fmla="*/ 153447 w 292797"/>
                      <a:gd name="connsiteY22" fmla="*/ 192999 h 284155"/>
                      <a:gd name="connsiteX23" fmla="*/ 169545 w 292797"/>
                      <a:gd name="connsiteY23" fmla="*/ 181760 h 284155"/>
                      <a:gd name="connsiteX24" fmla="*/ 199358 w 292797"/>
                      <a:gd name="connsiteY24" fmla="*/ 192999 h 284155"/>
                      <a:gd name="connsiteX25" fmla="*/ 213741 w 292797"/>
                      <a:gd name="connsiteY25" fmla="*/ 234719 h 284155"/>
                      <a:gd name="connsiteX26" fmla="*/ 256413 w 292797"/>
                      <a:gd name="connsiteY26" fmla="*/ 246339 h 284155"/>
                      <a:gd name="connsiteX27" fmla="*/ 262128 w 292797"/>
                      <a:gd name="connsiteY27" fmla="*/ 246339 h 284155"/>
                      <a:gd name="connsiteX28" fmla="*/ 273748 w 292797"/>
                      <a:gd name="connsiteY28" fmla="*/ 257293 h 284155"/>
                      <a:gd name="connsiteX29" fmla="*/ 283273 w 292797"/>
                      <a:gd name="connsiteY29" fmla="*/ 264437 h 284155"/>
                      <a:gd name="connsiteX30" fmla="*/ 285654 w 292797"/>
                      <a:gd name="connsiteY30" fmla="*/ 264437 h 284155"/>
                      <a:gd name="connsiteX31" fmla="*/ 292512 w 292797"/>
                      <a:gd name="connsiteY31" fmla="*/ 252912 h 284155"/>
                      <a:gd name="connsiteX32" fmla="*/ 262413 w 292797"/>
                      <a:gd name="connsiteY32" fmla="*/ 227575 h 284155"/>
                      <a:gd name="connsiteX33" fmla="*/ 255936 w 292797"/>
                      <a:gd name="connsiteY33" fmla="*/ 227575 h 284155"/>
                      <a:gd name="connsiteX34" fmla="*/ 241363 w 292797"/>
                      <a:gd name="connsiteY34" fmla="*/ 227575 h 284155"/>
                      <a:gd name="connsiteX35" fmla="*/ 270605 w 292797"/>
                      <a:gd name="connsiteY35" fmla="*/ 214716 h 284155"/>
                      <a:gd name="connsiteX36" fmla="*/ 281225 w 292797"/>
                      <a:gd name="connsiteY36" fmla="*/ 206287 h 284155"/>
                      <a:gd name="connsiteX37" fmla="*/ 272796 w 292797"/>
                      <a:gd name="connsiteY37" fmla="*/ 195666 h 284155"/>
                      <a:gd name="connsiteX38" fmla="*/ 224694 w 292797"/>
                      <a:gd name="connsiteY38" fmla="*/ 218145 h 284155"/>
                      <a:gd name="connsiteX39" fmla="*/ 218694 w 292797"/>
                      <a:gd name="connsiteY39" fmla="*/ 191190 h 284155"/>
                      <a:gd name="connsiteX40" fmla="*/ 252031 w 292797"/>
                      <a:gd name="connsiteY40" fmla="*/ 165948 h 284155"/>
                      <a:gd name="connsiteX41" fmla="*/ 249459 w 292797"/>
                      <a:gd name="connsiteY41" fmla="*/ 152804 h 284155"/>
                      <a:gd name="connsiteX42" fmla="*/ 236229 w 292797"/>
                      <a:gd name="connsiteY42" fmla="*/ 155357 h 284155"/>
                      <a:gd name="connsiteX43" fmla="*/ 236220 w 292797"/>
                      <a:gd name="connsiteY43" fmla="*/ 155376 h 284155"/>
                      <a:gd name="connsiteX44" fmla="*/ 207645 w 292797"/>
                      <a:gd name="connsiteY44" fmla="*/ 174426 h 284155"/>
                      <a:gd name="connsiteX45" fmla="*/ 178308 w 292797"/>
                      <a:gd name="connsiteY45" fmla="*/ 164901 h 284155"/>
                      <a:gd name="connsiteX46" fmla="*/ 180022 w 292797"/>
                      <a:gd name="connsiteY46" fmla="*/ 143088 h 284155"/>
                      <a:gd name="connsiteX47" fmla="*/ 169354 w 292797"/>
                      <a:gd name="connsiteY47" fmla="*/ 134706 h 284155"/>
                      <a:gd name="connsiteX48" fmla="*/ 160972 w 292797"/>
                      <a:gd name="connsiteY48" fmla="*/ 145374 h 284155"/>
                      <a:gd name="connsiteX49" fmla="*/ 137445 w 292797"/>
                      <a:gd name="connsiteY49" fmla="*/ 173473 h 284155"/>
                      <a:gd name="connsiteX50" fmla="*/ 30194 w 292797"/>
                      <a:gd name="connsiteY50" fmla="*/ 129277 h 284155"/>
                      <a:gd name="connsiteX51" fmla="*/ 35623 w 292797"/>
                      <a:gd name="connsiteY51" fmla="*/ 141564 h 284155"/>
                      <a:gd name="connsiteX52" fmla="*/ 39052 w 292797"/>
                      <a:gd name="connsiteY52" fmla="*/ 142136 h 284155"/>
                      <a:gd name="connsiteX53" fmla="*/ 48006 w 292797"/>
                      <a:gd name="connsiteY53" fmla="*/ 136040 h 284155"/>
                      <a:gd name="connsiteX54" fmla="*/ 76581 w 292797"/>
                      <a:gd name="connsiteY54" fmla="*/ 61364 h 284155"/>
                      <a:gd name="connsiteX55" fmla="*/ 30480 w 292797"/>
                      <a:gd name="connsiteY55" fmla="*/ 61364 h 284155"/>
                      <a:gd name="connsiteX56" fmla="*/ 54006 w 292797"/>
                      <a:gd name="connsiteY56" fmla="*/ 13739 h 284155"/>
                      <a:gd name="connsiteX57" fmla="*/ 49653 w 292797"/>
                      <a:gd name="connsiteY57" fmla="*/ 994 h 284155"/>
                      <a:gd name="connsiteX58" fmla="*/ 49625 w 292797"/>
                      <a:gd name="connsiteY58" fmla="*/ 975 h 284155"/>
                      <a:gd name="connsiteX59" fmla="*/ 36880 w 292797"/>
                      <a:gd name="connsiteY59" fmla="*/ 5328 h 284155"/>
                      <a:gd name="connsiteX60" fmla="*/ 36861 w 292797"/>
                      <a:gd name="connsiteY60" fmla="*/ 5357 h 284155"/>
                      <a:gd name="connsiteX61" fmla="*/ 0 w 292797"/>
                      <a:gd name="connsiteY61" fmla="*/ 80890 h 284155"/>
                      <a:gd name="connsiteX62" fmla="*/ 48863 w 292797"/>
                      <a:gd name="connsiteY62" fmla="*/ 80890 h 284155"/>
                      <a:gd name="connsiteX63" fmla="*/ 30194 w 292797"/>
                      <a:gd name="connsiteY63"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34290 w 292797"/>
                      <a:gd name="connsiteY5" fmla="*/ 246530 h 284155"/>
                      <a:gd name="connsiteX6" fmla="*/ 30956 w 292797"/>
                      <a:gd name="connsiteY6" fmla="*/ 259579 h 284155"/>
                      <a:gd name="connsiteX7" fmla="*/ 39052 w 292797"/>
                      <a:gd name="connsiteY7" fmla="*/ 264246 h 284155"/>
                      <a:gd name="connsiteX8" fmla="*/ 43719 w 292797"/>
                      <a:gd name="connsiteY8" fmla="*/ 263103 h 284155"/>
                      <a:gd name="connsiteX9" fmla="*/ 73723 w 292797"/>
                      <a:gd name="connsiteY9" fmla="*/ 260913 h 284155"/>
                      <a:gd name="connsiteX10" fmla="*/ 75628 w 292797"/>
                      <a:gd name="connsiteY10" fmla="*/ 261579 h 284155"/>
                      <a:gd name="connsiteX11" fmla="*/ 94678 w 292797"/>
                      <a:gd name="connsiteY11" fmla="*/ 281296 h 284155"/>
                      <a:gd name="connsiteX12" fmla="*/ 101631 w 292797"/>
                      <a:gd name="connsiteY12" fmla="*/ 284154 h 284155"/>
                      <a:gd name="connsiteX13" fmla="*/ 111118 w 292797"/>
                      <a:gd name="connsiteY13" fmla="*/ 274591 h 284155"/>
                      <a:gd name="connsiteX14" fmla="*/ 108489 w 292797"/>
                      <a:gd name="connsiteY14" fmla="*/ 268056 h 284155"/>
                      <a:gd name="connsiteX15" fmla="*/ 88868 w 292797"/>
                      <a:gd name="connsiteY15" fmla="*/ 247673 h 284155"/>
                      <a:gd name="connsiteX16" fmla="*/ 79343 w 292797"/>
                      <a:gd name="connsiteY16" fmla="*/ 219574 h 284155"/>
                      <a:gd name="connsiteX17" fmla="*/ 103346 w 292797"/>
                      <a:gd name="connsiteY17" fmla="*/ 193761 h 284155"/>
                      <a:gd name="connsiteX18" fmla="*/ 137350 w 292797"/>
                      <a:gd name="connsiteY18" fmla="*/ 227289 h 284155"/>
                      <a:gd name="connsiteX19" fmla="*/ 142208 w 292797"/>
                      <a:gd name="connsiteY19" fmla="*/ 239862 h 284155"/>
                      <a:gd name="connsiteX20" fmla="*/ 154781 w 292797"/>
                      <a:gd name="connsiteY20" fmla="*/ 235005 h 284155"/>
                      <a:gd name="connsiteX21" fmla="*/ 153447 w 292797"/>
                      <a:gd name="connsiteY21" fmla="*/ 192999 h 284155"/>
                      <a:gd name="connsiteX22" fmla="*/ 169545 w 292797"/>
                      <a:gd name="connsiteY22" fmla="*/ 181760 h 284155"/>
                      <a:gd name="connsiteX23" fmla="*/ 199358 w 292797"/>
                      <a:gd name="connsiteY23" fmla="*/ 192999 h 284155"/>
                      <a:gd name="connsiteX24" fmla="*/ 213741 w 292797"/>
                      <a:gd name="connsiteY24" fmla="*/ 234719 h 284155"/>
                      <a:gd name="connsiteX25" fmla="*/ 256413 w 292797"/>
                      <a:gd name="connsiteY25" fmla="*/ 246339 h 284155"/>
                      <a:gd name="connsiteX26" fmla="*/ 262128 w 292797"/>
                      <a:gd name="connsiteY26" fmla="*/ 246339 h 284155"/>
                      <a:gd name="connsiteX27" fmla="*/ 273748 w 292797"/>
                      <a:gd name="connsiteY27" fmla="*/ 257293 h 284155"/>
                      <a:gd name="connsiteX28" fmla="*/ 283273 w 292797"/>
                      <a:gd name="connsiteY28" fmla="*/ 264437 h 284155"/>
                      <a:gd name="connsiteX29" fmla="*/ 285654 w 292797"/>
                      <a:gd name="connsiteY29" fmla="*/ 264437 h 284155"/>
                      <a:gd name="connsiteX30" fmla="*/ 292512 w 292797"/>
                      <a:gd name="connsiteY30" fmla="*/ 252912 h 284155"/>
                      <a:gd name="connsiteX31" fmla="*/ 262413 w 292797"/>
                      <a:gd name="connsiteY31" fmla="*/ 227575 h 284155"/>
                      <a:gd name="connsiteX32" fmla="*/ 255936 w 292797"/>
                      <a:gd name="connsiteY32" fmla="*/ 227575 h 284155"/>
                      <a:gd name="connsiteX33" fmla="*/ 241363 w 292797"/>
                      <a:gd name="connsiteY33" fmla="*/ 227575 h 284155"/>
                      <a:gd name="connsiteX34" fmla="*/ 270605 w 292797"/>
                      <a:gd name="connsiteY34" fmla="*/ 214716 h 284155"/>
                      <a:gd name="connsiteX35" fmla="*/ 281225 w 292797"/>
                      <a:gd name="connsiteY35" fmla="*/ 206287 h 284155"/>
                      <a:gd name="connsiteX36" fmla="*/ 272796 w 292797"/>
                      <a:gd name="connsiteY36" fmla="*/ 195666 h 284155"/>
                      <a:gd name="connsiteX37" fmla="*/ 224694 w 292797"/>
                      <a:gd name="connsiteY37" fmla="*/ 218145 h 284155"/>
                      <a:gd name="connsiteX38" fmla="*/ 218694 w 292797"/>
                      <a:gd name="connsiteY38" fmla="*/ 191190 h 284155"/>
                      <a:gd name="connsiteX39" fmla="*/ 252031 w 292797"/>
                      <a:gd name="connsiteY39" fmla="*/ 165948 h 284155"/>
                      <a:gd name="connsiteX40" fmla="*/ 249459 w 292797"/>
                      <a:gd name="connsiteY40" fmla="*/ 152804 h 284155"/>
                      <a:gd name="connsiteX41" fmla="*/ 236229 w 292797"/>
                      <a:gd name="connsiteY41" fmla="*/ 155357 h 284155"/>
                      <a:gd name="connsiteX42" fmla="*/ 236220 w 292797"/>
                      <a:gd name="connsiteY42" fmla="*/ 155376 h 284155"/>
                      <a:gd name="connsiteX43" fmla="*/ 207645 w 292797"/>
                      <a:gd name="connsiteY43" fmla="*/ 174426 h 284155"/>
                      <a:gd name="connsiteX44" fmla="*/ 178308 w 292797"/>
                      <a:gd name="connsiteY44" fmla="*/ 164901 h 284155"/>
                      <a:gd name="connsiteX45" fmla="*/ 180022 w 292797"/>
                      <a:gd name="connsiteY45" fmla="*/ 143088 h 284155"/>
                      <a:gd name="connsiteX46" fmla="*/ 169354 w 292797"/>
                      <a:gd name="connsiteY46" fmla="*/ 134706 h 284155"/>
                      <a:gd name="connsiteX47" fmla="*/ 160972 w 292797"/>
                      <a:gd name="connsiteY47" fmla="*/ 145374 h 284155"/>
                      <a:gd name="connsiteX48" fmla="*/ 137445 w 292797"/>
                      <a:gd name="connsiteY48" fmla="*/ 173473 h 284155"/>
                      <a:gd name="connsiteX49" fmla="*/ 30194 w 292797"/>
                      <a:gd name="connsiteY49" fmla="*/ 129277 h 284155"/>
                      <a:gd name="connsiteX50" fmla="*/ 35623 w 292797"/>
                      <a:gd name="connsiteY50" fmla="*/ 141564 h 284155"/>
                      <a:gd name="connsiteX51" fmla="*/ 39052 w 292797"/>
                      <a:gd name="connsiteY51" fmla="*/ 142136 h 284155"/>
                      <a:gd name="connsiteX52" fmla="*/ 48006 w 292797"/>
                      <a:gd name="connsiteY52" fmla="*/ 136040 h 284155"/>
                      <a:gd name="connsiteX53" fmla="*/ 76581 w 292797"/>
                      <a:gd name="connsiteY53" fmla="*/ 61364 h 284155"/>
                      <a:gd name="connsiteX54" fmla="*/ 30480 w 292797"/>
                      <a:gd name="connsiteY54" fmla="*/ 61364 h 284155"/>
                      <a:gd name="connsiteX55" fmla="*/ 54006 w 292797"/>
                      <a:gd name="connsiteY55" fmla="*/ 13739 h 284155"/>
                      <a:gd name="connsiteX56" fmla="*/ 49653 w 292797"/>
                      <a:gd name="connsiteY56" fmla="*/ 994 h 284155"/>
                      <a:gd name="connsiteX57" fmla="*/ 49625 w 292797"/>
                      <a:gd name="connsiteY57" fmla="*/ 975 h 284155"/>
                      <a:gd name="connsiteX58" fmla="*/ 36880 w 292797"/>
                      <a:gd name="connsiteY58" fmla="*/ 5328 h 284155"/>
                      <a:gd name="connsiteX59" fmla="*/ 36861 w 292797"/>
                      <a:gd name="connsiteY59" fmla="*/ 5357 h 284155"/>
                      <a:gd name="connsiteX60" fmla="*/ 0 w 292797"/>
                      <a:gd name="connsiteY60" fmla="*/ 80890 h 284155"/>
                      <a:gd name="connsiteX61" fmla="*/ 48863 w 292797"/>
                      <a:gd name="connsiteY61" fmla="*/ 80890 h 284155"/>
                      <a:gd name="connsiteX62" fmla="*/ 30194 w 292797"/>
                      <a:gd name="connsiteY62"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34290 w 292797"/>
                      <a:gd name="connsiteY5" fmla="*/ 246530 h 284155"/>
                      <a:gd name="connsiteX6" fmla="*/ 30956 w 292797"/>
                      <a:gd name="connsiteY6" fmla="*/ 259579 h 284155"/>
                      <a:gd name="connsiteX7" fmla="*/ 39052 w 292797"/>
                      <a:gd name="connsiteY7" fmla="*/ 264246 h 284155"/>
                      <a:gd name="connsiteX8" fmla="*/ 73723 w 292797"/>
                      <a:gd name="connsiteY8" fmla="*/ 260913 h 284155"/>
                      <a:gd name="connsiteX9" fmla="*/ 75628 w 292797"/>
                      <a:gd name="connsiteY9" fmla="*/ 261579 h 284155"/>
                      <a:gd name="connsiteX10" fmla="*/ 94678 w 292797"/>
                      <a:gd name="connsiteY10" fmla="*/ 281296 h 284155"/>
                      <a:gd name="connsiteX11" fmla="*/ 101631 w 292797"/>
                      <a:gd name="connsiteY11" fmla="*/ 284154 h 284155"/>
                      <a:gd name="connsiteX12" fmla="*/ 111118 w 292797"/>
                      <a:gd name="connsiteY12" fmla="*/ 274591 h 284155"/>
                      <a:gd name="connsiteX13" fmla="*/ 108489 w 292797"/>
                      <a:gd name="connsiteY13" fmla="*/ 268056 h 284155"/>
                      <a:gd name="connsiteX14" fmla="*/ 88868 w 292797"/>
                      <a:gd name="connsiteY14" fmla="*/ 247673 h 284155"/>
                      <a:gd name="connsiteX15" fmla="*/ 79343 w 292797"/>
                      <a:gd name="connsiteY15" fmla="*/ 219574 h 284155"/>
                      <a:gd name="connsiteX16" fmla="*/ 103346 w 292797"/>
                      <a:gd name="connsiteY16" fmla="*/ 193761 h 284155"/>
                      <a:gd name="connsiteX17" fmla="*/ 137350 w 292797"/>
                      <a:gd name="connsiteY17" fmla="*/ 227289 h 284155"/>
                      <a:gd name="connsiteX18" fmla="*/ 142208 w 292797"/>
                      <a:gd name="connsiteY18" fmla="*/ 239862 h 284155"/>
                      <a:gd name="connsiteX19" fmla="*/ 154781 w 292797"/>
                      <a:gd name="connsiteY19" fmla="*/ 235005 h 284155"/>
                      <a:gd name="connsiteX20" fmla="*/ 153447 w 292797"/>
                      <a:gd name="connsiteY20" fmla="*/ 192999 h 284155"/>
                      <a:gd name="connsiteX21" fmla="*/ 169545 w 292797"/>
                      <a:gd name="connsiteY21" fmla="*/ 181760 h 284155"/>
                      <a:gd name="connsiteX22" fmla="*/ 199358 w 292797"/>
                      <a:gd name="connsiteY22" fmla="*/ 192999 h 284155"/>
                      <a:gd name="connsiteX23" fmla="*/ 213741 w 292797"/>
                      <a:gd name="connsiteY23" fmla="*/ 234719 h 284155"/>
                      <a:gd name="connsiteX24" fmla="*/ 256413 w 292797"/>
                      <a:gd name="connsiteY24" fmla="*/ 246339 h 284155"/>
                      <a:gd name="connsiteX25" fmla="*/ 262128 w 292797"/>
                      <a:gd name="connsiteY25" fmla="*/ 246339 h 284155"/>
                      <a:gd name="connsiteX26" fmla="*/ 273748 w 292797"/>
                      <a:gd name="connsiteY26" fmla="*/ 257293 h 284155"/>
                      <a:gd name="connsiteX27" fmla="*/ 283273 w 292797"/>
                      <a:gd name="connsiteY27" fmla="*/ 264437 h 284155"/>
                      <a:gd name="connsiteX28" fmla="*/ 285654 w 292797"/>
                      <a:gd name="connsiteY28" fmla="*/ 264437 h 284155"/>
                      <a:gd name="connsiteX29" fmla="*/ 292512 w 292797"/>
                      <a:gd name="connsiteY29" fmla="*/ 252912 h 284155"/>
                      <a:gd name="connsiteX30" fmla="*/ 262413 w 292797"/>
                      <a:gd name="connsiteY30" fmla="*/ 227575 h 284155"/>
                      <a:gd name="connsiteX31" fmla="*/ 255936 w 292797"/>
                      <a:gd name="connsiteY31" fmla="*/ 227575 h 284155"/>
                      <a:gd name="connsiteX32" fmla="*/ 241363 w 292797"/>
                      <a:gd name="connsiteY32" fmla="*/ 227575 h 284155"/>
                      <a:gd name="connsiteX33" fmla="*/ 270605 w 292797"/>
                      <a:gd name="connsiteY33" fmla="*/ 214716 h 284155"/>
                      <a:gd name="connsiteX34" fmla="*/ 281225 w 292797"/>
                      <a:gd name="connsiteY34" fmla="*/ 206287 h 284155"/>
                      <a:gd name="connsiteX35" fmla="*/ 272796 w 292797"/>
                      <a:gd name="connsiteY35" fmla="*/ 195666 h 284155"/>
                      <a:gd name="connsiteX36" fmla="*/ 224694 w 292797"/>
                      <a:gd name="connsiteY36" fmla="*/ 218145 h 284155"/>
                      <a:gd name="connsiteX37" fmla="*/ 218694 w 292797"/>
                      <a:gd name="connsiteY37" fmla="*/ 191190 h 284155"/>
                      <a:gd name="connsiteX38" fmla="*/ 252031 w 292797"/>
                      <a:gd name="connsiteY38" fmla="*/ 165948 h 284155"/>
                      <a:gd name="connsiteX39" fmla="*/ 249459 w 292797"/>
                      <a:gd name="connsiteY39" fmla="*/ 152804 h 284155"/>
                      <a:gd name="connsiteX40" fmla="*/ 236229 w 292797"/>
                      <a:gd name="connsiteY40" fmla="*/ 155357 h 284155"/>
                      <a:gd name="connsiteX41" fmla="*/ 236220 w 292797"/>
                      <a:gd name="connsiteY41" fmla="*/ 155376 h 284155"/>
                      <a:gd name="connsiteX42" fmla="*/ 207645 w 292797"/>
                      <a:gd name="connsiteY42" fmla="*/ 174426 h 284155"/>
                      <a:gd name="connsiteX43" fmla="*/ 178308 w 292797"/>
                      <a:gd name="connsiteY43" fmla="*/ 164901 h 284155"/>
                      <a:gd name="connsiteX44" fmla="*/ 180022 w 292797"/>
                      <a:gd name="connsiteY44" fmla="*/ 143088 h 284155"/>
                      <a:gd name="connsiteX45" fmla="*/ 169354 w 292797"/>
                      <a:gd name="connsiteY45" fmla="*/ 134706 h 284155"/>
                      <a:gd name="connsiteX46" fmla="*/ 160972 w 292797"/>
                      <a:gd name="connsiteY46" fmla="*/ 145374 h 284155"/>
                      <a:gd name="connsiteX47" fmla="*/ 137445 w 292797"/>
                      <a:gd name="connsiteY47" fmla="*/ 173473 h 284155"/>
                      <a:gd name="connsiteX48" fmla="*/ 30194 w 292797"/>
                      <a:gd name="connsiteY48" fmla="*/ 129277 h 284155"/>
                      <a:gd name="connsiteX49" fmla="*/ 35623 w 292797"/>
                      <a:gd name="connsiteY49" fmla="*/ 141564 h 284155"/>
                      <a:gd name="connsiteX50" fmla="*/ 39052 w 292797"/>
                      <a:gd name="connsiteY50" fmla="*/ 142136 h 284155"/>
                      <a:gd name="connsiteX51" fmla="*/ 48006 w 292797"/>
                      <a:gd name="connsiteY51" fmla="*/ 136040 h 284155"/>
                      <a:gd name="connsiteX52" fmla="*/ 76581 w 292797"/>
                      <a:gd name="connsiteY52" fmla="*/ 61364 h 284155"/>
                      <a:gd name="connsiteX53" fmla="*/ 30480 w 292797"/>
                      <a:gd name="connsiteY53" fmla="*/ 61364 h 284155"/>
                      <a:gd name="connsiteX54" fmla="*/ 54006 w 292797"/>
                      <a:gd name="connsiteY54" fmla="*/ 13739 h 284155"/>
                      <a:gd name="connsiteX55" fmla="*/ 49653 w 292797"/>
                      <a:gd name="connsiteY55" fmla="*/ 994 h 284155"/>
                      <a:gd name="connsiteX56" fmla="*/ 49625 w 292797"/>
                      <a:gd name="connsiteY56" fmla="*/ 975 h 284155"/>
                      <a:gd name="connsiteX57" fmla="*/ 36880 w 292797"/>
                      <a:gd name="connsiteY57" fmla="*/ 5328 h 284155"/>
                      <a:gd name="connsiteX58" fmla="*/ 36861 w 292797"/>
                      <a:gd name="connsiteY58" fmla="*/ 5357 h 284155"/>
                      <a:gd name="connsiteX59" fmla="*/ 0 w 292797"/>
                      <a:gd name="connsiteY59" fmla="*/ 80890 h 284155"/>
                      <a:gd name="connsiteX60" fmla="*/ 48863 w 292797"/>
                      <a:gd name="connsiteY60" fmla="*/ 80890 h 284155"/>
                      <a:gd name="connsiteX61" fmla="*/ 30194 w 292797"/>
                      <a:gd name="connsiteY61"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34290 w 292797"/>
                      <a:gd name="connsiteY5" fmla="*/ 246530 h 284155"/>
                      <a:gd name="connsiteX6" fmla="*/ 30956 w 292797"/>
                      <a:gd name="connsiteY6" fmla="*/ 259579 h 284155"/>
                      <a:gd name="connsiteX7" fmla="*/ 73723 w 292797"/>
                      <a:gd name="connsiteY7" fmla="*/ 260913 h 284155"/>
                      <a:gd name="connsiteX8" fmla="*/ 75628 w 292797"/>
                      <a:gd name="connsiteY8" fmla="*/ 261579 h 284155"/>
                      <a:gd name="connsiteX9" fmla="*/ 94678 w 292797"/>
                      <a:gd name="connsiteY9" fmla="*/ 281296 h 284155"/>
                      <a:gd name="connsiteX10" fmla="*/ 101631 w 292797"/>
                      <a:gd name="connsiteY10" fmla="*/ 284154 h 284155"/>
                      <a:gd name="connsiteX11" fmla="*/ 111118 w 292797"/>
                      <a:gd name="connsiteY11" fmla="*/ 274591 h 284155"/>
                      <a:gd name="connsiteX12" fmla="*/ 108489 w 292797"/>
                      <a:gd name="connsiteY12" fmla="*/ 268056 h 284155"/>
                      <a:gd name="connsiteX13" fmla="*/ 88868 w 292797"/>
                      <a:gd name="connsiteY13" fmla="*/ 247673 h 284155"/>
                      <a:gd name="connsiteX14" fmla="*/ 79343 w 292797"/>
                      <a:gd name="connsiteY14" fmla="*/ 219574 h 284155"/>
                      <a:gd name="connsiteX15" fmla="*/ 103346 w 292797"/>
                      <a:gd name="connsiteY15" fmla="*/ 193761 h 284155"/>
                      <a:gd name="connsiteX16" fmla="*/ 137350 w 292797"/>
                      <a:gd name="connsiteY16" fmla="*/ 227289 h 284155"/>
                      <a:gd name="connsiteX17" fmla="*/ 142208 w 292797"/>
                      <a:gd name="connsiteY17" fmla="*/ 239862 h 284155"/>
                      <a:gd name="connsiteX18" fmla="*/ 154781 w 292797"/>
                      <a:gd name="connsiteY18" fmla="*/ 235005 h 284155"/>
                      <a:gd name="connsiteX19" fmla="*/ 153447 w 292797"/>
                      <a:gd name="connsiteY19" fmla="*/ 192999 h 284155"/>
                      <a:gd name="connsiteX20" fmla="*/ 169545 w 292797"/>
                      <a:gd name="connsiteY20" fmla="*/ 181760 h 284155"/>
                      <a:gd name="connsiteX21" fmla="*/ 199358 w 292797"/>
                      <a:gd name="connsiteY21" fmla="*/ 192999 h 284155"/>
                      <a:gd name="connsiteX22" fmla="*/ 213741 w 292797"/>
                      <a:gd name="connsiteY22" fmla="*/ 234719 h 284155"/>
                      <a:gd name="connsiteX23" fmla="*/ 256413 w 292797"/>
                      <a:gd name="connsiteY23" fmla="*/ 246339 h 284155"/>
                      <a:gd name="connsiteX24" fmla="*/ 262128 w 292797"/>
                      <a:gd name="connsiteY24" fmla="*/ 246339 h 284155"/>
                      <a:gd name="connsiteX25" fmla="*/ 273748 w 292797"/>
                      <a:gd name="connsiteY25" fmla="*/ 257293 h 284155"/>
                      <a:gd name="connsiteX26" fmla="*/ 283273 w 292797"/>
                      <a:gd name="connsiteY26" fmla="*/ 264437 h 284155"/>
                      <a:gd name="connsiteX27" fmla="*/ 285654 w 292797"/>
                      <a:gd name="connsiteY27" fmla="*/ 264437 h 284155"/>
                      <a:gd name="connsiteX28" fmla="*/ 292512 w 292797"/>
                      <a:gd name="connsiteY28" fmla="*/ 252912 h 284155"/>
                      <a:gd name="connsiteX29" fmla="*/ 262413 w 292797"/>
                      <a:gd name="connsiteY29" fmla="*/ 227575 h 284155"/>
                      <a:gd name="connsiteX30" fmla="*/ 255936 w 292797"/>
                      <a:gd name="connsiteY30" fmla="*/ 227575 h 284155"/>
                      <a:gd name="connsiteX31" fmla="*/ 241363 w 292797"/>
                      <a:gd name="connsiteY31" fmla="*/ 227575 h 284155"/>
                      <a:gd name="connsiteX32" fmla="*/ 270605 w 292797"/>
                      <a:gd name="connsiteY32" fmla="*/ 214716 h 284155"/>
                      <a:gd name="connsiteX33" fmla="*/ 281225 w 292797"/>
                      <a:gd name="connsiteY33" fmla="*/ 206287 h 284155"/>
                      <a:gd name="connsiteX34" fmla="*/ 272796 w 292797"/>
                      <a:gd name="connsiteY34" fmla="*/ 195666 h 284155"/>
                      <a:gd name="connsiteX35" fmla="*/ 224694 w 292797"/>
                      <a:gd name="connsiteY35" fmla="*/ 218145 h 284155"/>
                      <a:gd name="connsiteX36" fmla="*/ 218694 w 292797"/>
                      <a:gd name="connsiteY36" fmla="*/ 191190 h 284155"/>
                      <a:gd name="connsiteX37" fmla="*/ 252031 w 292797"/>
                      <a:gd name="connsiteY37" fmla="*/ 165948 h 284155"/>
                      <a:gd name="connsiteX38" fmla="*/ 249459 w 292797"/>
                      <a:gd name="connsiteY38" fmla="*/ 152804 h 284155"/>
                      <a:gd name="connsiteX39" fmla="*/ 236229 w 292797"/>
                      <a:gd name="connsiteY39" fmla="*/ 155357 h 284155"/>
                      <a:gd name="connsiteX40" fmla="*/ 236220 w 292797"/>
                      <a:gd name="connsiteY40" fmla="*/ 155376 h 284155"/>
                      <a:gd name="connsiteX41" fmla="*/ 207645 w 292797"/>
                      <a:gd name="connsiteY41" fmla="*/ 174426 h 284155"/>
                      <a:gd name="connsiteX42" fmla="*/ 178308 w 292797"/>
                      <a:gd name="connsiteY42" fmla="*/ 164901 h 284155"/>
                      <a:gd name="connsiteX43" fmla="*/ 180022 w 292797"/>
                      <a:gd name="connsiteY43" fmla="*/ 143088 h 284155"/>
                      <a:gd name="connsiteX44" fmla="*/ 169354 w 292797"/>
                      <a:gd name="connsiteY44" fmla="*/ 134706 h 284155"/>
                      <a:gd name="connsiteX45" fmla="*/ 160972 w 292797"/>
                      <a:gd name="connsiteY45" fmla="*/ 145374 h 284155"/>
                      <a:gd name="connsiteX46" fmla="*/ 137445 w 292797"/>
                      <a:gd name="connsiteY46" fmla="*/ 173473 h 284155"/>
                      <a:gd name="connsiteX47" fmla="*/ 30194 w 292797"/>
                      <a:gd name="connsiteY47" fmla="*/ 129277 h 284155"/>
                      <a:gd name="connsiteX48" fmla="*/ 35623 w 292797"/>
                      <a:gd name="connsiteY48" fmla="*/ 141564 h 284155"/>
                      <a:gd name="connsiteX49" fmla="*/ 39052 w 292797"/>
                      <a:gd name="connsiteY49" fmla="*/ 142136 h 284155"/>
                      <a:gd name="connsiteX50" fmla="*/ 48006 w 292797"/>
                      <a:gd name="connsiteY50" fmla="*/ 136040 h 284155"/>
                      <a:gd name="connsiteX51" fmla="*/ 76581 w 292797"/>
                      <a:gd name="connsiteY51" fmla="*/ 61364 h 284155"/>
                      <a:gd name="connsiteX52" fmla="*/ 30480 w 292797"/>
                      <a:gd name="connsiteY52" fmla="*/ 61364 h 284155"/>
                      <a:gd name="connsiteX53" fmla="*/ 54006 w 292797"/>
                      <a:gd name="connsiteY53" fmla="*/ 13739 h 284155"/>
                      <a:gd name="connsiteX54" fmla="*/ 49653 w 292797"/>
                      <a:gd name="connsiteY54" fmla="*/ 994 h 284155"/>
                      <a:gd name="connsiteX55" fmla="*/ 49625 w 292797"/>
                      <a:gd name="connsiteY55" fmla="*/ 975 h 284155"/>
                      <a:gd name="connsiteX56" fmla="*/ 36880 w 292797"/>
                      <a:gd name="connsiteY56" fmla="*/ 5328 h 284155"/>
                      <a:gd name="connsiteX57" fmla="*/ 36861 w 292797"/>
                      <a:gd name="connsiteY57" fmla="*/ 5357 h 284155"/>
                      <a:gd name="connsiteX58" fmla="*/ 0 w 292797"/>
                      <a:gd name="connsiteY58" fmla="*/ 80890 h 284155"/>
                      <a:gd name="connsiteX59" fmla="*/ 48863 w 292797"/>
                      <a:gd name="connsiteY59" fmla="*/ 80890 h 284155"/>
                      <a:gd name="connsiteX60" fmla="*/ 30194 w 292797"/>
                      <a:gd name="connsiteY60"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34290 w 292797"/>
                      <a:gd name="connsiteY5" fmla="*/ 246530 h 284155"/>
                      <a:gd name="connsiteX6" fmla="*/ 73723 w 292797"/>
                      <a:gd name="connsiteY6" fmla="*/ 260913 h 284155"/>
                      <a:gd name="connsiteX7" fmla="*/ 75628 w 292797"/>
                      <a:gd name="connsiteY7" fmla="*/ 261579 h 284155"/>
                      <a:gd name="connsiteX8" fmla="*/ 94678 w 292797"/>
                      <a:gd name="connsiteY8" fmla="*/ 281296 h 284155"/>
                      <a:gd name="connsiteX9" fmla="*/ 101631 w 292797"/>
                      <a:gd name="connsiteY9" fmla="*/ 284154 h 284155"/>
                      <a:gd name="connsiteX10" fmla="*/ 111118 w 292797"/>
                      <a:gd name="connsiteY10" fmla="*/ 274591 h 284155"/>
                      <a:gd name="connsiteX11" fmla="*/ 108489 w 292797"/>
                      <a:gd name="connsiteY11" fmla="*/ 268056 h 284155"/>
                      <a:gd name="connsiteX12" fmla="*/ 88868 w 292797"/>
                      <a:gd name="connsiteY12" fmla="*/ 247673 h 284155"/>
                      <a:gd name="connsiteX13" fmla="*/ 79343 w 292797"/>
                      <a:gd name="connsiteY13" fmla="*/ 219574 h 284155"/>
                      <a:gd name="connsiteX14" fmla="*/ 103346 w 292797"/>
                      <a:gd name="connsiteY14" fmla="*/ 193761 h 284155"/>
                      <a:gd name="connsiteX15" fmla="*/ 137350 w 292797"/>
                      <a:gd name="connsiteY15" fmla="*/ 227289 h 284155"/>
                      <a:gd name="connsiteX16" fmla="*/ 142208 w 292797"/>
                      <a:gd name="connsiteY16" fmla="*/ 239862 h 284155"/>
                      <a:gd name="connsiteX17" fmla="*/ 154781 w 292797"/>
                      <a:gd name="connsiteY17" fmla="*/ 235005 h 284155"/>
                      <a:gd name="connsiteX18" fmla="*/ 153447 w 292797"/>
                      <a:gd name="connsiteY18" fmla="*/ 192999 h 284155"/>
                      <a:gd name="connsiteX19" fmla="*/ 169545 w 292797"/>
                      <a:gd name="connsiteY19" fmla="*/ 181760 h 284155"/>
                      <a:gd name="connsiteX20" fmla="*/ 199358 w 292797"/>
                      <a:gd name="connsiteY20" fmla="*/ 192999 h 284155"/>
                      <a:gd name="connsiteX21" fmla="*/ 213741 w 292797"/>
                      <a:gd name="connsiteY21" fmla="*/ 234719 h 284155"/>
                      <a:gd name="connsiteX22" fmla="*/ 256413 w 292797"/>
                      <a:gd name="connsiteY22" fmla="*/ 246339 h 284155"/>
                      <a:gd name="connsiteX23" fmla="*/ 262128 w 292797"/>
                      <a:gd name="connsiteY23" fmla="*/ 246339 h 284155"/>
                      <a:gd name="connsiteX24" fmla="*/ 273748 w 292797"/>
                      <a:gd name="connsiteY24" fmla="*/ 257293 h 284155"/>
                      <a:gd name="connsiteX25" fmla="*/ 283273 w 292797"/>
                      <a:gd name="connsiteY25" fmla="*/ 264437 h 284155"/>
                      <a:gd name="connsiteX26" fmla="*/ 285654 w 292797"/>
                      <a:gd name="connsiteY26" fmla="*/ 264437 h 284155"/>
                      <a:gd name="connsiteX27" fmla="*/ 292512 w 292797"/>
                      <a:gd name="connsiteY27" fmla="*/ 252912 h 284155"/>
                      <a:gd name="connsiteX28" fmla="*/ 262413 w 292797"/>
                      <a:gd name="connsiteY28" fmla="*/ 227575 h 284155"/>
                      <a:gd name="connsiteX29" fmla="*/ 255936 w 292797"/>
                      <a:gd name="connsiteY29" fmla="*/ 227575 h 284155"/>
                      <a:gd name="connsiteX30" fmla="*/ 241363 w 292797"/>
                      <a:gd name="connsiteY30" fmla="*/ 227575 h 284155"/>
                      <a:gd name="connsiteX31" fmla="*/ 270605 w 292797"/>
                      <a:gd name="connsiteY31" fmla="*/ 214716 h 284155"/>
                      <a:gd name="connsiteX32" fmla="*/ 281225 w 292797"/>
                      <a:gd name="connsiteY32" fmla="*/ 206287 h 284155"/>
                      <a:gd name="connsiteX33" fmla="*/ 272796 w 292797"/>
                      <a:gd name="connsiteY33" fmla="*/ 195666 h 284155"/>
                      <a:gd name="connsiteX34" fmla="*/ 224694 w 292797"/>
                      <a:gd name="connsiteY34" fmla="*/ 218145 h 284155"/>
                      <a:gd name="connsiteX35" fmla="*/ 218694 w 292797"/>
                      <a:gd name="connsiteY35" fmla="*/ 191190 h 284155"/>
                      <a:gd name="connsiteX36" fmla="*/ 252031 w 292797"/>
                      <a:gd name="connsiteY36" fmla="*/ 165948 h 284155"/>
                      <a:gd name="connsiteX37" fmla="*/ 249459 w 292797"/>
                      <a:gd name="connsiteY37" fmla="*/ 152804 h 284155"/>
                      <a:gd name="connsiteX38" fmla="*/ 236229 w 292797"/>
                      <a:gd name="connsiteY38" fmla="*/ 155357 h 284155"/>
                      <a:gd name="connsiteX39" fmla="*/ 236220 w 292797"/>
                      <a:gd name="connsiteY39" fmla="*/ 155376 h 284155"/>
                      <a:gd name="connsiteX40" fmla="*/ 207645 w 292797"/>
                      <a:gd name="connsiteY40" fmla="*/ 174426 h 284155"/>
                      <a:gd name="connsiteX41" fmla="*/ 178308 w 292797"/>
                      <a:gd name="connsiteY41" fmla="*/ 164901 h 284155"/>
                      <a:gd name="connsiteX42" fmla="*/ 180022 w 292797"/>
                      <a:gd name="connsiteY42" fmla="*/ 143088 h 284155"/>
                      <a:gd name="connsiteX43" fmla="*/ 169354 w 292797"/>
                      <a:gd name="connsiteY43" fmla="*/ 134706 h 284155"/>
                      <a:gd name="connsiteX44" fmla="*/ 160972 w 292797"/>
                      <a:gd name="connsiteY44" fmla="*/ 145374 h 284155"/>
                      <a:gd name="connsiteX45" fmla="*/ 137445 w 292797"/>
                      <a:gd name="connsiteY45" fmla="*/ 173473 h 284155"/>
                      <a:gd name="connsiteX46" fmla="*/ 30194 w 292797"/>
                      <a:gd name="connsiteY46" fmla="*/ 129277 h 284155"/>
                      <a:gd name="connsiteX47" fmla="*/ 35623 w 292797"/>
                      <a:gd name="connsiteY47" fmla="*/ 141564 h 284155"/>
                      <a:gd name="connsiteX48" fmla="*/ 39052 w 292797"/>
                      <a:gd name="connsiteY48" fmla="*/ 142136 h 284155"/>
                      <a:gd name="connsiteX49" fmla="*/ 48006 w 292797"/>
                      <a:gd name="connsiteY49" fmla="*/ 136040 h 284155"/>
                      <a:gd name="connsiteX50" fmla="*/ 76581 w 292797"/>
                      <a:gd name="connsiteY50" fmla="*/ 61364 h 284155"/>
                      <a:gd name="connsiteX51" fmla="*/ 30480 w 292797"/>
                      <a:gd name="connsiteY51" fmla="*/ 61364 h 284155"/>
                      <a:gd name="connsiteX52" fmla="*/ 54006 w 292797"/>
                      <a:gd name="connsiteY52" fmla="*/ 13739 h 284155"/>
                      <a:gd name="connsiteX53" fmla="*/ 49653 w 292797"/>
                      <a:gd name="connsiteY53" fmla="*/ 994 h 284155"/>
                      <a:gd name="connsiteX54" fmla="*/ 49625 w 292797"/>
                      <a:gd name="connsiteY54" fmla="*/ 975 h 284155"/>
                      <a:gd name="connsiteX55" fmla="*/ 36880 w 292797"/>
                      <a:gd name="connsiteY55" fmla="*/ 5328 h 284155"/>
                      <a:gd name="connsiteX56" fmla="*/ 36861 w 292797"/>
                      <a:gd name="connsiteY56" fmla="*/ 5357 h 284155"/>
                      <a:gd name="connsiteX57" fmla="*/ 0 w 292797"/>
                      <a:gd name="connsiteY57" fmla="*/ 80890 h 284155"/>
                      <a:gd name="connsiteX58" fmla="*/ 48863 w 292797"/>
                      <a:gd name="connsiteY58" fmla="*/ 80890 h 284155"/>
                      <a:gd name="connsiteX59" fmla="*/ 30194 w 292797"/>
                      <a:gd name="connsiteY59"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73723 w 292797"/>
                      <a:gd name="connsiteY5" fmla="*/ 260913 h 284155"/>
                      <a:gd name="connsiteX6" fmla="*/ 75628 w 292797"/>
                      <a:gd name="connsiteY6" fmla="*/ 261579 h 284155"/>
                      <a:gd name="connsiteX7" fmla="*/ 94678 w 292797"/>
                      <a:gd name="connsiteY7" fmla="*/ 281296 h 284155"/>
                      <a:gd name="connsiteX8" fmla="*/ 101631 w 292797"/>
                      <a:gd name="connsiteY8" fmla="*/ 284154 h 284155"/>
                      <a:gd name="connsiteX9" fmla="*/ 111118 w 292797"/>
                      <a:gd name="connsiteY9" fmla="*/ 274591 h 284155"/>
                      <a:gd name="connsiteX10" fmla="*/ 108489 w 292797"/>
                      <a:gd name="connsiteY10" fmla="*/ 268056 h 284155"/>
                      <a:gd name="connsiteX11" fmla="*/ 88868 w 292797"/>
                      <a:gd name="connsiteY11" fmla="*/ 247673 h 284155"/>
                      <a:gd name="connsiteX12" fmla="*/ 79343 w 292797"/>
                      <a:gd name="connsiteY12" fmla="*/ 219574 h 284155"/>
                      <a:gd name="connsiteX13" fmla="*/ 103346 w 292797"/>
                      <a:gd name="connsiteY13" fmla="*/ 193761 h 284155"/>
                      <a:gd name="connsiteX14" fmla="*/ 137350 w 292797"/>
                      <a:gd name="connsiteY14" fmla="*/ 227289 h 284155"/>
                      <a:gd name="connsiteX15" fmla="*/ 142208 w 292797"/>
                      <a:gd name="connsiteY15" fmla="*/ 239862 h 284155"/>
                      <a:gd name="connsiteX16" fmla="*/ 154781 w 292797"/>
                      <a:gd name="connsiteY16" fmla="*/ 235005 h 284155"/>
                      <a:gd name="connsiteX17" fmla="*/ 153447 w 292797"/>
                      <a:gd name="connsiteY17" fmla="*/ 192999 h 284155"/>
                      <a:gd name="connsiteX18" fmla="*/ 169545 w 292797"/>
                      <a:gd name="connsiteY18" fmla="*/ 181760 h 284155"/>
                      <a:gd name="connsiteX19" fmla="*/ 199358 w 292797"/>
                      <a:gd name="connsiteY19" fmla="*/ 192999 h 284155"/>
                      <a:gd name="connsiteX20" fmla="*/ 213741 w 292797"/>
                      <a:gd name="connsiteY20" fmla="*/ 234719 h 284155"/>
                      <a:gd name="connsiteX21" fmla="*/ 256413 w 292797"/>
                      <a:gd name="connsiteY21" fmla="*/ 246339 h 284155"/>
                      <a:gd name="connsiteX22" fmla="*/ 262128 w 292797"/>
                      <a:gd name="connsiteY22" fmla="*/ 246339 h 284155"/>
                      <a:gd name="connsiteX23" fmla="*/ 273748 w 292797"/>
                      <a:gd name="connsiteY23" fmla="*/ 257293 h 284155"/>
                      <a:gd name="connsiteX24" fmla="*/ 283273 w 292797"/>
                      <a:gd name="connsiteY24" fmla="*/ 264437 h 284155"/>
                      <a:gd name="connsiteX25" fmla="*/ 285654 w 292797"/>
                      <a:gd name="connsiteY25" fmla="*/ 264437 h 284155"/>
                      <a:gd name="connsiteX26" fmla="*/ 292512 w 292797"/>
                      <a:gd name="connsiteY26" fmla="*/ 252912 h 284155"/>
                      <a:gd name="connsiteX27" fmla="*/ 262413 w 292797"/>
                      <a:gd name="connsiteY27" fmla="*/ 227575 h 284155"/>
                      <a:gd name="connsiteX28" fmla="*/ 255936 w 292797"/>
                      <a:gd name="connsiteY28" fmla="*/ 227575 h 284155"/>
                      <a:gd name="connsiteX29" fmla="*/ 241363 w 292797"/>
                      <a:gd name="connsiteY29" fmla="*/ 227575 h 284155"/>
                      <a:gd name="connsiteX30" fmla="*/ 270605 w 292797"/>
                      <a:gd name="connsiteY30" fmla="*/ 214716 h 284155"/>
                      <a:gd name="connsiteX31" fmla="*/ 281225 w 292797"/>
                      <a:gd name="connsiteY31" fmla="*/ 206287 h 284155"/>
                      <a:gd name="connsiteX32" fmla="*/ 272796 w 292797"/>
                      <a:gd name="connsiteY32" fmla="*/ 195666 h 284155"/>
                      <a:gd name="connsiteX33" fmla="*/ 224694 w 292797"/>
                      <a:gd name="connsiteY33" fmla="*/ 218145 h 284155"/>
                      <a:gd name="connsiteX34" fmla="*/ 218694 w 292797"/>
                      <a:gd name="connsiteY34" fmla="*/ 191190 h 284155"/>
                      <a:gd name="connsiteX35" fmla="*/ 252031 w 292797"/>
                      <a:gd name="connsiteY35" fmla="*/ 165948 h 284155"/>
                      <a:gd name="connsiteX36" fmla="*/ 249459 w 292797"/>
                      <a:gd name="connsiteY36" fmla="*/ 152804 h 284155"/>
                      <a:gd name="connsiteX37" fmla="*/ 236229 w 292797"/>
                      <a:gd name="connsiteY37" fmla="*/ 155357 h 284155"/>
                      <a:gd name="connsiteX38" fmla="*/ 236220 w 292797"/>
                      <a:gd name="connsiteY38" fmla="*/ 155376 h 284155"/>
                      <a:gd name="connsiteX39" fmla="*/ 207645 w 292797"/>
                      <a:gd name="connsiteY39" fmla="*/ 174426 h 284155"/>
                      <a:gd name="connsiteX40" fmla="*/ 178308 w 292797"/>
                      <a:gd name="connsiteY40" fmla="*/ 164901 h 284155"/>
                      <a:gd name="connsiteX41" fmla="*/ 180022 w 292797"/>
                      <a:gd name="connsiteY41" fmla="*/ 143088 h 284155"/>
                      <a:gd name="connsiteX42" fmla="*/ 169354 w 292797"/>
                      <a:gd name="connsiteY42" fmla="*/ 134706 h 284155"/>
                      <a:gd name="connsiteX43" fmla="*/ 160972 w 292797"/>
                      <a:gd name="connsiteY43" fmla="*/ 145374 h 284155"/>
                      <a:gd name="connsiteX44" fmla="*/ 137445 w 292797"/>
                      <a:gd name="connsiteY44" fmla="*/ 173473 h 284155"/>
                      <a:gd name="connsiteX45" fmla="*/ 30194 w 292797"/>
                      <a:gd name="connsiteY45" fmla="*/ 129277 h 284155"/>
                      <a:gd name="connsiteX46" fmla="*/ 35623 w 292797"/>
                      <a:gd name="connsiteY46" fmla="*/ 141564 h 284155"/>
                      <a:gd name="connsiteX47" fmla="*/ 39052 w 292797"/>
                      <a:gd name="connsiteY47" fmla="*/ 142136 h 284155"/>
                      <a:gd name="connsiteX48" fmla="*/ 48006 w 292797"/>
                      <a:gd name="connsiteY48" fmla="*/ 136040 h 284155"/>
                      <a:gd name="connsiteX49" fmla="*/ 76581 w 292797"/>
                      <a:gd name="connsiteY49" fmla="*/ 61364 h 284155"/>
                      <a:gd name="connsiteX50" fmla="*/ 30480 w 292797"/>
                      <a:gd name="connsiteY50" fmla="*/ 61364 h 284155"/>
                      <a:gd name="connsiteX51" fmla="*/ 54006 w 292797"/>
                      <a:gd name="connsiteY51" fmla="*/ 13739 h 284155"/>
                      <a:gd name="connsiteX52" fmla="*/ 49653 w 292797"/>
                      <a:gd name="connsiteY52" fmla="*/ 994 h 284155"/>
                      <a:gd name="connsiteX53" fmla="*/ 49625 w 292797"/>
                      <a:gd name="connsiteY53" fmla="*/ 975 h 284155"/>
                      <a:gd name="connsiteX54" fmla="*/ 36880 w 292797"/>
                      <a:gd name="connsiteY54" fmla="*/ 5328 h 284155"/>
                      <a:gd name="connsiteX55" fmla="*/ 36861 w 292797"/>
                      <a:gd name="connsiteY55" fmla="*/ 5357 h 284155"/>
                      <a:gd name="connsiteX56" fmla="*/ 0 w 292797"/>
                      <a:gd name="connsiteY56" fmla="*/ 80890 h 284155"/>
                      <a:gd name="connsiteX57" fmla="*/ 48863 w 292797"/>
                      <a:gd name="connsiteY57" fmla="*/ 80890 h 284155"/>
                      <a:gd name="connsiteX58" fmla="*/ 30194 w 292797"/>
                      <a:gd name="connsiteY58"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73723 w 292797"/>
                      <a:gd name="connsiteY5" fmla="*/ 260913 h 284155"/>
                      <a:gd name="connsiteX6" fmla="*/ 94678 w 292797"/>
                      <a:gd name="connsiteY6" fmla="*/ 281296 h 284155"/>
                      <a:gd name="connsiteX7" fmla="*/ 101631 w 292797"/>
                      <a:gd name="connsiteY7" fmla="*/ 284154 h 284155"/>
                      <a:gd name="connsiteX8" fmla="*/ 111118 w 292797"/>
                      <a:gd name="connsiteY8" fmla="*/ 274591 h 284155"/>
                      <a:gd name="connsiteX9" fmla="*/ 108489 w 292797"/>
                      <a:gd name="connsiteY9" fmla="*/ 268056 h 284155"/>
                      <a:gd name="connsiteX10" fmla="*/ 88868 w 292797"/>
                      <a:gd name="connsiteY10" fmla="*/ 247673 h 284155"/>
                      <a:gd name="connsiteX11" fmla="*/ 79343 w 292797"/>
                      <a:gd name="connsiteY11" fmla="*/ 219574 h 284155"/>
                      <a:gd name="connsiteX12" fmla="*/ 103346 w 292797"/>
                      <a:gd name="connsiteY12" fmla="*/ 193761 h 284155"/>
                      <a:gd name="connsiteX13" fmla="*/ 137350 w 292797"/>
                      <a:gd name="connsiteY13" fmla="*/ 227289 h 284155"/>
                      <a:gd name="connsiteX14" fmla="*/ 142208 w 292797"/>
                      <a:gd name="connsiteY14" fmla="*/ 239862 h 284155"/>
                      <a:gd name="connsiteX15" fmla="*/ 154781 w 292797"/>
                      <a:gd name="connsiteY15" fmla="*/ 235005 h 284155"/>
                      <a:gd name="connsiteX16" fmla="*/ 153447 w 292797"/>
                      <a:gd name="connsiteY16" fmla="*/ 192999 h 284155"/>
                      <a:gd name="connsiteX17" fmla="*/ 169545 w 292797"/>
                      <a:gd name="connsiteY17" fmla="*/ 181760 h 284155"/>
                      <a:gd name="connsiteX18" fmla="*/ 199358 w 292797"/>
                      <a:gd name="connsiteY18" fmla="*/ 192999 h 284155"/>
                      <a:gd name="connsiteX19" fmla="*/ 213741 w 292797"/>
                      <a:gd name="connsiteY19" fmla="*/ 234719 h 284155"/>
                      <a:gd name="connsiteX20" fmla="*/ 256413 w 292797"/>
                      <a:gd name="connsiteY20" fmla="*/ 246339 h 284155"/>
                      <a:gd name="connsiteX21" fmla="*/ 262128 w 292797"/>
                      <a:gd name="connsiteY21" fmla="*/ 246339 h 284155"/>
                      <a:gd name="connsiteX22" fmla="*/ 273748 w 292797"/>
                      <a:gd name="connsiteY22" fmla="*/ 257293 h 284155"/>
                      <a:gd name="connsiteX23" fmla="*/ 283273 w 292797"/>
                      <a:gd name="connsiteY23" fmla="*/ 264437 h 284155"/>
                      <a:gd name="connsiteX24" fmla="*/ 285654 w 292797"/>
                      <a:gd name="connsiteY24" fmla="*/ 264437 h 284155"/>
                      <a:gd name="connsiteX25" fmla="*/ 292512 w 292797"/>
                      <a:gd name="connsiteY25" fmla="*/ 252912 h 284155"/>
                      <a:gd name="connsiteX26" fmla="*/ 262413 w 292797"/>
                      <a:gd name="connsiteY26" fmla="*/ 227575 h 284155"/>
                      <a:gd name="connsiteX27" fmla="*/ 255936 w 292797"/>
                      <a:gd name="connsiteY27" fmla="*/ 227575 h 284155"/>
                      <a:gd name="connsiteX28" fmla="*/ 241363 w 292797"/>
                      <a:gd name="connsiteY28" fmla="*/ 227575 h 284155"/>
                      <a:gd name="connsiteX29" fmla="*/ 270605 w 292797"/>
                      <a:gd name="connsiteY29" fmla="*/ 214716 h 284155"/>
                      <a:gd name="connsiteX30" fmla="*/ 281225 w 292797"/>
                      <a:gd name="connsiteY30" fmla="*/ 206287 h 284155"/>
                      <a:gd name="connsiteX31" fmla="*/ 272796 w 292797"/>
                      <a:gd name="connsiteY31" fmla="*/ 195666 h 284155"/>
                      <a:gd name="connsiteX32" fmla="*/ 224694 w 292797"/>
                      <a:gd name="connsiteY32" fmla="*/ 218145 h 284155"/>
                      <a:gd name="connsiteX33" fmla="*/ 218694 w 292797"/>
                      <a:gd name="connsiteY33" fmla="*/ 191190 h 284155"/>
                      <a:gd name="connsiteX34" fmla="*/ 252031 w 292797"/>
                      <a:gd name="connsiteY34" fmla="*/ 165948 h 284155"/>
                      <a:gd name="connsiteX35" fmla="*/ 249459 w 292797"/>
                      <a:gd name="connsiteY35" fmla="*/ 152804 h 284155"/>
                      <a:gd name="connsiteX36" fmla="*/ 236229 w 292797"/>
                      <a:gd name="connsiteY36" fmla="*/ 155357 h 284155"/>
                      <a:gd name="connsiteX37" fmla="*/ 236220 w 292797"/>
                      <a:gd name="connsiteY37" fmla="*/ 155376 h 284155"/>
                      <a:gd name="connsiteX38" fmla="*/ 207645 w 292797"/>
                      <a:gd name="connsiteY38" fmla="*/ 174426 h 284155"/>
                      <a:gd name="connsiteX39" fmla="*/ 178308 w 292797"/>
                      <a:gd name="connsiteY39" fmla="*/ 164901 h 284155"/>
                      <a:gd name="connsiteX40" fmla="*/ 180022 w 292797"/>
                      <a:gd name="connsiteY40" fmla="*/ 143088 h 284155"/>
                      <a:gd name="connsiteX41" fmla="*/ 169354 w 292797"/>
                      <a:gd name="connsiteY41" fmla="*/ 134706 h 284155"/>
                      <a:gd name="connsiteX42" fmla="*/ 160972 w 292797"/>
                      <a:gd name="connsiteY42" fmla="*/ 145374 h 284155"/>
                      <a:gd name="connsiteX43" fmla="*/ 137445 w 292797"/>
                      <a:gd name="connsiteY43" fmla="*/ 173473 h 284155"/>
                      <a:gd name="connsiteX44" fmla="*/ 30194 w 292797"/>
                      <a:gd name="connsiteY44" fmla="*/ 129277 h 284155"/>
                      <a:gd name="connsiteX45" fmla="*/ 35623 w 292797"/>
                      <a:gd name="connsiteY45" fmla="*/ 141564 h 284155"/>
                      <a:gd name="connsiteX46" fmla="*/ 39052 w 292797"/>
                      <a:gd name="connsiteY46" fmla="*/ 142136 h 284155"/>
                      <a:gd name="connsiteX47" fmla="*/ 48006 w 292797"/>
                      <a:gd name="connsiteY47" fmla="*/ 136040 h 284155"/>
                      <a:gd name="connsiteX48" fmla="*/ 76581 w 292797"/>
                      <a:gd name="connsiteY48" fmla="*/ 61364 h 284155"/>
                      <a:gd name="connsiteX49" fmla="*/ 30480 w 292797"/>
                      <a:gd name="connsiteY49" fmla="*/ 61364 h 284155"/>
                      <a:gd name="connsiteX50" fmla="*/ 54006 w 292797"/>
                      <a:gd name="connsiteY50" fmla="*/ 13739 h 284155"/>
                      <a:gd name="connsiteX51" fmla="*/ 49653 w 292797"/>
                      <a:gd name="connsiteY51" fmla="*/ 994 h 284155"/>
                      <a:gd name="connsiteX52" fmla="*/ 49625 w 292797"/>
                      <a:gd name="connsiteY52" fmla="*/ 975 h 284155"/>
                      <a:gd name="connsiteX53" fmla="*/ 36880 w 292797"/>
                      <a:gd name="connsiteY53" fmla="*/ 5328 h 284155"/>
                      <a:gd name="connsiteX54" fmla="*/ 36861 w 292797"/>
                      <a:gd name="connsiteY54" fmla="*/ 5357 h 284155"/>
                      <a:gd name="connsiteX55" fmla="*/ 0 w 292797"/>
                      <a:gd name="connsiteY55" fmla="*/ 80890 h 284155"/>
                      <a:gd name="connsiteX56" fmla="*/ 48863 w 292797"/>
                      <a:gd name="connsiteY56" fmla="*/ 80890 h 284155"/>
                      <a:gd name="connsiteX57" fmla="*/ 30194 w 292797"/>
                      <a:gd name="connsiteY57"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73723 w 292797"/>
                      <a:gd name="connsiteY5" fmla="*/ 260913 h 284155"/>
                      <a:gd name="connsiteX6" fmla="*/ 94678 w 292797"/>
                      <a:gd name="connsiteY6" fmla="*/ 281296 h 284155"/>
                      <a:gd name="connsiteX7" fmla="*/ 101631 w 292797"/>
                      <a:gd name="connsiteY7" fmla="*/ 284154 h 284155"/>
                      <a:gd name="connsiteX8" fmla="*/ 111118 w 292797"/>
                      <a:gd name="connsiteY8" fmla="*/ 274591 h 284155"/>
                      <a:gd name="connsiteX9" fmla="*/ 108489 w 292797"/>
                      <a:gd name="connsiteY9" fmla="*/ 268056 h 284155"/>
                      <a:gd name="connsiteX10" fmla="*/ 79343 w 292797"/>
                      <a:gd name="connsiteY10" fmla="*/ 219574 h 284155"/>
                      <a:gd name="connsiteX11" fmla="*/ 103346 w 292797"/>
                      <a:gd name="connsiteY11" fmla="*/ 193761 h 284155"/>
                      <a:gd name="connsiteX12" fmla="*/ 137350 w 292797"/>
                      <a:gd name="connsiteY12" fmla="*/ 227289 h 284155"/>
                      <a:gd name="connsiteX13" fmla="*/ 142208 w 292797"/>
                      <a:gd name="connsiteY13" fmla="*/ 239862 h 284155"/>
                      <a:gd name="connsiteX14" fmla="*/ 154781 w 292797"/>
                      <a:gd name="connsiteY14" fmla="*/ 235005 h 284155"/>
                      <a:gd name="connsiteX15" fmla="*/ 153447 w 292797"/>
                      <a:gd name="connsiteY15" fmla="*/ 192999 h 284155"/>
                      <a:gd name="connsiteX16" fmla="*/ 169545 w 292797"/>
                      <a:gd name="connsiteY16" fmla="*/ 181760 h 284155"/>
                      <a:gd name="connsiteX17" fmla="*/ 199358 w 292797"/>
                      <a:gd name="connsiteY17" fmla="*/ 192999 h 284155"/>
                      <a:gd name="connsiteX18" fmla="*/ 213741 w 292797"/>
                      <a:gd name="connsiteY18" fmla="*/ 234719 h 284155"/>
                      <a:gd name="connsiteX19" fmla="*/ 256413 w 292797"/>
                      <a:gd name="connsiteY19" fmla="*/ 246339 h 284155"/>
                      <a:gd name="connsiteX20" fmla="*/ 262128 w 292797"/>
                      <a:gd name="connsiteY20" fmla="*/ 246339 h 284155"/>
                      <a:gd name="connsiteX21" fmla="*/ 273748 w 292797"/>
                      <a:gd name="connsiteY21" fmla="*/ 257293 h 284155"/>
                      <a:gd name="connsiteX22" fmla="*/ 283273 w 292797"/>
                      <a:gd name="connsiteY22" fmla="*/ 264437 h 284155"/>
                      <a:gd name="connsiteX23" fmla="*/ 285654 w 292797"/>
                      <a:gd name="connsiteY23" fmla="*/ 264437 h 284155"/>
                      <a:gd name="connsiteX24" fmla="*/ 292512 w 292797"/>
                      <a:gd name="connsiteY24" fmla="*/ 252912 h 284155"/>
                      <a:gd name="connsiteX25" fmla="*/ 262413 w 292797"/>
                      <a:gd name="connsiteY25" fmla="*/ 227575 h 284155"/>
                      <a:gd name="connsiteX26" fmla="*/ 255936 w 292797"/>
                      <a:gd name="connsiteY26" fmla="*/ 227575 h 284155"/>
                      <a:gd name="connsiteX27" fmla="*/ 241363 w 292797"/>
                      <a:gd name="connsiteY27" fmla="*/ 227575 h 284155"/>
                      <a:gd name="connsiteX28" fmla="*/ 270605 w 292797"/>
                      <a:gd name="connsiteY28" fmla="*/ 214716 h 284155"/>
                      <a:gd name="connsiteX29" fmla="*/ 281225 w 292797"/>
                      <a:gd name="connsiteY29" fmla="*/ 206287 h 284155"/>
                      <a:gd name="connsiteX30" fmla="*/ 272796 w 292797"/>
                      <a:gd name="connsiteY30" fmla="*/ 195666 h 284155"/>
                      <a:gd name="connsiteX31" fmla="*/ 224694 w 292797"/>
                      <a:gd name="connsiteY31" fmla="*/ 218145 h 284155"/>
                      <a:gd name="connsiteX32" fmla="*/ 218694 w 292797"/>
                      <a:gd name="connsiteY32" fmla="*/ 191190 h 284155"/>
                      <a:gd name="connsiteX33" fmla="*/ 252031 w 292797"/>
                      <a:gd name="connsiteY33" fmla="*/ 165948 h 284155"/>
                      <a:gd name="connsiteX34" fmla="*/ 249459 w 292797"/>
                      <a:gd name="connsiteY34" fmla="*/ 152804 h 284155"/>
                      <a:gd name="connsiteX35" fmla="*/ 236229 w 292797"/>
                      <a:gd name="connsiteY35" fmla="*/ 155357 h 284155"/>
                      <a:gd name="connsiteX36" fmla="*/ 236220 w 292797"/>
                      <a:gd name="connsiteY36" fmla="*/ 155376 h 284155"/>
                      <a:gd name="connsiteX37" fmla="*/ 207645 w 292797"/>
                      <a:gd name="connsiteY37" fmla="*/ 174426 h 284155"/>
                      <a:gd name="connsiteX38" fmla="*/ 178308 w 292797"/>
                      <a:gd name="connsiteY38" fmla="*/ 164901 h 284155"/>
                      <a:gd name="connsiteX39" fmla="*/ 180022 w 292797"/>
                      <a:gd name="connsiteY39" fmla="*/ 143088 h 284155"/>
                      <a:gd name="connsiteX40" fmla="*/ 169354 w 292797"/>
                      <a:gd name="connsiteY40" fmla="*/ 134706 h 284155"/>
                      <a:gd name="connsiteX41" fmla="*/ 160972 w 292797"/>
                      <a:gd name="connsiteY41" fmla="*/ 145374 h 284155"/>
                      <a:gd name="connsiteX42" fmla="*/ 137445 w 292797"/>
                      <a:gd name="connsiteY42" fmla="*/ 173473 h 284155"/>
                      <a:gd name="connsiteX43" fmla="*/ 30194 w 292797"/>
                      <a:gd name="connsiteY43" fmla="*/ 129277 h 284155"/>
                      <a:gd name="connsiteX44" fmla="*/ 35623 w 292797"/>
                      <a:gd name="connsiteY44" fmla="*/ 141564 h 284155"/>
                      <a:gd name="connsiteX45" fmla="*/ 39052 w 292797"/>
                      <a:gd name="connsiteY45" fmla="*/ 142136 h 284155"/>
                      <a:gd name="connsiteX46" fmla="*/ 48006 w 292797"/>
                      <a:gd name="connsiteY46" fmla="*/ 136040 h 284155"/>
                      <a:gd name="connsiteX47" fmla="*/ 76581 w 292797"/>
                      <a:gd name="connsiteY47" fmla="*/ 61364 h 284155"/>
                      <a:gd name="connsiteX48" fmla="*/ 30480 w 292797"/>
                      <a:gd name="connsiteY48" fmla="*/ 61364 h 284155"/>
                      <a:gd name="connsiteX49" fmla="*/ 54006 w 292797"/>
                      <a:gd name="connsiteY49" fmla="*/ 13739 h 284155"/>
                      <a:gd name="connsiteX50" fmla="*/ 49653 w 292797"/>
                      <a:gd name="connsiteY50" fmla="*/ 994 h 284155"/>
                      <a:gd name="connsiteX51" fmla="*/ 49625 w 292797"/>
                      <a:gd name="connsiteY51" fmla="*/ 975 h 284155"/>
                      <a:gd name="connsiteX52" fmla="*/ 36880 w 292797"/>
                      <a:gd name="connsiteY52" fmla="*/ 5328 h 284155"/>
                      <a:gd name="connsiteX53" fmla="*/ 36861 w 292797"/>
                      <a:gd name="connsiteY53" fmla="*/ 5357 h 284155"/>
                      <a:gd name="connsiteX54" fmla="*/ 0 w 292797"/>
                      <a:gd name="connsiteY54" fmla="*/ 80890 h 284155"/>
                      <a:gd name="connsiteX55" fmla="*/ 48863 w 292797"/>
                      <a:gd name="connsiteY55" fmla="*/ 80890 h 284155"/>
                      <a:gd name="connsiteX56" fmla="*/ 30194 w 292797"/>
                      <a:gd name="connsiteY56" fmla="*/ 129277 h 284155"/>
                      <a:gd name="connsiteX0" fmla="*/ 137445 w 292797"/>
                      <a:gd name="connsiteY0" fmla="*/ 173473 h 284155"/>
                      <a:gd name="connsiteX1" fmla="*/ 69056 w 292797"/>
                      <a:gd name="connsiteY1" fmla="*/ 194333 h 284155"/>
                      <a:gd name="connsiteX2" fmla="*/ 60769 w 292797"/>
                      <a:gd name="connsiteY2" fmla="*/ 212716 h 284155"/>
                      <a:gd name="connsiteX3" fmla="*/ 60007 w 292797"/>
                      <a:gd name="connsiteY3" fmla="*/ 218812 h 284155"/>
                      <a:gd name="connsiteX4" fmla="*/ 62865 w 292797"/>
                      <a:gd name="connsiteY4" fmla="*/ 239100 h 284155"/>
                      <a:gd name="connsiteX5" fmla="*/ 73723 w 292797"/>
                      <a:gd name="connsiteY5" fmla="*/ 260913 h 284155"/>
                      <a:gd name="connsiteX6" fmla="*/ 94678 w 292797"/>
                      <a:gd name="connsiteY6" fmla="*/ 281296 h 284155"/>
                      <a:gd name="connsiteX7" fmla="*/ 101631 w 292797"/>
                      <a:gd name="connsiteY7" fmla="*/ 284154 h 284155"/>
                      <a:gd name="connsiteX8" fmla="*/ 111118 w 292797"/>
                      <a:gd name="connsiteY8" fmla="*/ 274591 h 284155"/>
                      <a:gd name="connsiteX9" fmla="*/ 79343 w 292797"/>
                      <a:gd name="connsiteY9" fmla="*/ 219574 h 284155"/>
                      <a:gd name="connsiteX10" fmla="*/ 103346 w 292797"/>
                      <a:gd name="connsiteY10" fmla="*/ 193761 h 284155"/>
                      <a:gd name="connsiteX11" fmla="*/ 137350 w 292797"/>
                      <a:gd name="connsiteY11" fmla="*/ 227289 h 284155"/>
                      <a:gd name="connsiteX12" fmla="*/ 142208 w 292797"/>
                      <a:gd name="connsiteY12" fmla="*/ 239862 h 284155"/>
                      <a:gd name="connsiteX13" fmla="*/ 154781 w 292797"/>
                      <a:gd name="connsiteY13" fmla="*/ 235005 h 284155"/>
                      <a:gd name="connsiteX14" fmla="*/ 153447 w 292797"/>
                      <a:gd name="connsiteY14" fmla="*/ 192999 h 284155"/>
                      <a:gd name="connsiteX15" fmla="*/ 169545 w 292797"/>
                      <a:gd name="connsiteY15" fmla="*/ 181760 h 284155"/>
                      <a:gd name="connsiteX16" fmla="*/ 199358 w 292797"/>
                      <a:gd name="connsiteY16" fmla="*/ 192999 h 284155"/>
                      <a:gd name="connsiteX17" fmla="*/ 213741 w 292797"/>
                      <a:gd name="connsiteY17" fmla="*/ 234719 h 284155"/>
                      <a:gd name="connsiteX18" fmla="*/ 256413 w 292797"/>
                      <a:gd name="connsiteY18" fmla="*/ 246339 h 284155"/>
                      <a:gd name="connsiteX19" fmla="*/ 262128 w 292797"/>
                      <a:gd name="connsiteY19" fmla="*/ 246339 h 284155"/>
                      <a:gd name="connsiteX20" fmla="*/ 273748 w 292797"/>
                      <a:gd name="connsiteY20" fmla="*/ 257293 h 284155"/>
                      <a:gd name="connsiteX21" fmla="*/ 283273 w 292797"/>
                      <a:gd name="connsiteY21" fmla="*/ 264437 h 284155"/>
                      <a:gd name="connsiteX22" fmla="*/ 285654 w 292797"/>
                      <a:gd name="connsiteY22" fmla="*/ 264437 h 284155"/>
                      <a:gd name="connsiteX23" fmla="*/ 292512 w 292797"/>
                      <a:gd name="connsiteY23" fmla="*/ 252912 h 284155"/>
                      <a:gd name="connsiteX24" fmla="*/ 262413 w 292797"/>
                      <a:gd name="connsiteY24" fmla="*/ 227575 h 284155"/>
                      <a:gd name="connsiteX25" fmla="*/ 255936 w 292797"/>
                      <a:gd name="connsiteY25" fmla="*/ 227575 h 284155"/>
                      <a:gd name="connsiteX26" fmla="*/ 241363 w 292797"/>
                      <a:gd name="connsiteY26" fmla="*/ 227575 h 284155"/>
                      <a:gd name="connsiteX27" fmla="*/ 270605 w 292797"/>
                      <a:gd name="connsiteY27" fmla="*/ 214716 h 284155"/>
                      <a:gd name="connsiteX28" fmla="*/ 281225 w 292797"/>
                      <a:gd name="connsiteY28" fmla="*/ 206287 h 284155"/>
                      <a:gd name="connsiteX29" fmla="*/ 272796 w 292797"/>
                      <a:gd name="connsiteY29" fmla="*/ 195666 h 284155"/>
                      <a:gd name="connsiteX30" fmla="*/ 224694 w 292797"/>
                      <a:gd name="connsiteY30" fmla="*/ 218145 h 284155"/>
                      <a:gd name="connsiteX31" fmla="*/ 218694 w 292797"/>
                      <a:gd name="connsiteY31" fmla="*/ 191190 h 284155"/>
                      <a:gd name="connsiteX32" fmla="*/ 252031 w 292797"/>
                      <a:gd name="connsiteY32" fmla="*/ 165948 h 284155"/>
                      <a:gd name="connsiteX33" fmla="*/ 249459 w 292797"/>
                      <a:gd name="connsiteY33" fmla="*/ 152804 h 284155"/>
                      <a:gd name="connsiteX34" fmla="*/ 236229 w 292797"/>
                      <a:gd name="connsiteY34" fmla="*/ 155357 h 284155"/>
                      <a:gd name="connsiteX35" fmla="*/ 236220 w 292797"/>
                      <a:gd name="connsiteY35" fmla="*/ 155376 h 284155"/>
                      <a:gd name="connsiteX36" fmla="*/ 207645 w 292797"/>
                      <a:gd name="connsiteY36" fmla="*/ 174426 h 284155"/>
                      <a:gd name="connsiteX37" fmla="*/ 178308 w 292797"/>
                      <a:gd name="connsiteY37" fmla="*/ 164901 h 284155"/>
                      <a:gd name="connsiteX38" fmla="*/ 180022 w 292797"/>
                      <a:gd name="connsiteY38" fmla="*/ 143088 h 284155"/>
                      <a:gd name="connsiteX39" fmla="*/ 169354 w 292797"/>
                      <a:gd name="connsiteY39" fmla="*/ 134706 h 284155"/>
                      <a:gd name="connsiteX40" fmla="*/ 160972 w 292797"/>
                      <a:gd name="connsiteY40" fmla="*/ 145374 h 284155"/>
                      <a:gd name="connsiteX41" fmla="*/ 137445 w 292797"/>
                      <a:gd name="connsiteY41" fmla="*/ 173473 h 284155"/>
                      <a:gd name="connsiteX42" fmla="*/ 30194 w 292797"/>
                      <a:gd name="connsiteY42" fmla="*/ 129277 h 284155"/>
                      <a:gd name="connsiteX43" fmla="*/ 35623 w 292797"/>
                      <a:gd name="connsiteY43" fmla="*/ 141564 h 284155"/>
                      <a:gd name="connsiteX44" fmla="*/ 39052 w 292797"/>
                      <a:gd name="connsiteY44" fmla="*/ 142136 h 284155"/>
                      <a:gd name="connsiteX45" fmla="*/ 48006 w 292797"/>
                      <a:gd name="connsiteY45" fmla="*/ 136040 h 284155"/>
                      <a:gd name="connsiteX46" fmla="*/ 76581 w 292797"/>
                      <a:gd name="connsiteY46" fmla="*/ 61364 h 284155"/>
                      <a:gd name="connsiteX47" fmla="*/ 30480 w 292797"/>
                      <a:gd name="connsiteY47" fmla="*/ 61364 h 284155"/>
                      <a:gd name="connsiteX48" fmla="*/ 54006 w 292797"/>
                      <a:gd name="connsiteY48" fmla="*/ 13739 h 284155"/>
                      <a:gd name="connsiteX49" fmla="*/ 49653 w 292797"/>
                      <a:gd name="connsiteY49" fmla="*/ 994 h 284155"/>
                      <a:gd name="connsiteX50" fmla="*/ 49625 w 292797"/>
                      <a:gd name="connsiteY50" fmla="*/ 975 h 284155"/>
                      <a:gd name="connsiteX51" fmla="*/ 36880 w 292797"/>
                      <a:gd name="connsiteY51" fmla="*/ 5328 h 284155"/>
                      <a:gd name="connsiteX52" fmla="*/ 36861 w 292797"/>
                      <a:gd name="connsiteY52" fmla="*/ 5357 h 284155"/>
                      <a:gd name="connsiteX53" fmla="*/ 0 w 292797"/>
                      <a:gd name="connsiteY53" fmla="*/ 80890 h 284155"/>
                      <a:gd name="connsiteX54" fmla="*/ 48863 w 292797"/>
                      <a:gd name="connsiteY54" fmla="*/ 80890 h 284155"/>
                      <a:gd name="connsiteX55" fmla="*/ 30194 w 292797"/>
                      <a:gd name="connsiteY55" fmla="*/ 129277 h 284155"/>
                      <a:gd name="connsiteX0" fmla="*/ 137445 w 292797"/>
                      <a:gd name="connsiteY0" fmla="*/ 173473 h 288427"/>
                      <a:gd name="connsiteX1" fmla="*/ 69056 w 292797"/>
                      <a:gd name="connsiteY1" fmla="*/ 194333 h 288427"/>
                      <a:gd name="connsiteX2" fmla="*/ 60769 w 292797"/>
                      <a:gd name="connsiteY2" fmla="*/ 212716 h 288427"/>
                      <a:gd name="connsiteX3" fmla="*/ 60007 w 292797"/>
                      <a:gd name="connsiteY3" fmla="*/ 218812 h 288427"/>
                      <a:gd name="connsiteX4" fmla="*/ 62865 w 292797"/>
                      <a:gd name="connsiteY4" fmla="*/ 239100 h 288427"/>
                      <a:gd name="connsiteX5" fmla="*/ 73723 w 292797"/>
                      <a:gd name="connsiteY5" fmla="*/ 260913 h 288427"/>
                      <a:gd name="connsiteX6" fmla="*/ 94678 w 292797"/>
                      <a:gd name="connsiteY6" fmla="*/ 281296 h 288427"/>
                      <a:gd name="connsiteX7" fmla="*/ 101631 w 292797"/>
                      <a:gd name="connsiteY7" fmla="*/ 284154 h 288427"/>
                      <a:gd name="connsiteX8" fmla="*/ 79343 w 292797"/>
                      <a:gd name="connsiteY8" fmla="*/ 219574 h 288427"/>
                      <a:gd name="connsiteX9" fmla="*/ 103346 w 292797"/>
                      <a:gd name="connsiteY9" fmla="*/ 193761 h 288427"/>
                      <a:gd name="connsiteX10" fmla="*/ 137350 w 292797"/>
                      <a:gd name="connsiteY10" fmla="*/ 227289 h 288427"/>
                      <a:gd name="connsiteX11" fmla="*/ 142208 w 292797"/>
                      <a:gd name="connsiteY11" fmla="*/ 239862 h 288427"/>
                      <a:gd name="connsiteX12" fmla="*/ 154781 w 292797"/>
                      <a:gd name="connsiteY12" fmla="*/ 235005 h 288427"/>
                      <a:gd name="connsiteX13" fmla="*/ 153447 w 292797"/>
                      <a:gd name="connsiteY13" fmla="*/ 192999 h 288427"/>
                      <a:gd name="connsiteX14" fmla="*/ 169545 w 292797"/>
                      <a:gd name="connsiteY14" fmla="*/ 181760 h 288427"/>
                      <a:gd name="connsiteX15" fmla="*/ 199358 w 292797"/>
                      <a:gd name="connsiteY15" fmla="*/ 192999 h 288427"/>
                      <a:gd name="connsiteX16" fmla="*/ 213741 w 292797"/>
                      <a:gd name="connsiteY16" fmla="*/ 234719 h 288427"/>
                      <a:gd name="connsiteX17" fmla="*/ 256413 w 292797"/>
                      <a:gd name="connsiteY17" fmla="*/ 246339 h 288427"/>
                      <a:gd name="connsiteX18" fmla="*/ 262128 w 292797"/>
                      <a:gd name="connsiteY18" fmla="*/ 246339 h 288427"/>
                      <a:gd name="connsiteX19" fmla="*/ 273748 w 292797"/>
                      <a:gd name="connsiteY19" fmla="*/ 257293 h 288427"/>
                      <a:gd name="connsiteX20" fmla="*/ 283273 w 292797"/>
                      <a:gd name="connsiteY20" fmla="*/ 264437 h 288427"/>
                      <a:gd name="connsiteX21" fmla="*/ 285654 w 292797"/>
                      <a:gd name="connsiteY21" fmla="*/ 264437 h 288427"/>
                      <a:gd name="connsiteX22" fmla="*/ 292512 w 292797"/>
                      <a:gd name="connsiteY22" fmla="*/ 252912 h 288427"/>
                      <a:gd name="connsiteX23" fmla="*/ 262413 w 292797"/>
                      <a:gd name="connsiteY23" fmla="*/ 227575 h 288427"/>
                      <a:gd name="connsiteX24" fmla="*/ 255936 w 292797"/>
                      <a:gd name="connsiteY24" fmla="*/ 227575 h 288427"/>
                      <a:gd name="connsiteX25" fmla="*/ 241363 w 292797"/>
                      <a:gd name="connsiteY25" fmla="*/ 227575 h 288427"/>
                      <a:gd name="connsiteX26" fmla="*/ 270605 w 292797"/>
                      <a:gd name="connsiteY26" fmla="*/ 214716 h 288427"/>
                      <a:gd name="connsiteX27" fmla="*/ 281225 w 292797"/>
                      <a:gd name="connsiteY27" fmla="*/ 206287 h 288427"/>
                      <a:gd name="connsiteX28" fmla="*/ 272796 w 292797"/>
                      <a:gd name="connsiteY28" fmla="*/ 195666 h 288427"/>
                      <a:gd name="connsiteX29" fmla="*/ 224694 w 292797"/>
                      <a:gd name="connsiteY29" fmla="*/ 218145 h 288427"/>
                      <a:gd name="connsiteX30" fmla="*/ 218694 w 292797"/>
                      <a:gd name="connsiteY30" fmla="*/ 191190 h 288427"/>
                      <a:gd name="connsiteX31" fmla="*/ 252031 w 292797"/>
                      <a:gd name="connsiteY31" fmla="*/ 165948 h 288427"/>
                      <a:gd name="connsiteX32" fmla="*/ 249459 w 292797"/>
                      <a:gd name="connsiteY32" fmla="*/ 152804 h 288427"/>
                      <a:gd name="connsiteX33" fmla="*/ 236229 w 292797"/>
                      <a:gd name="connsiteY33" fmla="*/ 155357 h 288427"/>
                      <a:gd name="connsiteX34" fmla="*/ 236220 w 292797"/>
                      <a:gd name="connsiteY34" fmla="*/ 155376 h 288427"/>
                      <a:gd name="connsiteX35" fmla="*/ 207645 w 292797"/>
                      <a:gd name="connsiteY35" fmla="*/ 174426 h 288427"/>
                      <a:gd name="connsiteX36" fmla="*/ 178308 w 292797"/>
                      <a:gd name="connsiteY36" fmla="*/ 164901 h 288427"/>
                      <a:gd name="connsiteX37" fmla="*/ 180022 w 292797"/>
                      <a:gd name="connsiteY37" fmla="*/ 143088 h 288427"/>
                      <a:gd name="connsiteX38" fmla="*/ 169354 w 292797"/>
                      <a:gd name="connsiteY38" fmla="*/ 134706 h 288427"/>
                      <a:gd name="connsiteX39" fmla="*/ 160972 w 292797"/>
                      <a:gd name="connsiteY39" fmla="*/ 145374 h 288427"/>
                      <a:gd name="connsiteX40" fmla="*/ 137445 w 292797"/>
                      <a:gd name="connsiteY40" fmla="*/ 173473 h 288427"/>
                      <a:gd name="connsiteX41" fmla="*/ 30194 w 292797"/>
                      <a:gd name="connsiteY41" fmla="*/ 129277 h 288427"/>
                      <a:gd name="connsiteX42" fmla="*/ 35623 w 292797"/>
                      <a:gd name="connsiteY42" fmla="*/ 141564 h 288427"/>
                      <a:gd name="connsiteX43" fmla="*/ 39052 w 292797"/>
                      <a:gd name="connsiteY43" fmla="*/ 142136 h 288427"/>
                      <a:gd name="connsiteX44" fmla="*/ 48006 w 292797"/>
                      <a:gd name="connsiteY44" fmla="*/ 136040 h 288427"/>
                      <a:gd name="connsiteX45" fmla="*/ 76581 w 292797"/>
                      <a:gd name="connsiteY45" fmla="*/ 61364 h 288427"/>
                      <a:gd name="connsiteX46" fmla="*/ 30480 w 292797"/>
                      <a:gd name="connsiteY46" fmla="*/ 61364 h 288427"/>
                      <a:gd name="connsiteX47" fmla="*/ 54006 w 292797"/>
                      <a:gd name="connsiteY47" fmla="*/ 13739 h 288427"/>
                      <a:gd name="connsiteX48" fmla="*/ 49653 w 292797"/>
                      <a:gd name="connsiteY48" fmla="*/ 994 h 288427"/>
                      <a:gd name="connsiteX49" fmla="*/ 49625 w 292797"/>
                      <a:gd name="connsiteY49" fmla="*/ 975 h 288427"/>
                      <a:gd name="connsiteX50" fmla="*/ 36880 w 292797"/>
                      <a:gd name="connsiteY50" fmla="*/ 5328 h 288427"/>
                      <a:gd name="connsiteX51" fmla="*/ 36861 w 292797"/>
                      <a:gd name="connsiteY51" fmla="*/ 5357 h 288427"/>
                      <a:gd name="connsiteX52" fmla="*/ 0 w 292797"/>
                      <a:gd name="connsiteY52" fmla="*/ 80890 h 288427"/>
                      <a:gd name="connsiteX53" fmla="*/ 48863 w 292797"/>
                      <a:gd name="connsiteY53" fmla="*/ 80890 h 288427"/>
                      <a:gd name="connsiteX54" fmla="*/ 30194 w 292797"/>
                      <a:gd name="connsiteY54" fmla="*/ 129277 h 288427"/>
                      <a:gd name="connsiteX0" fmla="*/ 137445 w 292797"/>
                      <a:gd name="connsiteY0" fmla="*/ 173473 h 285442"/>
                      <a:gd name="connsiteX1" fmla="*/ 69056 w 292797"/>
                      <a:gd name="connsiteY1" fmla="*/ 194333 h 285442"/>
                      <a:gd name="connsiteX2" fmla="*/ 60769 w 292797"/>
                      <a:gd name="connsiteY2" fmla="*/ 212716 h 285442"/>
                      <a:gd name="connsiteX3" fmla="*/ 60007 w 292797"/>
                      <a:gd name="connsiteY3" fmla="*/ 218812 h 285442"/>
                      <a:gd name="connsiteX4" fmla="*/ 62865 w 292797"/>
                      <a:gd name="connsiteY4" fmla="*/ 239100 h 285442"/>
                      <a:gd name="connsiteX5" fmla="*/ 73723 w 292797"/>
                      <a:gd name="connsiteY5" fmla="*/ 260913 h 285442"/>
                      <a:gd name="connsiteX6" fmla="*/ 101631 w 292797"/>
                      <a:gd name="connsiteY6" fmla="*/ 284154 h 285442"/>
                      <a:gd name="connsiteX7" fmla="*/ 79343 w 292797"/>
                      <a:gd name="connsiteY7" fmla="*/ 219574 h 285442"/>
                      <a:gd name="connsiteX8" fmla="*/ 103346 w 292797"/>
                      <a:gd name="connsiteY8" fmla="*/ 193761 h 285442"/>
                      <a:gd name="connsiteX9" fmla="*/ 137350 w 292797"/>
                      <a:gd name="connsiteY9" fmla="*/ 227289 h 285442"/>
                      <a:gd name="connsiteX10" fmla="*/ 142208 w 292797"/>
                      <a:gd name="connsiteY10" fmla="*/ 239862 h 285442"/>
                      <a:gd name="connsiteX11" fmla="*/ 154781 w 292797"/>
                      <a:gd name="connsiteY11" fmla="*/ 235005 h 285442"/>
                      <a:gd name="connsiteX12" fmla="*/ 153447 w 292797"/>
                      <a:gd name="connsiteY12" fmla="*/ 192999 h 285442"/>
                      <a:gd name="connsiteX13" fmla="*/ 169545 w 292797"/>
                      <a:gd name="connsiteY13" fmla="*/ 181760 h 285442"/>
                      <a:gd name="connsiteX14" fmla="*/ 199358 w 292797"/>
                      <a:gd name="connsiteY14" fmla="*/ 192999 h 285442"/>
                      <a:gd name="connsiteX15" fmla="*/ 213741 w 292797"/>
                      <a:gd name="connsiteY15" fmla="*/ 234719 h 285442"/>
                      <a:gd name="connsiteX16" fmla="*/ 256413 w 292797"/>
                      <a:gd name="connsiteY16" fmla="*/ 246339 h 285442"/>
                      <a:gd name="connsiteX17" fmla="*/ 262128 w 292797"/>
                      <a:gd name="connsiteY17" fmla="*/ 246339 h 285442"/>
                      <a:gd name="connsiteX18" fmla="*/ 273748 w 292797"/>
                      <a:gd name="connsiteY18" fmla="*/ 257293 h 285442"/>
                      <a:gd name="connsiteX19" fmla="*/ 283273 w 292797"/>
                      <a:gd name="connsiteY19" fmla="*/ 264437 h 285442"/>
                      <a:gd name="connsiteX20" fmla="*/ 285654 w 292797"/>
                      <a:gd name="connsiteY20" fmla="*/ 264437 h 285442"/>
                      <a:gd name="connsiteX21" fmla="*/ 292512 w 292797"/>
                      <a:gd name="connsiteY21" fmla="*/ 252912 h 285442"/>
                      <a:gd name="connsiteX22" fmla="*/ 262413 w 292797"/>
                      <a:gd name="connsiteY22" fmla="*/ 227575 h 285442"/>
                      <a:gd name="connsiteX23" fmla="*/ 255936 w 292797"/>
                      <a:gd name="connsiteY23" fmla="*/ 227575 h 285442"/>
                      <a:gd name="connsiteX24" fmla="*/ 241363 w 292797"/>
                      <a:gd name="connsiteY24" fmla="*/ 227575 h 285442"/>
                      <a:gd name="connsiteX25" fmla="*/ 270605 w 292797"/>
                      <a:gd name="connsiteY25" fmla="*/ 214716 h 285442"/>
                      <a:gd name="connsiteX26" fmla="*/ 281225 w 292797"/>
                      <a:gd name="connsiteY26" fmla="*/ 206287 h 285442"/>
                      <a:gd name="connsiteX27" fmla="*/ 272796 w 292797"/>
                      <a:gd name="connsiteY27" fmla="*/ 195666 h 285442"/>
                      <a:gd name="connsiteX28" fmla="*/ 224694 w 292797"/>
                      <a:gd name="connsiteY28" fmla="*/ 218145 h 285442"/>
                      <a:gd name="connsiteX29" fmla="*/ 218694 w 292797"/>
                      <a:gd name="connsiteY29" fmla="*/ 191190 h 285442"/>
                      <a:gd name="connsiteX30" fmla="*/ 252031 w 292797"/>
                      <a:gd name="connsiteY30" fmla="*/ 165948 h 285442"/>
                      <a:gd name="connsiteX31" fmla="*/ 249459 w 292797"/>
                      <a:gd name="connsiteY31" fmla="*/ 152804 h 285442"/>
                      <a:gd name="connsiteX32" fmla="*/ 236229 w 292797"/>
                      <a:gd name="connsiteY32" fmla="*/ 155357 h 285442"/>
                      <a:gd name="connsiteX33" fmla="*/ 236220 w 292797"/>
                      <a:gd name="connsiteY33" fmla="*/ 155376 h 285442"/>
                      <a:gd name="connsiteX34" fmla="*/ 207645 w 292797"/>
                      <a:gd name="connsiteY34" fmla="*/ 174426 h 285442"/>
                      <a:gd name="connsiteX35" fmla="*/ 178308 w 292797"/>
                      <a:gd name="connsiteY35" fmla="*/ 164901 h 285442"/>
                      <a:gd name="connsiteX36" fmla="*/ 180022 w 292797"/>
                      <a:gd name="connsiteY36" fmla="*/ 143088 h 285442"/>
                      <a:gd name="connsiteX37" fmla="*/ 169354 w 292797"/>
                      <a:gd name="connsiteY37" fmla="*/ 134706 h 285442"/>
                      <a:gd name="connsiteX38" fmla="*/ 160972 w 292797"/>
                      <a:gd name="connsiteY38" fmla="*/ 145374 h 285442"/>
                      <a:gd name="connsiteX39" fmla="*/ 137445 w 292797"/>
                      <a:gd name="connsiteY39" fmla="*/ 173473 h 285442"/>
                      <a:gd name="connsiteX40" fmla="*/ 30194 w 292797"/>
                      <a:gd name="connsiteY40" fmla="*/ 129277 h 285442"/>
                      <a:gd name="connsiteX41" fmla="*/ 35623 w 292797"/>
                      <a:gd name="connsiteY41" fmla="*/ 141564 h 285442"/>
                      <a:gd name="connsiteX42" fmla="*/ 39052 w 292797"/>
                      <a:gd name="connsiteY42" fmla="*/ 142136 h 285442"/>
                      <a:gd name="connsiteX43" fmla="*/ 48006 w 292797"/>
                      <a:gd name="connsiteY43" fmla="*/ 136040 h 285442"/>
                      <a:gd name="connsiteX44" fmla="*/ 76581 w 292797"/>
                      <a:gd name="connsiteY44" fmla="*/ 61364 h 285442"/>
                      <a:gd name="connsiteX45" fmla="*/ 30480 w 292797"/>
                      <a:gd name="connsiteY45" fmla="*/ 61364 h 285442"/>
                      <a:gd name="connsiteX46" fmla="*/ 54006 w 292797"/>
                      <a:gd name="connsiteY46" fmla="*/ 13739 h 285442"/>
                      <a:gd name="connsiteX47" fmla="*/ 49653 w 292797"/>
                      <a:gd name="connsiteY47" fmla="*/ 994 h 285442"/>
                      <a:gd name="connsiteX48" fmla="*/ 49625 w 292797"/>
                      <a:gd name="connsiteY48" fmla="*/ 975 h 285442"/>
                      <a:gd name="connsiteX49" fmla="*/ 36880 w 292797"/>
                      <a:gd name="connsiteY49" fmla="*/ 5328 h 285442"/>
                      <a:gd name="connsiteX50" fmla="*/ 36861 w 292797"/>
                      <a:gd name="connsiteY50" fmla="*/ 5357 h 285442"/>
                      <a:gd name="connsiteX51" fmla="*/ 0 w 292797"/>
                      <a:gd name="connsiteY51" fmla="*/ 80890 h 285442"/>
                      <a:gd name="connsiteX52" fmla="*/ 48863 w 292797"/>
                      <a:gd name="connsiteY52" fmla="*/ 80890 h 285442"/>
                      <a:gd name="connsiteX53" fmla="*/ 30194 w 292797"/>
                      <a:gd name="connsiteY53" fmla="*/ 129277 h 285442"/>
                      <a:gd name="connsiteX0" fmla="*/ 137445 w 292797"/>
                      <a:gd name="connsiteY0" fmla="*/ 173473 h 264441"/>
                      <a:gd name="connsiteX1" fmla="*/ 69056 w 292797"/>
                      <a:gd name="connsiteY1" fmla="*/ 194333 h 264441"/>
                      <a:gd name="connsiteX2" fmla="*/ 60769 w 292797"/>
                      <a:gd name="connsiteY2" fmla="*/ 212716 h 264441"/>
                      <a:gd name="connsiteX3" fmla="*/ 60007 w 292797"/>
                      <a:gd name="connsiteY3" fmla="*/ 218812 h 264441"/>
                      <a:gd name="connsiteX4" fmla="*/ 62865 w 292797"/>
                      <a:gd name="connsiteY4" fmla="*/ 239100 h 264441"/>
                      <a:gd name="connsiteX5" fmla="*/ 73723 w 292797"/>
                      <a:gd name="connsiteY5" fmla="*/ 260913 h 264441"/>
                      <a:gd name="connsiteX6" fmla="*/ 79343 w 292797"/>
                      <a:gd name="connsiteY6" fmla="*/ 219574 h 264441"/>
                      <a:gd name="connsiteX7" fmla="*/ 103346 w 292797"/>
                      <a:gd name="connsiteY7" fmla="*/ 193761 h 264441"/>
                      <a:gd name="connsiteX8" fmla="*/ 137350 w 292797"/>
                      <a:gd name="connsiteY8" fmla="*/ 227289 h 264441"/>
                      <a:gd name="connsiteX9" fmla="*/ 142208 w 292797"/>
                      <a:gd name="connsiteY9" fmla="*/ 239862 h 264441"/>
                      <a:gd name="connsiteX10" fmla="*/ 154781 w 292797"/>
                      <a:gd name="connsiteY10" fmla="*/ 235005 h 264441"/>
                      <a:gd name="connsiteX11" fmla="*/ 153447 w 292797"/>
                      <a:gd name="connsiteY11" fmla="*/ 192999 h 264441"/>
                      <a:gd name="connsiteX12" fmla="*/ 169545 w 292797"/>
                      <a:gd name="connsiteY12" fmla="*/ 181760 h 264441"/>
                      <a:gd name="connsiteX13" fmla="*/ 199358 w 292797"/>
                      <a:gd name="connsiteY13" fmla="*/ 192999 h 264441"/>
                      <a:gd name="connsiteX14" fmla="*/ 213741 w 292797"/>
                      <a:gd name="connsiteY14" fmla="*/ 234719 h 264441"/>
                      <a:gd name="connsiteX15" fmla="*/ 256413 w 292797"/>
                      <a:gd name="connsiteY15" fmla="*/ 246339 h 264441"/>
                      <a:gd name="connsiteX16" fmla="*/ 262128 w 292797"/>
                      <a:gd name="connsiteY16" fmla="*/ 246339 h 264441"/>
                      <a:gd name="connsiteX17" fmla="*/ 273748 w 292797"/>
                      <a:gd name="connsiteY17" fmla="*/ 257293 h 264441"/>
                      <a:gd name="connsiteX18" fmla="*/ 283273 w 292797"/>
                      <a:gd name="connsiteY18" fmla="*/ 264437 h 264441"/>
                      <a:gd name="connsiteX19" fmla="*/ 285654 w 292797"/>
                      <a:gd name="connsiteY19" fmla="*/ 264437 h 264441"/>
                      <a:gd name="connsiteX20" fmla="*/ 292512 w 292797"/>
                      <a:gd name="connsiteY20" fmla="*/ 252912 h 264441"/>
                      <a:gd name="connsiteX21" fmla="*/ 262413 w 292797"/>
                      <a:gd name="connsiteY21" fmla="*/ 227575 h 264441"/>
                      <a:gd name="connsiteX22" fmla="*/ 255936 w 292797"/>
                      <a:gd name="connsiteY22" fmla="*/ 227575 h 264441"/>
                      <a:gd name="connsiteX23" fmla="*/ 241363 w 292797"/>
                      <a:gd name="connsiteY23" fmla="*/ 227575 h 264441"/>
                      <a:gd name="connsiteX24" fmla="*/ 270605 w 292797"/>
                      <a:gd name="connsiteY24" fmla="*/ 214716 h 264441"/>
                      <a:gd name="connsiteX25" fmla="*/ 281225 w 292797"/>
                      <a:gd name="connsiteY25" fmla="*/ 206287 h 264441"/>
                      <a:gd name="connsiteX26" fmla="*/ 272796 w 292797"/>
                      <a:gd name="connsiteY26" fmla="*/ 195666 h 264441"/>
                      <a:gd name="connsiteX27" fmla="*/ 224694 w 292797"/>
                      <a:gd name="connsiteY27" fmla="*/ 218145 h 264441"/>
                      <a:gd name="connsiteX28" fmla="*/ 218694 w 292797"/>
                      <a:gd name="connsiteY28" fmla="*/ 191190 h 264441"/>
                      <a:gd name="connsiteX29" fmla="*/ 252031 w 292797"/>
                      <a:gd name="connsiteY29" fmla="*/ 165948 h 264441"/>
                      <a:gd name="connsiteX30" fmla="*/ 249459 w 292797"/>
                      <a:gd name="connsiteY30" fmla="*/ 152804 h 264441"/>
                      <a:gd name="connsiteX31" fmla="*/ 236229 w 292797"/>
                      <a:gd name="connsiteY31" fmla="*/ 155357 h 264441"/>
                      <a:gd name="connsiteX32" fmla="*/ 236220 w 292797"/>
                      <a:gd name="connsiteY32" fmla="*/ 155376 h 264441"/>
                      <a:gd name="connsiteX33" fmla="*/ 207645 w 292797"/>
                      <a:gd name="connsiteY33" fmla="*/ 174426 h 264441"/>
                      <a:gd name="connsiteX34" fmla="*/ 178308 w 292797"/>
                      <a:gd name="connsiteY34" fmla="*/ 164901 h 264441"/>
                      <a:gd name="connsiteX35" fmla="*/ 180022 w 292797"/>
                      <a:gd name="connsiteY35" fmla="*/ 143088 h 264441"/>
                      <a:gd name="connsiteX36" fmla="*/ 169354 w 292797"/>
                      <a:gd name="connsiteY36" fmla="*/ 134706 h 264441"/>
                      <a:gd name="connsiteX37" fmla="*/ 160972 w 292797"/>
                      <a:gd name="connsiteY37" fmla="*/ 145374 h 264441"/>
                      <a:gd name="connsiteX38" fmla="*/ 137445 w 292797"/>
                      <a:gd name="connsiteY38" fmla="*/ 173473 h 264441"/>
                      <a:gd name="connsiteX39" fmla="*/ 30194 w 292797"/>
                      <a:gd name="connsiteY39" fmla="*/ 129277 h 264441"/>
                      <a:gd name="connsiteX40" fmla="*/ 35623 w 292797"/>
                      <a:gd name="connsiteY40" fmla="*/ 141564 h 264441"/>
                      <a:gd name="connsiteX41" fmla="*/ 39052 w 292797"/>
                      <a:gd name="connsiteY41" fmla="*/ 142136 h 264441"/>
                      <a:gd name="connsiteX42" fmla="*/ 48006 w 292797"/>
                      <a:gd name="connsiteY42" fmla="*/ 136040 h 264441"/>
                      <a:gd name="connsiteX43" fmla="*/ 76581 w 292797"/>
                      <a:gd name="connsiteY43" fmla="*/ 61364 h 264441"/>
                      <a:gd name="connsiteX44" fmla="*/ 30480 w 292797"/>
                      <a:gd name="connsiteY44" fmla="*/ 61364 h 264441"/>
                      <a:gd name="connsiteX45" fmla="*/ 54006 w 292797"/>
                      <a:gd name="connsiteY45" fmla="*/ 13739 h 264441"/>
                      <a:gd name="connsiteX46" fmla="*/ 49653 w 292797"/>
                      <a:gd name="connsiteY46" fmla="*/ 994 h 264441"/>
                      <a:gd name="connsiteX47" fmla="*/ 49625 w 292797"/>
                      <a:gd name="connsiteY47" fmla="*/ 975 h 264441"/>
                      <a:gd name="connsiteX48" fmla="*/ 36880 w 292797"/>
                      <a:gd name="connsiteY48" fmla="*/ 5328 h 264441"/>
                      <a:gd name="connsiteX49" fmla="*/ 36861 w 292797"/>
                      <a:gd name="connsiteY49" fmla="*/ 5357 h 264441"/>
                      <a:gd name="connsiteX50" fmla="*/ 0 w 292797"/>
                      <a:gd name="connsiteY50" fmla="*/ 80890 h 264441"/>
                      <a:gd name="connsiteX51" fmla="*/ 48863 w 292797"/>
                      <a:gd name="connsiteY51" fmla="*/ 80890 h 264441"/>
                      <a:gd name="connsiteX52" fmla="*/ 30194 w 292797"/>
                      <a:gd name="connsiteY52" fmla="*/ 129277 h 264441"/>
                      <a:gd name="connsiteX0" fmla="*/ 137445 w 292797"/>
                      <a:gd name="connsiteY0" fmla="*/ 173473 h 264441"/>
                      <a:gd name="connsiteX1" fmla="*/ 69056 w 292797"/>
                      <a:gd name="connsiteY1" fmla="*/ 194333 h 264441"/>
                      <a:gd name="connsiteX2" fmla="*/ 60769 w 292797"/>
                      <a:gd name="connsiteY2" fmla="*/ 212716 h 264441"/>
                      <a:gd name="connsiteX3" fmla="*/ 60007 w 292797"/>
                      <a:gd name="connsiteY3" fmla="*/ 218812 h 264441"/>
                      <a:gd name="connsiteX4" fmla="*/ 62865 w 292797"/>
                      <a:gd name="connsiteY4" fmla="*/ 239100 h 264441"/>
                      <a:gd name="connsiteX5" fmla="*/ 79343 w 292797"/>
                      <a:gd name="connsiteY5" fmla="*/ 219574 h 264441"/>
                      <a:gd name="connsiteX6" fmla="*/ 103346 w 292797"/>
                      <a:gd name="connsiteY6" fmla="*/ 193761 h 264441"/>
                      <a:gd name="connsiteX7" fmla="*/ 137350 w 292797"/>
                      <a:gd name="connsiteY7" fmla="*/ 227289 h 264441"/>
                      <a:gd name="connsiteX8" fmla="*/ 142208 w 292797"/>
                      <a:gd name="connsiteY8" fmla="*/ 239862 h 264441"/>
                      <a:gd name="connsiteX9" fmla="*/ 154781 w 292797"/>
                      <a:gd name="connsiteY9" fmla="*/ 235005 h 264441"/>
                      <a:gd name="connsiteX10" fmla="*/ 153447 w 292797"/>
                      <a:gd name="connsiteY10" fmla="*/ 192999 h 264441"/>
                      <a:gd name="connsiteX11" fmla="*/ 169545 w 292797"/>
                      <a:gd name="connsiteY11" fmla="*/ 181760 h 264441"/>
                      <a:gd name="connsiteX12" fmla="*/ 199358 w 292797"/>
                      <a:gd name="connsiteY12" fmla="*/ 192999 h 264441"/>
                      <a:gd name="connsiteX13" fmla="*/ 213741 w 292797"/>
                      <a:gd name="connsiteY13" fmla="*/ 234719 h 264441"/>
                      <a:gd name="connsiteX14" fmla="*/ 256413 w 292797"/>
                      <a:gd name="connsiteY14" fmla="*/ 246339 h 264441"/>
                      <a:gd name="connsiteX15" fmla="*/ 262128 w 292797"/>
                      <a:gd name="connsiteY15" fmla="*/ 246339 h 264441"/>
                      <a:gd name="connsiteX16" fmla="*/ 273748 w 292797"/>
                      <a:gd name="connsiteY16" fmla="*/ 257293 h 264441"/>
                      <a:gd name="connsiteX17" fmla="*/ 283273 w 292797"/>
                      <a:gd name="connsiteY17" fmla="*/ 264437 h 264441"/>
                      <a:gd name="connsiteX18" fmla="*/ 285654 w 292797"/>
                      <a:gd name="connsiteY18" fmla="*/ 264437 h 264441"/>
                      <a:gd name="connsiteX19" fmla="*/ 292512 w 292797"/>
                      <a:gd name="connsiteY19" fmla="*/ 252912 h 264441"/>
                      <a:gd name="connsiteX20" fmla="*/ 262413 w 292797"/>
                      <a:gd name="connsiteY20" fmla="*/ 227575 h 264441"/>
                      <a:gd name="connsiteX21" fmla="*/ 255936 w 292797"/>
                      <a:gd name="connsiteY21" fmla="*/ 227575 h 264441"/>
                      <a:gd name="connsiteX22" fmla="*/ 241363 w 292797"/>
                      <a:gd name="connsiteY22" fmla="*/ 227575 h 264441"/>
                      <a:gd name="connsiteX23" fmla="*/ 270605 w 292797"/>
                      <a:gd name="connsiteY23" fmla="*/ 214716 h 264441"/>
                      <a:gd name="connsiteX24" fmla="*/ 281225 w 292797"/>
                      <a:gd name="connsiteY24" fmla="*/ 206287 h 264441"/>
                      <a:gd name="connsiteX25" fmla="*/ 272796 w 292797"/>
                      <a:gd name="connsiteY25" fmla="*/ 195666 h 264441"/>
                      <a:gd name="connsiteX26" fmla="*/ 224694 w 292797"/>
                      <a:gd name="connsiteY26" fmla="*/ 218145 h 264441"/>
                      <a:gd name="connsiteX27" fmla="*/ 218694 w 292797"/>
                      <a:gd name="connsiteY27" fmla="*/ 191190 h 264441"/>
                      <a:gd name="connsiteX28" fmla="*/ 252031 w 292797"/>
                      <a:gd name="connsiteY28" fmla="*/ 165948 h 264441"/>
                      <a:gd name="connsiteX29" fmla="*/ 249459 w 292797"/>
                      <a:gd name="connsiteY29" fmla="*/ 152804 h 264441"/>
                      <a:gd name="connsiteX30" fmla="*/ 236229 w 292797"/>
                      <a:gd name="connsiteY30" fmla="*/ 155357 h 264441"/>
                      <a:gd name="connsiteX31" fmla="*/ 236220 w 292797"/>
                      <a:gd name="connsiteY31" fmla="*/ 155376 h 264441"/>
                      <a:gd name="connsiteX32" fmla="*/ 207645 w 292797"/>
                      <a:gd name="connsiteY32" fmla="*/ 174426 h 264441"/>
                      <a:gd name="connsiteX33" fmla="*/ 178308 w 292797"/>
                      <a:gd name="connsiteY33" fmla="*/ 164901 h 264441"/>
                      <a:gd name="connsiteX34" fmla="*/ 180022 w 292797"/>
                      <a:gd name="connsiteY34" fmla="*/ 143088 h 264441"/>
                      <a:gd name="connsiteX35" fmla="*/ 169354 w 292797"/>
                      <a:gd name="connsiteY35" fmla="*/ 134706 h 264441"/>
                      <a:gd name="connsiteX36" fmla="*/ 160972 w 292797"/>
                      <a:gd name="connsiteY36" fmla="*/ 145374 h 264441"/>
                      <a:gd name="connsiteX37" fmla="*/ 137445 w 292797"/>
                      <a:gd name="connsiteY37" fmla="*/ 173473 h 264441"/>
                      <a:gd name="connsiteX38" fmla="*/ 30194 w 292797"/>
                      <a:gd name="connsiteY38" fmla="*/ 129277 h 264441"/>
                      <a:gd name="connsiteX39" fmla="*/ 35623 w 292797"/>
                      <a:gd name="connsiteY39" fmla="*/ 141564 h 264441"/>
                      <a:gd name="connsiteX40" fmla="*/ 39052 w 292797"/>
                      <a:gd name="connsiteY40" fmla="*/ 142136 h 264441"/>
                      <a:gd name="connsiteX41" fmla="*/ 48006 w 292797"/>
                      <a:gd name="connsiteY41" fmla="*/ 136040 h 264441"/>
                      <a:gd name="connsiteX42" fmla="*/ 76581 w 292797"/>
                      <a:gd name="connsiteY42" fmla="*/ 61364 h 264441"/>
                      <a:gd name="connsiteX43" fmla="*/ 30480 w 292797"/>
                      <a:gd name="connsiteY43" fmla="*/ 61364 h 264441"/>
                      <a:gd name="connsiteX44" fmla="*/ 54006 w 292797"/>
                      <a:gd name="connsiteY44" fmla="*/ 13739 h 264441"/>
                      <a:gd name="connsiteX45" fmla="*/ 49653 w 292797"/>
                      <a:gd name="connsiteY45" fmla="*/ 994 h 264441"/>
                      <a:gd name="connsiteX46" fmla="*/ 49625 w 292797"/>
                      <a:gd name="connsiteY46" fmla="*/ 975 h 264441"/>
                      <a:gd name="connsiteX47" fmla="*/ 36880 w 292797"/>
                      <a:gd name="connsiteY47" fmla="*/ 5328 h 264441"/>
                      <a:gd name="connsiteX48" fmla="*/ 36861 w 292797"/>
                      <a:gd name="connsiteY48" fmla="*/ 5357 h 264441"/>
                      <a:gd name="connsiteX49" fmla="*/ 0 w 292797"/>
                      <a:gd name="connsiteY49" fmla="*/ 80890 h 264441"/>
                      <a:gd name="connsiteX50" fmla="*/ 48863 w 292797"/>
                      <a:gd name="connsiteY50" fmla="*/ 80890 h 264441"/>
                      <a:gd name="connsiteX51" fmla="*/ 30194 w 292797"/>
                      <a:gd name="connsiteY51" fmla="*/ 129277 h 264441"/>
                      <a:gd name="connsiteX0" fmla="*/ 137445 w 292797"/>
                      <a:gd name="connsiteY0" fmla="*/ 173473 h 264441"/>
                      <a:gd name="connsiteX1" fmla="*/ 69056 w 292797"/>
                      <a:gd name="connsiteY1" fmla="*/ 194333 h 264441"/>
                      <a:gd name="connsiteX2" fmla="*/ 60769 w 292797"/>
                      <a:gd name="connsiteY2" fmla="*/ 212716 h 264441"/>
                      <a:gd name="connsiteX3" fmla="*/ 60007 w 292797"/>
                      <a:gd name="connsiteY3" fmla="*/ 218812 h 264441"/>
                      <a:gd name="connsiteX4" fmla="*/ 79343 w 292797"/>
                      <a:gd name="connsiteY4" fmla="*/ 219574 h 264441"/>
                      <a:gd name="connsiteX5" fmla="*/ 103346 w 292797"/>
                      <a:gd name="connsiteY5" fmla="*/ 193761 h 264441"/>
                      <a:gd name="connsiteX6" fmla="*/ 137350 w 292797"/>
                      <a:gd name="connsiteY6" fmla="*/ 227289 h 264441"/>
                      <a:gd name="connsiteX7" fmla="*/ 142208 w 292797"/>
                      <a:gd name="connsiteY7" fmla="*/ 239862 h 264441"/>
                      <a:gd name="connsiteX8" fmla="*/ 154781 w 292797"/>
                      <a:gd name="connsiteY8" fmla="*/ 235005 h 264441"/>
                      <a:gd name="connsiteX9" fmla="*/ 153447 w 292797"/>
                      <a:gd name="connsiteY9" fmla="*/ 192999 h 264441"/>
                      <a:gd name="connsiteX10" fmla="*/ 169545 w 292797"/>
                      <a:gd name="connsiteY10" fmla="*/ 181760 h 264441"/>
                      <a:gd name="connsiteX11" fmla="*/ 199358 w 292797"/>
                      <a:gd name="connsiteY11" fmla="*/ 192999 h 264441"/>
                      <a:gd name="connsiteX12" fmla="*/ 213741 w 292797"/>
                      <a:gd name="connsiteY12" fmla="*/ 234719 h 264441"/>
                      <a:gd name="connsiteX13" fmla="*/ 256413 w 292797"/>
                      <a:gd name="connsiteY13" fmla="*/ 246339 h 264441"/>
                      <a:gd name="connsiteX14" fmla="*/ 262128 w 292797"/>
                      <a:gd name="connsiteY14" fmla="*/ 246339 h 264441"/>
                      <a:gd name="connsiteX15" fmla="*/ 273748 w 292797"/>
                      <a:gd name="connsiteY15" fmla="*/ 257293 h 264441"/>
                      <a:gd name="connsiteX16" fmla="*/ 283273 w 292797"/>
                      <a:gd name="connsiteY16" fmla="*/ 264437 h 264441"/>
                      <a:gd name="connsiteX17" fmla="*/ 285654 w 292797"/>
                      <a:gd name="connsiteY17" fmla="*/ 264437 h 264441"/>
                      <a:gd name="connsiteX18" fmla="*/ 292512 w 292797"/>
                      <a:gd name="connsiteY18" fmla="*/ 252912 h 264441"/>
                      <a:gd name="connsiteX19" fmla="*/ 262413 w 292797"/>
                      <a:gd name="connsiteY19" fmla="*/ 227575 h 264441"/>
                      <a:gd name="connsiteX20" fmla="*/ 255936 w 292797"/>
                      <a:gd name="connsiteY20" fmla="*/ 227575 h 264441"/>
                      <a:gd name="connsiteX21" fmla="*/ 241363 w 292797"/>
                      <a:gd name="connsiteY21" fmla="*/ 227575 h 264441"/>
                      <a:gd name="connsiteX22" fmla="*/ 270605 w 292797"/>
                      <a:gd name="connsiteY22" fmla="*/ 214716 h 264441"/>
                      <a:gd name="connsiteX23" fmla="*/ 281225 w 292797"/>
                      <a:gd name="connsiteY23" fmla="*/ 206287 h 264441"/>
                      <a:gd name="connsiteX24" fmla="*/ 272796 w 292797"/>
                      <a:gd name="connsiteY24" fmla="*/ 195666 h 264441"/>
                      <a:gd name="connsiteX25" fmla="*/ 224694 w 292797"/>
                      <a:gd name="connsiteY25" fmla="*/ 218145 h 264441"/>
                      <a:gd name="connsiteX26" fmla="*/ 218694 w 292797"/>
                      <a:gd name="connsiteY26" fmla="*/ 191190 h 264441"/>
                      <a:gd name="connsiteX27" fmla="*/ 252031 w 292797"/>
                      <a:gd name="connsiteY27" fmla="*/ 165948 h 264441"/>
                      <a:gd name="connsiteX28" fmla="*/ 249459 w 292797"/>
                      <a:gd name="connsiteY28" fmla="*/ 152804 h 264441"/>
                      <a:gd name="connsiteX29" fmla="*/ 236229 w 292797"/>
                      <a:gd name="connsiteY29" fmla="*/ 155357 h 264441"/>
                      <a:gd name="connsiteX30" fmla="*/ 236220 w 292797"/>
                      <a:gd name="connsiteY30" fmla="*/ 155376 h 264441"/>
                      <a:gd name="connsiteX31" fmla="*/ 207645 w 292797"/>
                      <a:gd name="connsiteY31" fmla="*/ 174426 h 264441"/>
                      <a:gd name="connsiteX32" fmla="*/ 178308 w 292797"/>
                      <a:gd name="connsiteY32" fmla="*/ 164901 h 264441"/>
                      <a:gd name="connsiteX33" fmla="*/ 180022 w 292797"/>
                      <a:gd name="connsiteY33" fmla="*/ 143088 h 264441"/>
                      <a:gd name="connsiteX34" fmla="*/ 169354 w 292797"/>
                      <a:gd name="connsiteY34" fmla="*/ 134706 h 264441"/>
                      <a:gd name="connsiteX35" fmla="*/ 160972 w 292797"/>
                      <a:gd name="connsiteY35" fmla="*/ 145374 h 264441"/>
                      <a:gd name="connsiteX36" fmla="*/ 137445 w 292797"/>
                      <a:gd name="connsiteY36" fmla="*/ 173473 h 264441"/>
                      <a:gd name="connsiteX37" fmla="*/ 30194 w 292797"/>
                      <a:gd name="connsiteY37" fmla="*/ 129277 h 264441"/>
                      <a:gd name="connsiteX38" fmla="*/ 35623 w 292797"/>
                      <a:gd name="connsiteY38" fmla="*/ 141564 h 264441"/>
                      <a:gd name="connsiteX39" fmla="*/ 39052 w 292797"/>
                      <a:gd name="connsiteY39" fmla="*/ 142136 h 264441"/>
                      <a:gd name="connsiteX40" fmla="*/ 48006 w 292797"/>
                      <a:gd name="connsiteY40" fmla="*/ 136040 h 264441"/>
                      <a:gd name="connsiteX41" fmla="*/ 76581 w 292797"/>
                      <a:gd name="connsiteY41" fmla="*/ 61364 h 264441"/>
                      <a:gd name="connsiteX42" fmla="*/ 30480 w 292797"/>
                      <a:gd name="connsiteY42" fmla="*/ 61364 h 264441"/>
                      <a:gd name="connsiteX43" fmla="*/ 54006 w 292797"/>
                      <a:gd name="connsiteY43" fmla="*/ 13739 h 264441"/>
                      <a:gd name="connsiteX44" fmla="*/ 49653 w 292797"/>
                      <a:gd name="connsiteY44" fmla="*/ 994 h 264441"/>
                      <a:gd name="connsiteX45" fmla="*/ 49625 w 292797"/>
                      <a:gd name="connsiteY45" fmla="*/ 975 h 264441"/>
                      <a:gd name="connsiteX46" fmla="*/ 36880 w 292797"/>
                      <a:gd name="connsiteY46" fmla="*/ 5328 h 264441"/>
                      <a:gd name="connsiteX47" fmla="*/ 36861 w 292797"/>
                      <a:gd name="connsiteY47" fmla="*/ 5357 h 264441"/>
                      <a:gd name="connsiteX48" fmla="*/ 0 w 292797"/>
                      <a:gd name="connsiteY48" fmla="*/ 80890 h 264441"/>
                      <a:gd name="connsiteX49" fmla="*/ 48863 w 292797"/>
                      <a:gd name="connsiteY49" fmla="*/ 80890 h 264441"/>
                      <a:gd name="connsiteX50" fmla="*/ 30194 w 292797"/>
                      <a:gd name="connsiteY50" fmla="*/ 129277 h 264441"/>
                      <a:gd name="connsiteX0" fmla="*/ 137445 w 292797"/>
                      <a:gd name="connsiteY0" fmla="*/ 173473 h 264441"/>
                      <a:gd name="connsiteX1" fmla="*/ 69056 w 292797"/>
                      <a:gd name="connsiteY1" fmla="*/ 194333 h 264441"/>
                      <a:gd name="connsiteX2" fmla="*/ 60769 w 292797"/>
                      <a:gd name="connsiteY2" fmla="*/ 212716 h 264441"/>
                      <a:gd name="connsiteX3" fmla="*/ 79343 w 292797"/>
                      <a:gd name="connsiteY3" fmla="*/ 219574 h 264441"/>
                      <a:gd name="connsiteX4" fmla="*/ 103346 w 292797"/>
                      <a:gd name="connsiteY4" fmla="*/ 193761 h 264441"/>
                      <a:gd name="connsiteX5" fmla="*/ 137350 w 292797"/>
                      <a:gd name="connsiteY5" fmla="*/ 227289 h 264441"/>
                      <a:gd name="connsiteX6" fmla="*/ 142208 w 292797"/>
                      <a:gd name="connsiteY6" fmla="*/ 239862 h 264441"/>
                      <a:gd name="connsiteX7" fmla="*/ 154781 w 292797"/>
                      <a:gd name="connsiteY7" fmla="*/ 235005 h 264441"/>
                      <a:gd name="connsiteX8" fmla="*/ 153447 w 292797"/>
                      <a:gd name="connsiteY8" fmla="*/ 192999 h 264441"/>
                      <a:gd name="connsiteX9" fmla="*/ 169545 w 292797"/>
                      <a:gd name="connsiteY9" fmla="*/ 181760 h 264441"/>
                      <a:gd name="connsiteX10" fmla="*/ 199358 w 292797"/>
                      <a:gd name="connsiteY10" fmla="*/ 192999 h 264441"/>
                      <a:gd name="connsiteX11" fmla="*/ 213741 w 292797"/>
                      <a:gd name="connsiteY11" fmla="*/ 234719 h 264441"/>
                      <a:gd name="connsiteX12" fmla="*/ 256413 w 292797"/>
                      <a:gd name="connsiteY12" fmla="*/ 246339 h 264441"/>
                      <a:gd name="connsiteX13" fmla="*/ 262128 w 292797"/>
                      <a:gd name="connsiteY13" fmla="*/ 246339 h 264441"/>
                      <a:gd name="connsiteX14" fmla="*/ 273748 w 292797"/>
                      <a:gd name="connsiteY14" fmla="*/ 257293 h 264441"/>
                      <a:gd name="connsiteX15" fmla="*/ 283273 w 292797"/>
                      <a:gd name="connsiteY15" fmla="*/ 264437 h 264441"/>
                      <a:gd name="connsiteX16" fmla="*/ 285654 w 292797"/>
                      <a:gd name="connsiteY16" fmla="*/ 264437 h 264441"/>
                      <a:gd name="connsiteX17" fmla="*/ 292512 w 292797"/>
                      <a:gd name="connsiteY17" fmla="*/ 252912 h 264441"/>
                      <a:gd name="connsiteX18" fmla="*/ 262413 w 292797"/>
                      <a:gd name="connsiteY18" fmla="*/ 227575 h 264441"/>
                      <a:gd name="connsiteX19" fmla="*/ 255936 w 292797"/>
                      <a:gd name="connsiteY19" fmla="*/ 227575 h 264441"/>
                      <a:gd name="connsiteX20" fmla="*/ 241363 w 292797"/>
                      <a:gd name="connsiteY20" fmla="*/ 227575 h 264441"/>
                      <a:gd name="connsiteX21" fmla="*/ 270605 w 292797"/>
                      <a:gd name="connsiteY21" fmla="*/ 214716 h 264441"/>
                      <a:gd name="connsiteX22" fmla="*/ 281225 w 292797"/>
                      <a:gd name="connsiteY22" fmla="*/ 206287 h 264441"/>
                      <a:gd name="connsiteX23" fmla="*/ 272796 w 292797"/>
                      <a:gd name="connsiteY23" fmla="*/ 195666 h 264441"/>
                      <a:gd name="connsiteX24" fmla="*/ 224694 w 292797"/>
                      <a:gd name="connsiteY24" fmla="*/ 218145 h 264441"/>
                      <a:gd name="connsiteX25" fmla="*/ 218694 w 292797"/>
                      <a:gd name="connsiteY25" fmla="*/ 191190 h 264441"/>
                      <a:gd name="connsiteX26" fmla="*/ 252031 w 292797"/>
                      <a:gd name="connsiteY26" fmla="*/ 165948 h 264441"/>
                      <a:gd name="connsiteX27" fmla="*/ 249459 w 292797"/>
                      <a:gd name="connsiteY27" fmla="*/ 152804 h 264441"/>
                      <a:gd name="connsiteX28" fmla="*/ 236229 w 292797"/>
                      <a:gd name="connsiteY28" fmla="*/ 155357 h 264441"/>
                      <a:gd name="connsiteX29" fmla="*/ 236220 w 292797"/>
                      <a:gd name="connsiteY29" fmla="*/ 155376 h 264441"/>
                      <a:gd name="connsiteX30" fmla="*/ 207645 w 292797"/>
                      <a:gd name="connsiteY30" fmla="*/ 174426 h 264441"/>
                      <a:gd name="connsiteX31" fmla="*/ 178308 w 292797"/>
                      <a:gd name="connsiteY31" fmla="*/ 164901 h 264441"/>
                      <a:gd name="connsiteX32" fmla="*/ 180022 w 292797"/>
                      <a:gd name="connsiteY32" fmla="*/ 143088 h 264441"/>
                      <a:gd name="connsiteX33" fmla="*/ 169354 w 292797"/>
                      <a:gd name="connsiteY33" fmla="*/ 134706 h 264441"/>
                      <a:gd name="connsiteX34" fmla="*/ 160972 w 292797"/>
                      <a:gd name="connsiteY34" fmla="*/ 145374 h 264441"/>
                      <a:gd name="connsiteX35" fmla="*/ 137445 w 292797"/>
                      <a:gd name="connsiteY35" fmla="*/ 173473 h 264441"/>
                      <a:gd name="connsiteX36" fmla="*/ 30194 w 292797"/>
                      <a:gd name="connsiteY36" fmla="*/ 129277 h 264441"/>
                      <a:gd name="connsiteX37" fmla="*/ 35623 w 292797"/>
                      <a:gd name="connsiteY37" fmla="*/ 141564 h 264441"/>
                      <a:gd name="connsiteX38" fmla="*/ 39052 w 292797"/>
                      <a:gd name="connsiteY38" fmla="*/ 142136 h 264441"/>
                      <a:gd name="connsiteX39" fmla="*/ 48006 w 292797"/>
                      <a:gd name="connsiteY39" fmla="*/ 136040 h 264441"/>
                      <a:gd name="connsiteX40" fmla="*/ 76581 w 292797"/>
                      <a:gd name="connsiteY40" fmla="*/ 61364 h 264441"/>
                      <a:gd name="connsiteX41" fmla="*/ 30480 w 292797"/>
                      <a:gd name="connsiteY41" fmla="*/ 61364 h 264441"/>
                      <a:gd name="connsiteX42" fmla="*/ 54006 w 292797"/>
                      <a:gd name="connsiteY42" fmla="*/ 13739 h 264441"/>
                      <a:gd name="connsiteX43" fmla="*/ 49653 w 292797"/>
                      <a:gd name="connsiteY43" fmla="*/ 994 h 264441"/>
                      <a:gd name="connsiteX44" fmla="*/ 49625 w 292797"/>
                      <a:gd name="connsiteY44" fmla="*/ 975 h 264441"/>
                      <a:gd name="connsiteX45" fmla="*/ 36880 w 292797"/>
                      <a:gd name="connsiteY45" fmla="*/ 5328 h 264441"/>
                      <a:gd name="connsiteX46" fmla="*/ 36861 w 292797"/>
                      <a:gd name="connsiteY46" fmla="*/ 5357 h 264441"/>
                      <a:gd name="connsiteX47" fmla="*/ 0 w 292797"/>
                      <a:gd name="connsiteY47" fmla="*/ 80890 h 264441"/>
                      <a:gd name="connsiteX48" fmla="*/ 48863 w 292797"/>
                      <a:gd name="connsiteY48" fmla="*/ 80890 h 264441"/>
                      <a:gd name="connsiteX49" fmla="*/ 30194 w 292797"/>
                      <a:gd name="connsiteY49" fmla="*/ 129277 h 264441"/>
                      <a:gd name="connsiteX0" fmla="*/ 137445 w 292797"/>
                      <a:gd name="connsiteY0" fmla="*/ 173473 h 264441"/>
                      <a:gd name="connsiteX1" fmla="*/ 69056 w 292797"/>
                      <a:gd name="connsiteY1" fmla="*/ 194333 h 264441"/>
                      <a:gd name="connsiteX2" fmla="*/ 60769 w 292797"/>
                      <a:gd name="connsiteY2" fmla="*/ 212716 h 264441"/>
                      <a:gd name="connsiteX3" fmla="*/ 103346 w 292797"/>
                      <a:gd name="connsiteY3" fmla="*/ 193761 h 264441"/>
                      <a:gd name="connsiteX4" fmla="*/ 137350 w 292797"/>
                      <a:gd name="connsiteY4" fmla="*/ 227289 h 264441"/>
                      <a:gd name="connsiteX5" fmla="*/ 142208 w 292797"/>
                      <a:gd name="connsiteY5" fmla="*/ 239862 h 264441"/>
                      <a:gd name="connsiteX6" fmla="*/ 154781 w 292797"/>
                      <a:gd name="connsiteY6" fmla="*/ 235005 h 264441"/>
                      <a:gd name="connsiteX7" fmla="*/ 153447 w 292797"/>
                      <a:gd name="connsiteY7" fmla="*/ 192999 h 264441"/>
                      <a:gd name="connsiteX8" fmla="*/ 169545 w 292797"/>
                      <a:gd name="connsiteY8" fmla="*/ 181760 h 264441"/>
                      <a:gd name="connsiteX9" fmla="*/ 199358 w 292797"/>
                      <a:gd name="connsiteY9" fmla="*/ 192999 h 264441"/>
                      <a:gd name="connsiteX10" fmla="*/ 213741 w 292797"/>
                      <a:gd name="connsiteY10" fmla="*/ 234719 h 264441"/>
                      <a:gd name="connsiteX11" fmla="*/ 256413 w 292797"/>
                      <a:gd name="connsiteY11" fmla="*/ 246339 h 264441"/>
                      <a:gd name="connsiteX12" fmla="*/ 262128 w 292797"/>
                      <a:gd name="connsiteY12" fmla="*/ 246339 h 264441"/>
                      <a:gd name="connsiteX13" fmla="*/ 273748 w 292797"/>
                      <a:gd name="connsiteY13" fmla="*/ 257293 h 264441"/>
                      <a:gd name="connsiteX14" fmla="*/ 283273 w 292797"/>
                      <a:gd name="connsiteY14" fmla="*/ 264437 h 264441"/>
                      <a:gd name="connsiteX15" fmla="*/ 285654 w 292797"/>
                      <a:gd name="connsiteY15" fmla="*/ 264437 h 264441"/>
                      <a:gd name="connsiteX16" fmla="*/ 292512 w 292797"/>
                      <a:gd name="connsiteY16" fmla="*/ 252912 h 264441"/>
                      <a:gd name="connsiteX17" fmla="*/ 262413 w 292797"/>
                      <a:gd name="connsiteY17" fmla="*/ 227575 h 264441"/>
                      <a:gd name="connsiteX18" fmla="*/ 255936 w 292797"/>
                      <a:gd name="connsiteY18" fmla="*/ 227575 h 264441"/>
                      <a:gd name="connsiteX19" fmla="*/ 241363 w 292797"/>
                      <a:gd name="connsiteY19" fmla="*/ 227575 h 264441"/>
                      <a:gd name="connsiteX20" fmla="*/ 270605 w 292797"/>
                      <a:gd name="connsiteY20" fmla="*/ 214716 h 264441"/>
                      <a:gd name="connsiteX21" fmla="*/ 281225 w 292797"/>
                      <a:gd name="connsiteY21" fmla="*/ 206287 h 264441"/>
                      <a:gd name="connsiteX22" fmla="*/ 272796 w 292797"/>
                      <a:gd name="connsiteY22" fmla="*/ 195666 h 264441"/>
                      <a:gd name="connsiteX23" fmla="*/ 224694 w 292797"/>
                      <a:gd name="connsiteY23" fmla="*/ 218145 h 264441"/>
                      <a:gd name="connsiteX24" fmla="*/ 218694 w 292797"/>
                      <a:gd name="connsiteY24" fmla="*/ 191190 h 264441"/>
                      <a:gd name="connsiteX25" fmla="*/ 252031 w 292797"/>
                      <a:gd name="connsiteY25" fmla="*/ 165948 h 264441"/>
                      <a:gd name="connsiteX26" fmla="*/ 249459 w 292797"/>
                      <a:gd name="connsiteY26" fmla="*/ 152804 h 264441"/>
                      <a:gd name="connsiteX27" fmla="*/ 236229 w 292797"/>
                      <a:gd name="connsiteY27" fmla="*/ 155357 h 264441"/>
                      <a:gd name="connsiteX28" fmla="*/ 236220 w 292797"/>
                      <a:gd name="connsiteY28" fmla="*/ 155376 h 264441"/>
                      <a:gd name="connsiteX29" fmla="*/ 207645 w 292797"/>
                      <a:gd name="connsiteY29" fmla="*/ 174426 h 264441"/>
                      <a:gd name="connsiteX30" fmla="*/ 178308 w 292797"/>
                      <a:gd name="connsiteY30" fmla="*/ 164901 h 264441"/>
                      <a:gd name="connsiteX31" fmla="*/ 180022 w 292797"/>
                      <a:gd name="connsiteY31" fmla="*/ 143088 h 264441"/>
                      <a:gd name="connsiteX32" fmla="*/ 169354 w 292797"/>
                      <a:gd name="connsiteY32" fmla="*/ 134706 h 264441"/>
                      <a:gd name="connsiteX33" fmla="*/ 160972 w 292797"/>
                      <a:gd name="connsiteY33" fmla="*/ 145374 h 264441"/>
                      <a:gd name="connsiteX34" fmla="*/ 137445 w 292797"/>
                      <a:gd name="connsiteY34" fmla="*/ 173473 h 264441"/>
                      <a:gd name="connsiteX35" fmla="*/ 30194 w 292797"/>
                      <a:gd name="connsiteY35" fmla="*/ 129277 h 264441"/>
                      <a:gd name="connsiteX36" fmla="*/ 35623 w 292797"/>
                      <a:gd name="connsiteY36" fmla="*/ 141564 h 264441"/>
                      <a:gd name="connsiteX37" fmla="*/ 39052 w 292797"/>
                      <a:gd name="connsiteY37" fmla="*/ 142136 h 264441"/>
                      <a:gd name="connsiteX38" fmla="*/ 48006 w 292797"/>
                      <a:gd name="connsiteY38" fmla="*/ 136040 h 264441"/>
                      <a:gd name="connsiteX39" fmla="*/ 76581 w 292797"/>
                      <a:gd name="connsiteY39" fmla="*/ 61364 h 264441"/>
                      <a:gd name="connsiteX40" fmla="*/ 30480 w 292797"/>
                      <a:gd name="connsiteY40" fmla="*/ 61364 h 264441"/>
                      <a:gd name="connsiteX41" fmla="*/ 54006 w 292797"/>
                      <a:gd name="connsiteY41" fmla="*/ 13739 h 264441"/>
                      <a:gd name="connsiteX42" fmla="*/ 49653 w 292797"/>
                      <a:gd name="connsiteY42" fmla="*/ 994 h 264441"/>
                      <a:gd name="connsiteX43" fmla="*/ 49625 w 292797"/>
                      <a:gd name="connsiteY43" fmla="*/ 975 h 264441"/>
                      <a:gd name="connsiteX44" fmla="*/ 36880 w 292797"/>
                      <a:gd name="connsiteY44" fmla="*/ 5328 h 264441"/>
                      <a:gd name="connsiteX45" fmla="*/ 36861 w 292797"/>
                      <a:gd name="connsiteY45" fmla="*/ 5357 h 264441"/>
                      <a:gd name="connsiteX46" fmla="*/ 0 w 292797"/>
                      <a:gd name="connsiteY46" fmla="*/ 80890 h 264441"/>
                      <a:gd name="connsiteX47" fmla="*/ 48863 w 292797"/>
                      <a:gd name="connsiteY47" fmla="*/ 80890 h 264441"/>
                      <a:gd name="connsiteX48" fmla="*/ 30194 w 292797"/>
                      <a:gd name="connsiteY48" fmla="*/ 129277 h 264441"/>
                      <a:gd name="connsiteX0" fmla="*/ 137445 w 292797"/>
                      <a:gd name="connsiteY0" fmla="*/ 173473 h 264441"/>
                      <a:gd name="connsiteX1" fmla="*/ 69056 w 292797"/>
                      <a:gd name="connsiteY1" fmla="*/ 194333 h 264441"/>
                      <a:gd name="connsiteX2" fmla="*/ 103346 w 292797"/>
                      <a:gd name="connsiteY2" fmla="*/ 193761 h 264441"/>
                      <a:gd name="connsiteX3" fmla="*/ 137350 w 292797"/>
                      <a:gd name="connsiteY3" fmla="*/ 227289 h 264441"/>
                      <a:gd name="connsiteX4" fmla="*/ 142208 w 292797"/>
                      <a:gd name="connsiteY4" fmla="*/ 239862 h 264441"/>
                      <a:gd name="connsiteX5" fmla="*/ 154781 w 292797"/>
                      <a:gd name="connsiteY5" fmla="*/ 235005 h 264441"/>
                      <a:gd name="connsiteX6" fmla="*/ 153447 w 292797"/>
                      <a:gd name="connsiteY6" fmla="*/ 192999 h 264441"/>
                      <a:gd name="connsiteX7" fmla="*/ 169545 w 292797"/>
                      <a:gd name="connsiteY7" fmla="*/ 181760 h 264441"/>
                      <a:gd name="connsiteX8" fmla="*/ 199358 w 292797"/>
                      <a:gd name="connsiteY8" fmla="*/ 192999 h 264441"/>
                      <a:gd name="connsiteX9" fmla="*/ 213741 w 292797"/>
                      <a:gd name="connsiteY9" fmla="*/ 234719 h 264441"/>
                      <a:gd name="connsiteX10" fmla="*/ 256413 w 292797"/>
                      <a:gd name="connsiteY10" fmla="*/ 246339 h 264441"/>
                      <a:gd name="connsiteX11" fmla="*/ 262128 w 292797"/>
                      <a:gd name="connsiteY11" fmla="*/ 246339 h 264441"/>
                      <a:gd name="connsiteX12" fmla="*/ 273748 w 292797"/>
                      <a:gd name="connsiteY12" fmla="*/ 257293 h 264441"/>
                      <a:gd name="connsiteX13" fmla="*/ 283273 w 292797"/>
                      <a:gd name="connsiteY13" fmla="*/ 264437 h 264441"/>
                      <a:gd name="connsiteX14" fmla="*/ 285654 w 292797"/>
                      <a:gd name="connsiteY14" fmla="*/ 264437 h 264441"/>
                      <a:gd name="connsiteX15" fmla="*/ 292512 w 292797"/>
                      <a:gd name="connsiteY15" fmla="*/ 252912 h 264441"/>
                      <a:gd name="connsiteX16" fmla="*/ 262413 w 292797"/>
                      <a:gd name="connsiteY16" fmla="*/ 227575 h 264441"/>
                      <a:gd name="connsiteX17" fmla="*/ 255936 w 292797"/>
                      <a:gd name="connsiteY17" fmla="*/ 227575 h 264441"/>
                      <a:gd name="connsiteX18" fmla="*/ 241363 w 292797"/>
                      <a:gd name="connsiteY18" fmla="*/ 227575 h 264441"/>
                      <a:gd name="connsiteX19" fmla="*/ 270605 w 292797"/>
                      <a:gd name="connsiteY19" fmla="*/ 214716 h 264441"/>
                      <a:gd name="connsiteX20" fmla="*/ 281225 w 292797"/>
                      <a:gd name="connsiteY20" fmla="*/ 206287 h 264441"/>
                      <a:gd name="connsiteX21" fmla="*/ 272796 w 292797"/>
                      <a:gd name="connsiteY21" fmla="*/ 195666 h 264441"/>
                      <a:gd name="connsiteX22" fmla="*/ 224694 w 292797"/>
                      <a:gd name="connsiteY22" fmla="*/ 218145 h 264441"/>
                      <a:gd name="connsiteX23" fmla="*/ 218694 w 292797"/>
                      <a:gd name="connsiteY23" fmla="*/ 191190 h 264441"/>
                      <a:gd name="connsiteX24" fmla="*/ 252031 w 292797"/>
                      <a:gd name="connsiteY24" fmla="*/ 165948 h 264441"/>
                      <a:gd name="connsiteX25" fmla="*/ 249459 w 292797"/>
                      <a:gd name="connsiteY25" fmla="*/ 152804 h 264441"/>
                      <a:gd name="connsiteX26" fmla="*/ 236229 w 292797"/>
                      <a:gd name="connsiteY26" fmla="*/ 155357 h 264441"/>
                      <a:gd name="connsiteX27" fmla="*/ 236220 w 292797"/>
                      <a:gd name="connsiteY27" fmla="*/ 155376 h 264441"/>
                      <a:gd name="connsiteX28" fmla="*/ 207645 w 292797"/>
                      <a:gd name="connsiteY28" fmla="*/ 174426 h 264441"/>
                      <a:gd name="connsiteX29" fmla="*/ 178308 w 292797"/>
                      <a:gd name="connsiteY29" fmla="*/ 164901 h 264441"/>
                      <a:gd name="connsiteX30" fmla="*/ 180022 w 292797"/>
                      <a:gd name="connsiteY30" fmla="*/ 143088 h 264441"/>
                      <a:gd name="connsiteX31" fmla="*/ 169354 w 292797"/>
                      <a:gd name="connsiteY31" fmla="*/ 134706 h 264441"/>
                      <a:gd name="connsiteX32" fmla="*/ 160972 w 292797"/>
                      <a:gd name="connsiteY32" fmla="*/ 145374 h 264441"/>
                      <a:gd name="connsiteX33" fmla="*/ 137445 w 292797"/>
                      <a:gd name="connsiteY33" fmla="*/ 173473 h 264441"/>
                      <a:gd name="connsiteX34" fmla="*/ 30194 w 292797"/>
                      <a:gd name="connsiteY34" fmla="*/ 129277 h 264441"/>
                      <a:gd name="connsiteX35" fmla="*/ 35623 w 292797"/>
                      <a:gd name="connsiteY35" fmla="*/ 141564 h 264441"/>
                      <a:gd name="connsiteX36" fmla="*/ 39052 w 292797"/>
                      <a:gd name="connsiteY36" fmla="*/ 142136 h 264441"/>
                      <a:gd name="connsiteX37" fmla="*/ 48006 w 292797"/>
                      <a:gd name="connsiteY37" fmla="*/ 136040 h 264441"/>
                      <a:gd name="connsiteX38" fmla="*/ 76581 w 292797"/>
                      <a:gd name="connsiteY38" fmla="*/ 61364 h 264441"/>
                      <a:gd name="connsiteX39" fmla="*/ 30480 w 292797"/>
                      <a:gd name="connsiteY39" fmla="*/ 61364 h 264441"/>
                      <a:gd name="connsiteX40" fmla="*/ 54006 w 292797"/>
                      <a:gd name="connsiteY40" fmla="*/ 13739 h 264441"/>
                      <a:gd name="connsiteX41" fmla="*/ 49653 w 292797"/>
                      <a:gd name="connsiteY41" fmla="*/ 994 h 264441"/>
                      <a:gd name="connsiteX42" fmla="*/ 49625 w 292797"/>
                      <a:gd name="connsiteY42" fmla="*/ 975 h 264441"/>
                      <a:gd name="connsiteX43" fmla="*/ 36880 w 292797"/>
                      <a:gd name="connsiteY43" fmla="*/ 5328 h 264441"/>
                      <a:gd name="connsiteX44" fmla="*/ 36861 w 292797"/>
                      <a:gd name="connsiteY44" fmla="*/ 5357 h 264441"/>
                      <a:gd name="connsiteX45" fmla="*/ 0 w 292797"/>
                      <a:gd name="connsiteY45" fmla="*/ 80890 h 264441"/>
                      <a:gd name="connsiteX46" fmla="*/ 48863 w 292797"/>
                      <a:gd name="connsiteY46" fmla="*/ 80890 h 264441"/>
                      <a:gd name="connsiteX47" fmla="*/ 30194 w 292797"/>
                      <a:gd name="connsiteY47" fmla="*/ 129277 h 264441"/>
                      <a:gd name="connsiteX0" fmla="*/ 137445 w 292797"/>
                      <a:gd name="connsiteY0" fmla="*/ 173473 h 264441"/>
                      <a:gd name="connsiteX1" fmla="*/ 103346 w 292797"/>
                      <a:gd name="connsiteY1" fmla="*/ 193761 h 264441"/>
                      <a:gd name="connsiteX2" fmla="*/ 137350 w 292797"/>
                      <a:gd name="connsiteY2" fmla="*/ 227289 h 264441"/>
                      <a:gd name="connsiteX3" fmla="*/ 142208 w 292797"/>
                      <a:gd name="connsiteY3" fmla="*/ 239862 h 264441"/>
                      <a:gd name="connsiteX4" fmla="*/ 154781 w 292797"/>
                      <a:gd name="connsiteY4" fmla="*/ 235005 h 264441"/>
                      <a:gd name="connsiteX5" fmla="*/ 153447 w 292797"/>
                      <a:gd name="connsiteY5" fmla="*/ 192999 h 264441"/>
                      <a:gd name="connsiteX6" fmla="*/ 169545 w 292797"/>
                      <a:gd name="connsiteY6" fmla="*/ 181760 h 264441"/>
                      <a:gd name="connsiteX7" fmla="*/ 199358 w 292797"/>
                      <a:gd name="connsiteY7" fmla="*/ 192999 h 264441"/>
                      <a:gd name="connsiteX8" fmla="*/ 213741 w 292797"/>
                      <a:gd name="connsiteY8" fmla="*/ 234719 h 264441"/>
                      <a:gd name="connsiteX9" fmla="*/ 256413 w 292797"/>
                      <a:gd name="connsiteY9" fmla="*/ 246339 h 264441"/>
                      <a:gd name="connsiteX10" fmla="*/ 262128 w 292797"/>
                      <a:gd name="connsiteY10" fmla="*/ 246339 h 264441"/>
                      <a:gd name="connsiteX11" fmla="*/ 273748 w 292797"/>
                      <a:gd name="connsiteY11" fmla="*/ 257293 h 264441"/>
                      <a:gd name="connsiteX12" fmla="*/ 283273 w 292797"/>
                      <a:gd name="connsiteY12" fmla="*/ 264437 h 264441"/>
                      <a:gd name="connsiteX13" fmla="*/ 285654 w 292797"/>
                      <a:gd name="connsiteY13" fmla="*/ 264437 h 264441"/>
                      <a:gd name="connsiteX14" fmla="*/ 292512 w 292797"/>
                      <a:gd name="connsiteY14" fmla="*/ 252912 h 264441"/>
                      <a:gd name="connsiteX15" fmla="*/ 262413 w 292797"/>
                      <a:gd name="connsiteY15" fmla="*/ 227575 h 264441"/>
                      <a:gd name="connsiteX16" fmla="*/ 255936 w 292797"/>
                      <a:gd name="connsiteY16" fmla="*/ 227575 h 264441"/>
                      <a:gd name="connsiteX17" fmla="*/ 241363 w 292797"/>
                      <a:gd name="connsiteY17" fmla="*/ 227575 h 264441"/>
                      <a:gd name="connsiteX18" fmla="*/ 270605 w 292797"/>
                      <a:gd name="connsiteY18" fmla="*/ 214716 h 264441"/>
                      <a:gd name="connsiteX19" fmla="*/ 281225 w 292797"/>
                      <a:gd name="connsiteY19" fmla="*/ 206287 h 264441"/>
                      <a:gd name="connsiteX20" fmla="*/ 272796 w 292797"/>
                      <a:gd name="connsiteY20" fmla="*/ 195666 h 264441"/>
                      <a:gd name="connsiteX21" fmla="*/ 224694 w 292797"/>
                      <a:gd name="connsiteY21" fmla="*/ 218145 h 264441"/>
                      <a:gd name="connsiteX22" fmla="*/ 218694 w 292797"/>
                      <a:gd name="connsiteY22" fmla="*/ 191190 h 264441"/>
                      <a:gd name="connsiteX23" fmla="*/ 252031 w 292797"/>
                      <a:gd name="connsiteY23" fmla="*/ 165948 h 264441"/>
                      <a:gd name="connsiteX24" fmla="*/ 249459 w 292797"/>
                      <a:gd name="connsiteY24" fmla="*/ 152804 h 264441"/>
                      <a:gd name="connsiteX25" fmla="*/ 236229 w 292797"/>
                      <a:gd name="connsiteY25" fmla="*/ 155357 h 264441"/>
                      <a:gd name="connsiteX26" fmla="*/ 236220 w 292797"/>
                      <a:gd name="connsiteY26" fmla="*/ 155376 h 264441"/>
                      <a:gd name="connsiteX27" fmla="*/ 207645 w 292797"/>
                      <a:gd name="connsiteY27" fmla="*/ 174426 h 264441"/>
                      <a:gd name="connsiteX28" fmla="*/ 178308 w 292797"/>
                      <a:gd name="connsiteY28" fmla="*/ 164901 h 264441"/>
                      <a:gd name="connsiteX29" fmla="*/ 180022 w 292797"/>
                      <a:gd name="connsiteY29" fmla="*/ 143088 h 264441"/>
                      <a:gd name="connsiteX30" fmla="*/ 169354 w 292797"/>
                      <a:gd name="connsiteY30" fmla="*/ 134706 h 264441"/>
                      <a:gd name="connsiteX31" fmla="*/ 160972 w 292797"/>
                      <a:gd name="connsiteY31" fmla="*/ 145374 h 264441"/>
                      <a:gd name="connsiteX32" fmla="*/ 137445 w 292797"/>
                      <a:gd name="connsiteY32" fmla="*/ 173473 h 264441"/>
                      <a:gd name="connsiteX33" fmla="*/ 30194 w 292797"/>
                      <a:gd name="connsiteY33" fmla="*/ 129277 h 264441"/>
                      <a:gd name="connsiteX34" fmla="*/ 35623 w 292797"/>
                      <a:gd name="connsiteY34" fmla="*/ 141564 h 264441"/>
                      <a:gd name="connsiteX35" fmla="*/ 39052 w 292797"/>
                      <a:gd name="connsiteY35" fmla="*/ 142136 h 264441"/>
                      <a:gd name="connsiteX36" fmla="*/ 48006 w 292797"/>
                      <a:gd name="connsiteY36" fmla="*/ 136040 h 264441"/>
                      <a:gd name="connsiteX37" fmla="*/ 76581 w 292797"/>
                      <a:gd name="connsiteY37" fmla="*/ 61364 h 264441"/>
                      <a:gd name="connsiteX38" fmla="*/ 30480 w 292797"/>
                      <a:gd name="connsiteY38" fmla="*/ 61364 h 264441"/>
                      <a:gd name="connsiteX39" fmla="*/ 54006 w 292797"/>
                      <a:gd name="connsiteY39" fmla="*/ 13739 h 264441"/>
                      <a:gd name="connsiteX40" fmla="*/ 49653 w 292797"/>
                      <a:gd name="connsiteY40" fmla="*/ 994 h 264441"/>
                      <a:gd name="connsiteX41" fmla="*/ 49625 w 292797"/>
                      <a:gd name="connsiteY41" fmla="*/ 975 h 264441"/>
                      <a:gd name="connsiteX42" fmla="*/ 36880 w 292797"/>
                      <a:gd name="connsiteY42" fmla="*/ 5328 h 264441"/>
                      <a:gd name="connsiteX43" fmla="*/ 36861 w 292797"/>
                      <a:gd name="connsiteY43" fmla="*/ 5357 h 264441"/>
                      <a:gd name="connsiteX44" fmla="*/ 0 w 292797"/>
                      <a:gd name="connsiteY44" fmla="*/ 80890 h 264441"/>
                      <a:gd name="connsiteX45" fmla="*/ 48863 w 292797"/>
                      <a:gd name="connsiteY45" fmla="*/ 80890 h 264441"/>
                      <a:gd name="connsiteX46" fmla="*/ 30194 w 292797"/>
                      <a:gd name="connsiteY46" fmla="*/ 129277 h 264441"/>
                      <a:gd name="connsiteX0" fmla="*/ 137445 w 292797"/>
                      <a:gd name="connsiteY0" fmla="*/ 173473 h 264441"/>
                      <a:gd name="connsiteX1" fmla="*/ 137350 w 292797"/>
                      <a:gd name="connsiteY1" fmla="*/ 227289 h 264441"/>
                      <a:gd name="connsiteX2" fmla="*/ 142208 w 292797"/>
                      <a:gd name="connsiteY2" fmla="*/ 239862 h 264441"/>
                      <a:gd name="connsiteX3" fmla="*/ 154781 w 292797"/>
                      <a:gd name="connsiteY3" fmla="*/ 235005 h 264441"/>
                      <a:gd name="connsiteX4" fmla="*/ 153447 w 292797"/>
                      <a:gd name="connsiteY4" fmla="*/ 192999 h 264441"/>
                      <a:gd name="connsiteX5" fmla="*/ 169545 w 292797"/>
                      <a:gd name="connsiteY5" fmla="*/ 181760 h 264441"/>
                      <a:gd name="connsiteX6" fmla="*/ 199358 w 292797"/>
                      <a:gd name="connsiteY6" fmla="*/ 192999 h 264441"/>
                      <a:gd name="connsiteX7" fmla="*/ 213741 w 292797"/>
                      <a:gd name="connsiteY7" fmla="*/ 234719 h 264441"/>
                      <a:gd name="connsiteX8" fmla="*/ 256413 w 292797"/>
                      <a:gd name="connsiteY8" fmla="*/ 246339 h 264441"/>
                      <a:gd name="connsiteX9" fmla="*/ 262128 w 292797"/>
                      <a:gd name="connsiteY9" fmla="*/ 246339 h 264441"/>
                      <a:gd name="connsiteX10" fmla="*/ 273748 w 292797"/>
                      <a:gd name="connsiteY10" fmla="*/ 257293 h 264441"/>
                      <a:gd name="connsiteX11" fmla="*/ 283273 w 292797"/>
                      <a:gd name="connsiteY11" fmla="*/ 264437 h 264441"/>
                      <a:gd name="connsiteX12" fmla="*/ 285654 w 292797"/>
                      <a:gd name="connsiteY12" fmla="*/ 264437 h 264441"/>
                      <a:gd name="connsiteX13" fmla="*/ 292512 w 292797"/>
                      <a:gd name="connsiteY13" fmla="*/ 252912 h 264441"/>
                      <a:gd name="connsiteX14" fmla="*/ 262413 w 292797"/>
                      <a:gd name="connsiteY14" fmla="*/ 227575 h 264441"/>
                      <a:gd name="connsiteX15" fmla="*/ 255936 w 292797"/>
                      <a:gd name="connsiteY15" fmla="*/ 227575 h 264441"/>
                      <a:gd name="connsiteX16" fmla="*/ 241363 w 292797"/>
                      <a:gd name="connsiteY16" fmla="*/ 227575 h 264441"/>
                      <a:gd name="connsiteX17" fmla="*/ 270605 w 292797"/>
                      <a:gd name="connsiteY17" fmla="*/ 214716 h 264441"/>
                      <a:gd name="connsiteX18" fmla="*/ 281225 w 292797"/>
                      <a:gd name="connsiteY18" fmla="*/ 206287 h 264441"/>
                      <a:gd name="connsiteX19" fmla="*/ 272796 w 292797"/>
                      <a:gd name="connsiteY19" fmla="*/ 195666 h 264441"/>
                      <a:gd name="connsiteX20" fmla="*/ 224694 w 292797"/>
                      <a:gd name="connsiteY20" fmla="*/ 218145 h 264441"/>
                      <a:gd name="connsiteX21" fmla="*/ 218694 w 292797"/>
                      <a:gd name="connsiteY21" fmla="*/ 191190 h 264441"/>
                      <a:gd name="connsiteX22" fmla="*/ 252031 w 292797"/>
                      <a:gd name="connsiteY22" fmla="*/ 165948 h 264441"/>
                      <a:gd name="connsiteX23" fmla="*/ 249459 w 292797"/>
                      <a:gd name="connsiteY23" fmla="*/ 152804 h 264441"/>
                      <a:gd name="connsiteX24" fmla="*/ 236229 w 292797"/>
                      <a:gd name="connsiteY24" fmla="*/ 155357 h 264441"/>
                      <a:gd name="connsiteX25" fmla="*/ 236220 w 292797"/>
                      <a:gd name="connsiteY25" fmla="*/ 155376 h 264441"/>
                      <a:gd name="connsiteX26" fmla="*/ 207645 w 292797"/>
                      <a:gd name="connsiteY26" fmla="*/ 174426 h 264441"/>
                      <a:gd name="connsiteX27" fmla="*/ 178308 w 292797"/>
                      <a:gd name="connsiteY27" fmla="*/ 164901 h 264441"/>
                      <a:gd name="connsiteX28" fmla="*/ 180022 w 292797"/>
                      <a:gd name="connsiteY28" fmla="*/ 143088 h 264441"/>
                      <a:gd name="connsiteX29" fmla="*/ 169354 w 292797"/>
                      <a:gd name="connsiteY29" fmla="*/ 134706 h 264441"/>
                      <a:gd name="connsiteX30" fmla="*/ 160972 w 292797"/>
                      <a:gd name="connsiteY30" fmla="*/ 145374 h 264441"/>
                      <a:gd name="connsiteX31" fmla="*/ 137445 w 292797"/>
                      <a:gd name="connsiteY31" fmla="*/ 173473 h 264441"/>
                      <a:gd name="connsiteX32" fmla="*/ 30194 w 292797"/>
                      <a:gd name="connsiteY32" fmla="*/ 129277 h 264441"/>
                      <a:gd name="connsiteX33" fmla="*/ 35623 w 292797"/>
                      <a:gd name="connsiteY33" fmla="*/ 141564 h 264441"/>
                      <a:gd name="connsiteX34" fmla="*/ 39052 w 292797"/>
                      <a:gd name="connsiteY34" fmla="*/ 142136 h 264441"/>
                      <a:gd name="connsiteX35" fmla="*/ 48006 w 292797"/>
                      <a:gd name="connsiteY35" fmla="*/ 136040 h 264441"/>
                      <a:gd name="connsiteX36" fmla="*/ 76581 w 292797"/>
                      <a:gd name="connsiteY36" fmla="*/ 61364 h 264441"/>
                      <a:gd name="connsiteX37" fmla="*/ 30480 w 292797"/>
                      <a:gd name="connsiteY37" fmla="*/ 61364 h 264441"/>
                      <a:gd name="connsiteX38" fmla="*/ 54006 w 292797"/>
                      <a:gd name="connsiteY38" fmla="*/ 13739 h 264441"/>
                      <a:gd name="connsiteX39" fmla="*/ 49653 w 292797"/>
                      <a:gd name="connsiteY39" fmla="*/ 994 h 264441"/>
                      <a:gd name="connsiteX40" fmla="*/ 49625 w 292797"/>
                      <a:gd name="connsiteY40" fmla="*/ 975 h 264441"/>
                      <a:gd name="connsiteX41" fmla="*/ 36880 w 292797"/>
                      <a:gd name="connsiteY41" fmla="*/ 5328 h 264441"/>
                      <a:gd name="connsiteX42" fmla="*/ 36861 w 292797"/>
                      <a:gd name="connsiteY42" fmla="*/ 5357 h 264441"/>
                      <a:gd name="connsiteX43" fmla="*/ 0 w 292797"/>
                      <a:gd name="connsiteY43" fmla="*/ 80890 h 264441"/>
                      <a:gd name="connsiteX44" fmla="*/ 48863 w 292797"/>
                      <a:gd name="connsiteY44" fmla="*/ 80890 h 264441"/>
                      <a:gd name="connsiteX45" fmla="*/ 30194 w 292797"/>
                      <a:gd name="connsiteY45" fmla="*/ 129277 h 264441"/>
                      <a:gd name="connsiteX0" fmla="*/ 137445 w 292797"/>
                      <a:gd name="connsiteY0" fmla="*/ 173473 h 264441"/>
                      <a:gd name="connsiteX1" fmla="*/ 142208 w 292797"/>
                      <a:gd name="connsiteY1" fmla="*/ 239862 h 264441"/>
                      <a:gd name="connsiteX2" fmla="*/ 154781 w 292797"/>
                      <a:gd name="connsiteY2" fmla="*/ 235005 h 264441"/>
                      <a:gd name="connsiteX3" fmla="*/ 153447 w 292797"/>
                      <a:gd name="connsiteY3" fmla="*/ 192999 h 264441"/>
                      <a:gd name="connsiteX4" fmla="*/ 169545 w 292797"/>
                      <a:gd name="connsiteY4" fmla="*/ 181760 h 264441"/>
                      <a:gd name="connsiteX5" fmla="*/ 199358 w 292797"/>
                      <a:gd name="connsiteY5" fmla="*/ 192999 h 264441"/>
                      <a:gd name="connsiteX6" fmla="*/ 213741 w 292797"/>
                      <a:gd name="connsiteY6" fmla="*/ 234719 h 264441"/>
                      <a:gd name="connsiteX7" fmla="*/ 256413 w 292797"/>
                      <a:gd name="connsiteY7" fmla="*/ 246339 h 264441"/>
                      <a:gd name="connsiteX8" fmla="*/ 262128 w 292797"/>
                      <a:gd name="connsiteY8" fmla="*/ 246339 h 264441"/>
                      <a:gd name="connsiteX9" fmla="*/ 273748 w 292797"/>
                      <a:gd name="connsiteY9" fmla="*/ 257293 h 264441"/>
                      <a:gd name="connsiteX10" fmla="*/ 283273 w 292797"/>
                      <a:gd name="connsiteY10" fmla="*/ 264437 h 264441"/>
                      <a:gd name="connsiteX11" fmla="*/ 285654 w 292797"/>
                      <a:gd name="connsiteY11" fmla="*/ 264437 h 264441"/>
                      <a:gd name="connsiteX12" fmla="*/ 292512 w 292797"/>
                      <a:gd name="connsiteY12" fmla="*/ 252912 h 264441"/>
                      <a:gd name="connsiteX13" fmla="*/ 262413 w 292797"/>
                      <a:gd name="connsiteY13" fmla="*/ 227575 h 264441"/>
                      <a:gd name="connsiteX14" fmla="*/ 255936 w 292797"/>
                      <a:gd name="connsiteY14" fmla="*/ 227575 h 264441"/>
                      <a:gd name="connsiteX15" fmla="*/ 241363 w 292797"/>
                      <a:gd name="connsiteY15" fmla="*/ 227575 h 264441"/>
                      <a:gd name="connsiteX16" fmla="*/ 270605 w 292797"/>
                      <a:gd name="connsiteY16" fmla="*/ 214716 h 264441"/>
                      <a:gd name="connsiteX17" fmla="*/ 281225 w 292797"/>
                      <a:gd name="connsiteY17" fmla="*/ 206287 h 264441"/>
                      <a:gd name="connsiteX18" fmla="*/ 272796 w 292797"/>
                      <a:gd name="connsiteY18" fmla="*/ 195666 h 264441"/>
                      <a:gd name="connsiteX19" fmla="*/ 224694 w 292797"/>
                      <a:gd name="connsiteY19" fmla="*/ 218145 h 264441"/>
                      <a:gd name="connsiteX20" fmla="*/ 218694 w 292797"/>
                      <a:gd name="connsiteY20" fmla="*/ 191190 h 264441"/>
                      <a:gd name="connsiteX21" fmla="*/ 252031 w 292797"/>
                      <a:gd name="connsiteY21" fmla="*/ 165948 h 264441"/>
                      <a:gd name="connsiteX22" fmla="*/ 249459 w 292797"/>
                      <a:gd name="connsiteY22" fmla="*/ 152804 h 264441"/>
                      <a:gd name="connsiteX23" fmla="*/ 236229 w 292797"/>
                      <a:gd name="connsiteY23" fmla="*/ 155357 h 264441"/>
                      <a:gd name="connsiteX24" fmla="*/ 236220 w 292797"/>
                      <a:gd name="connsiteY24" fmla="*/ 155376 h 264441"/>
                      <a:gd name="connsiteX25" fmla="*/ 207645 w 292797"/>
                      <a:gd name="connsiteY25" fmla="*/ 174426 h 264441"/>
                      <a:gd name="connsiteX26" fmla="*/ 178308 w 292797"/>
                      <a:gd name="connsiteY26" fmla="*/ 164901 h 264441"/>
                      <a:gd name="connsiteX27" fmla="*/ 180022 w 292797"/>
                      <a:gd name="connsiteY27" fmla="*/ 143088 h 264441"/>
                      <a:gd name="connsiteX28" fmla="*/ 169354 w 292797"/>
                      <a:gd name="connsiteY28" fmla="*/ 134706 h 264441"/>
                      <a:gd name="connsiteX29" fmla="*/ 160972 w 292797"/>
                      <a:gd name="connsiteY29" fmla="*/ 145374 h 264441"/>
                      <a:gd name="connsiteX30" fmla="*/ 137445 w 292797"/>
                      <a:gd name="connsiteY30" fmla="*/ 173473 h 264441"/>
                      <a:gd name="connsiteX31" fmla="*/ 30194 w 292797"/>
                      <a:gd name="connsiteY31" fmla="*/ 129277 h 264441"/>
                      <a:gd name="connsiteX32" fmla="*/ 35623 w 292797"/>
                      <a:gd name="connsiteY32" fmla="*/ 141564 h 264441"/>
                      <a:gd name="connsiteX33" fmla="*/ 39052 w 292797"/>
                      <a:gd name="connsiteY33" fmla="*/ 142136 h 264441"/>
                      <a:gd name="connsiteX34" fmla="*/ 48006 w 292797"/>
                      <a:gd name="connsiteY34" fmla="*/ 136040 h 264441"/>
                      <a:gd name="connsiteX35" fmla="*/ 76581 w 292797"/>
                      <a:gd name="connsiteY35" fmla="*/ 61364 h 264441"/>
                      <a:gd name="connsiteX36" fmla="*/ 30480 w 292797"/>
                      <a:gd name="connsiteY36" fmla="*/ 61364 h 264441"/>
                      <a:gd name="connsiteX37" fmla="*/ 54006 w 292797"/>
                      <a:gd name="connsiteY37" fmla="*/ 13739 h 264441"/>
                      <a:gd name="connsiteX38" fmla="*/ 49653 w 292797"/>
                      <a:gd name="connsiteY38" fmla="*/ 994 h 264441"/>
                      <a:gd name="connsiteX39" fmla="*/ 49625 w 292797"/>
                      <a:gd name="connsiteY39" fmla="*/ 975 h 264441"/>
                      <a:gd name="connsiteX40" fmla="*/ 36880 w 292797"/>
                      <a:gd name="connsiteY40" fmla="*/ 5328 h 264441"/>
                      <a:gd name="connsiteX41" fmla="*/ 36861 w 292797"/>
                      <a:gd name="connsiteY41" fmla="*/ 5357 h 264441"/>
                      <a:gd name="connsiteX42" fmla="*/ 0 w 292797"/>
                      <a:gd name="connsiteY42" fmla="*/ 80890 h 264441"/>
                      <a:gd name="connsiteX43" fmla="*/ 48863 w 292797"/>
                      <a:gd name="connsiteY43" fmla="*/ 80890 h 264441"/>
                      <a:gd name="connsiteX44" fmla="*/ 30194 w 292797"/>
                      <a:gd name="connsiteY44" fmla="*/ 129277 h 264441"/>
                      <a:gd name="connsiteX0" fmla="*/ 137445 w 292797"/>
                      <a:gd name="connsiteY0" fmla="*/ 173473 h 264441"/>
                      <a:gd name="connsiteX1" fmla="*/ 154781 w 292797"/>
                      <a:gd name="connsiteY1" fmla="*/ 235005 h 264441"/>
                      <a:gd name="connsiteX2" fmla="*/ 153447 w 292797"/>
                      <a:gd name="connsiteY2" fmla="*/ 192999 h 264441"/>
                      <a:gd name="connsiteX3" fmla="*/ 169545 w 292797"/>
                      <a:gd name="connsiteY3" fmla="*/ 181760 h 264441"/>
                      <a:gd name="connsiteX4" fmla="*/ 199358 w 292797"/>
                      <a:gd name="connsiteY4" fmla="*/ 192999 h 264441"/>
                      <a:gd name="connsiteX5" fmla="*/ 213741 w 292797"/>
                      <a:gd name="connsiteY5" fmla="*/ 234719 h 264441"/>
                      <a:gd name="connsiteX6" fmla="*/ 256413 w 292797"/>
                      <a:gd name="connsiteY6" fmla="*/ 246339 h 264441"/>
                      <a:gd name="connsiteX7" fmla="*/ 262128 w 292797"/>
                      <a:gd name="connsiteY7" fmla="*/ 246339 h 264441"/>
                      <a:gd name="connsiteX8" fmla="*/ 273748 w 292797"/>
                      <a:gd name="connsiteY8" fmla="*/ 257293 h 264441"/>
                      <a:gd name="connsiteX9" fmla="*/ 283273 w 292797"/>
                      <a:gd name="connsiteY9" fmla="*/ 264437 h 264441"/>
                      <a:gd name="connsiteX10" fmla="*/ 285654 w 292797"/>
                      <a:gd name="connsiteY10" fmla="*/ 264437 h 264441"/>
                      <a:gd name="connsiteX11" fmla="*/ 292512 w 292797"/>
                      <a:gd name="connsiteY11" fmla="*/ 252912 h 264441"/>
                      <a:gd name="connsiteX12" fmla="*/ 262413 w 292797"/>
                      <a:gd name="connsiteY12" fmla="*/ 227575 h 264441"/>
                      <a:gd name="connsiteX13" fmla="*/ 255936 w 292797"/>
                      <a:gd name="connsiteY13" fmla="*/ 227575 h 264441"/>
                      <a:gd name="connsiteX14" fmla="*/ 241363 w 292797"/>
                      <a:gd name="connsiteY14" fmla="*/ 227575 h 264441"/>
                      <a:gd name="connsiteX15" fmla="*/ 270605 w 292797"/>
                      <a:gd name="connsiteY15" fmla="*/ 214716 h 264441"/>
                      <a:gd name="connsiteX16" fmla="*/ 281225 w 292797"/>
                      <a:gd name="connsiteY16" fmla="*/ 206287 h 264441"/>
                      <a:gd name="connsiteX17" fmla="*/ 272796 w 292797"/>
                      <a:gd name="connsiteY17" fmla="*/ 195666 h 264441"/>
                      <a:gd name="connsiteX18" fmla="*/ 224694 w 292797"/>
                      <a:gd name="connsiteY18" fmla="*/ 218145 h 264441"/>
                      <a:gd name="connsiteX19" fmla="*/ 218694 w 292797"/>
                      <a:gd name="connsiteY19" fmla="*/ 191190 h 264441"/>
                      <a:gd name="connsiteX20" fmla="*/ 252031 w 292797"/>
                      <a:gd name="connsiteY20" fmla="*/ 165948 h 264441"/>
                      <a:gd name="connsiteX21" fmla="*/ 249459 w 292797"/>
                      <a:gd name="connsiteY21" fmla="*/ 152804 h 264441"/>
                      <a:gd name="connsiteX22" fmla="*/ 236229 w 292797"/>
                      <a:gd name="connsiteY22" fmla="*/ 155357 h 264441"/>
                      <a:gd name="connsiteX23" fmla="*/ 236220 w 292797"/>
                      <a:gd name="connsiteY23" fmla="*/ 155376 h 264441"/>
                      <a:gd name="connsiteX24" fmla="*/ 207645 w 292797"/>
                      <a:gd name="connsiteY24" fmla="*/ 174426 h 264441"/>
                      <a:gd name="connsiteX25" fmla="*/ 178308 w 292797"/>
                      <a:gd name="connsiteY25" fmla="*/ 164901 h 264441"/>
                      <a:gd name="connsiteX26" fmla="*/ 180022 w 292797"/>
                      <a:gd name="connsiteY26" fmla="*/ 143088 h 264441"/>
                      <a:gd name="connsiteX27" fmla="*/ 169354 w 292797"/>
                      <a:gd name="connsiteY27" fmla="*/ 134706 h 264441"/>
                      <a:gd name="connsiteX28" fmla="*/ 160972 w 292797"/>
                      <a:gd name="connsiteY28" fmla="*/ 145374 h 264441"/>
                      <a:gd name="connsiteX29" fmla="*/ 137445 w 292797"/>
                      <a:gd name="connsiteY29" fmla="*/ 173473 h 264441"/>
                      <a:gd name="connsiteX30" fmla="*/ 30194 w 292797"/>
                      <a:gd name="connsiteY30" fmla="*/ 129277 h 264441"/>
                      <a:gd name="connsiteX31" fmla="*/ 35623 w 292797"/>
                      <a:gd name="connsiteY31" fmla="*/ 141564 h 264441"/>
                      <a:gd name="connsiteX32" fmla="*/ 39052 w 292797"/>
                      <a:gd name="connsiteY32" fmla="*/ 142136 h 264441"/>
                      <a:gd name="connsiteX33" fmla="*/ 48006 w 292797"/>
                      <a:gd name="connsiteY33" fmla="*/ 136040 h 264441"/>
                      <a:gd name="connsiteX34" fmla="*/ 76581 w 292797"/>
                      <a:gd name="connsiteY34" fmla="*/ 61364 h 264441"/>
                      <a:gd name="connsiteX35" fmla="*/ 30480 w 292797"/>
                      <a:gd name="connsiteY35" fmla="*/ 61364 h 264441"/>
                      <a:gd name="connsiteX36" fmla="*/ 54006 w 292797"/>
                      <a:gd name="connsiteY36" fmla="*/ 13739 h 264441"/>
                      <a:gd name="connsiteX37" fmla="*/ 49653 w 292797"/>
                      <a:gd name="connsiteY37" fmla="*/ 994 h 264441"/>
                      <a:gd name="connsiteX38" fmla="*/ 49625 w 292797"/>
                      <a:gd name="connsiteY38" fmla="*/ 975 h 264441"/>
                      <a:gd name="connsiteX39" fmla="*/ 36880 w 292797"/>
                      <a:gd name="connsiteY39" fmla="*/ 5328 h 264441"/>
                      <a:gd name="connsiteX40" fmla="*/ 36861 w 292797"/>
                      <a:gd name="connsiteY40" fmla="*/ 5357 h 264441"/>
                      <a:gd name="connsiteX41" fmla="*/ 0 w 292797"/>
                      <a:gd name="connsiteY41" fmla="*/ 80890 h 264441"/>
                      <a:gd name="connsiteX42" fmla="*/ 48863 w 292797"/>
                      <a:gd name="connsiteY42" fmla="*/ 80890 h 264441"/>
                      <a:gd name="connsiteX43" fmla="*/ 30194 w 292797"/>
                      <a:gd name="connsiteY43" fmla="*/ 129277 h 264441"/>
                      <a:gd name="connsiteX0" fmla="*/ 137445 w 292797"/>
                      <a:gd name="connsiteY0" fmla="*/ 173473 h 264441"/>
                      <a:gd name="connsiteX1" fmla="*/ 153447 w 292797"/>
                      <a:gd name="connsiteY1" fmla="*/ 192999 h 264441"/>
                      <a:gd name="connsiteX2" fmla="*/ 169545 w 292797"/>
                      <a:gd name="connsiteY2" fmla="*/ 181760 h 264441"/>
                      <a:gd name="connsiteX3" fmla="*/ 199358 w 292797"/>
                      <a:gd name="connsiteY3" fmla="*/ 192999 h 264441"/>
                      <a:gd name="connsiteX4" fmla="*/ 213741 w 292797"/>
                      <a:gd name="connsiteY4" fmla="*/ 234719 h 264441"/>
                      <a:gd name="connsiteX5" fmla="*/ 256413 w 292797"/>
                      <a:gd name="connsiteY5" fmla="*/ 246339 h 264441"/>
                      <a:gd name="connsiteX6" fmla="*/ 262128 w 292797"/>
                      <a:gd name="connsiteY6" fmla="*/ 246339 h 264441"/>
                      <a:gd name="connsiteX7" fmla="*/ 273748 w 292797"/>
                      <a:gd name="connsiteY7" fmla="*/ 257293 h 264441"/>
                      <a:gd name="connsiteX8" fmla="*/ 283273 w 292797"/>
                      <a:gd name="connsiteY8" fmla="*/ 264437 h 264441"/>
                      <a:gd name="connsiteX9" fmla="*/ 285654 w 292797"/>
                      <a:gd name="connsiteY9" fmla="*/ 264437 h 264441"/>
                      <a:gd name="connsiteX10" fmla="*/ 292512 w 292797"/>
                      <a:gd name="connsiteY10" fmla="*/ 252912 h 264441"/>
                      <a:gd name="connsiteX11" fmla="*/ 262413 w 292797"/>
                      <a:gd name="connsiteY11" fmla="*/ 227575 h 264441"/>
                      <a:gd name="connsiteX12" fmla="*/ 255936 w 292797"/>
                      <a:gd name="connsiteY12" fmla="*/ 227575 h 264441"/>
                      <a:gd name="connsiteX13" fmla="*/ 241363 w 292797"/>
                      <a:gd name="connsiteY13" fmla="*/ 227575 h 264441"/>
                      <a:gd name="connsiteX14" fmla="*/ 270605 w 292797"/>
                      <a:gd name="connsiteY14" fmla="*/ 214716 h 264441"/>
                      <a:gd name="connsiteX15" fmla="*/ 281225 w 292797"/>
                      <a:gd name="connsiteY15" fmla="*/ 206287 h 264441"/>
                      <a:gd name="connsiteX16" fmla="*/ 272796 w 292797"/>
                      <a:gd name="connsiteY16" fmla="*/ 195666 h 264441"/>
                      <a:gd name="connsiteX17" fmla="*/ 224694 w 292797"/>
                      <a:gd name="connsiteY17" fmla="*/ 218145 h 264441"/>
                      <a:gd name="connsiteX18" fmla="*/ 218694 w 292797"/>
                      <a:gd name="connsiteY18" fmla="*/ 191190 h 264441"/>
                      <a:gd name="connsiteX19" fmla="*/ 252031 w 292797"/>
                      <a:gd name="connsiteY19" fmla="*/ 165948 h 264441"/>
                      <a:gd name="connsiteX20" fmla="*/ 249459 w 292797"/>
                      <a:gd name="connsiteY20" fmla="*/ 152804 h 264441"/>
                      <a:gd name="connsiteX21" fmla="*/ 236229 w 292797"/>
                      <a:gd name="connsiteY21" fmla="*/ 155357 h 264441"/>
                      <a:gd name="connsiteX22" fmla="*/ 236220 w 292797"/>
                      <a:gd name="connsiteY22" fmla="*/ 155376 h 264441"/>
                      <a:gd name="connsiteX23" fmla="*/ 207645 w 292797"/>
                      <a:gd name="connsiteY23" fmla="*/ 174426 h 264441"/>
                      <a:gd name="connsiteX24" fmla="*/ 178308 w 292797"/>
                      <a:gd name="connsiteY24" fmla="*/ 164901 h 264441"/>
                      <a:gd name="connsiteX25" fmla="*/ 180022 w 292797"/>
                      <a:gd name="connsiteY25" fmla="*/ 143088 h 264441"/>
                      <a:gd name="connsiteX26" fmla="*/ 169354 w 292797"/>
                      <a:gd name="connsiteY26" fmla="*/ 134706 h 264441"/>
                      <a:gd name="connsiteX27" fmla="*/ 160972 w 292797"/>
                      <a:gd name="connsiteY27" fmla="*/ 145374 h 264441"/>
                      <a:gd name="connsiteX28" fmla="*/ 137445 w 292797"/>
                      <a:gd name="connsiteY28" fmla="*/ 173473 h 264441"/>
                      <a:gd name="connsiteX29" fmla="*/ 30194 w 292797"/>
                      <a:gd name="connsiteY29" fmla="*/ 129277 h 264441"/>
                      <a:gd name="connsiteX30" fmla="*/ 35623 w 292797"/>
                      <a:gd name="connsiteY30" fmla="*/ 141564 h 264441"/>
                      <a:gd name="connsiteX31" fmla="*/ 39052 w 292797"/>
                      <a:gd name="connsiteY31" fmla="*/ 142136 h 264441"/>
                      <a:gd name="connsiteX32" fmla="*/ 48006 w 292797"/>
                      <a:gd name="connsiteY32" fmla="*/ 136040 h 264441"/>
                      <a:gd name="connsiteX33" fmla="*/ 76581 w 292797"/>
                      <a:gd name="connsiteY33" fmla="*/ 61364 h 264441"/>
                      <a:gd name="connsiteX34" fmla="*/ 30480 w 292797"/>
                      <a:gd name="connsiteY34" fmla="*/ 61364 h 264441"/>
                      <a:gd name="connsiteX35" fmla="*/ 54006 w 292797"/>
                      <a:gd name="connsiteY35" fmla="*/ 13739 h 264441"/>
                      <a:gd name="connsiteX36" fmla="*/ 49653 w 292797"/>
                      <a:gd name="connsiteY36" fmla="*/ 994 h 264441"/>
                      <a:gd name="connsiteX37" fmla="*/ 49625 w 292797"/>
                      <a:gd name="connsiteY37" fmla="*/ 975 h 264441"/>
                      <a:gd name="connsiteX38" fmla="*/ 36880 w 292797"/>
                      <a:gd name="connsiteY38" fmla="*/ 5328 h 264441"/>
                      <a:gd name="connsiteX39" fmla="*/ 36861 w 292797"/>
                      <a:gd name="connsiteY39" fmla="*/ 5357 h 264441"/>
                      <a:gd name="connsiteX40" fmla="*/ 0 w 292797"/>
                      <a:gd name="connsiteY40" fmla="*/ 80890 h 264441"/>
                      <a:gd name="connsiteX41" fmla="*/ 48863 w 292797"/>
                      <a:gd name="connsiteY41" fmla="*/ 80890 h 264441"/>
                      <a:gd name="connsiteX42" fmla="*/ 30194 w 292797"/>
                      <a:gd name="connsiteY42" fmla="*/ 129277 h 264441"/>
                      <a:gd name="connsiteX0" fmla="*/ 137445 w 292512"/>
                      <a:gd name="connsiteY0" fmla="*/ 173473 h 264441"/>
                      <a:gd name="connsiteX1" fmla="*/ 153447 w 292512"/>
                      <a:gd name="connsiteY1" fmla="*/ 192999 h 264441"/>
                      <a:gd name="connsiteX2" fmla="*/ 169545 w 292512"/>
                      <a:gd name="connsiteY2" fmla="*/ 181760 h 264441"/>
                      <a:gd name="connsiteX3" fmla="*/ 199358 w 292512"/>
                      <a:gd name="connsiteY3" fmla="*/ 192999 h 264441"/>
                      <a:gd name="connsiteX4" fmla="*/ 213741 w 292512"/>
                      <a:gd name="connsiteY4" fmla="*/ 234719 h 264441"/>
                      <a:gd name="connsiteX5" fmla="*/ 256413 w 292512"/>
                      <a:gd name="connsiteY5" fmla="*/ 246339 h 264441"/>
                      <a:gd name="connsiteX6" fmla="*/ 262128 w 292512"/>
                      <a:gd name="connsiteY6" fmla="*/ 246339 h 264441"/>
                      <a:gd name="connsiteX7" fmla="*/ 273748 w 292512"/>
                      <a:gd name="connsiteY7" fmla="*/ 257293 h 264441"/>
                      <a:gd name="connsiteX8" fmla="*/ 283273 w 292512"/>
                      <a:gd name="connsiteY8" fmla="*/ 264437 h 264441"/>
                      <a:gd name="connsiteX9" fmla="*/ 292512 w 292512"/>
                      <a:gd name="connsiteY9" fmla="*/ 252912 h 264441"/>
                      <a:gd name="connsiteX10" fmla="*/ 262413 w 292512"/>
                      <a:gd name="connsiteY10" fmla="*/ 227575 h 264441"/>
                      <a:gd name="connsiteX11" fmla="*/ 255936 w 292512"/>
                      <a:gd name="connsiteY11" fmla="*/ 227575 h 264441"/>
                      <a:gd name="connsiteX12" fmla="*/ 241363 w 292512"/>
                      <a:gd name="connsiteY12" fmla="*/ 227575 h 264441"/>
                      <a:gd name="connsiteX13" fmla="*/ 270605 w 292512"/>
                      <a:gd name="connsiteY13" fmla="*/ 214716 h 264441"/>
                      <a:gd name="connsiteX14" fmla="*/ 281225 w 292512"/>
                      <a:gd name="connsiteY14" fmla="*/ 206287 h 264441"/>
                      <a:gd name="connsiteX15" fmla="*/ 272796 w 292512"/>
                      <a:gd name="connsiteY15" fmla="*/ 195666 h 264441"/>
                      <a:gd name="connsiteX16" fmla="*/ 224694 w 292512"/>
                      <a:gd name="connsiteY16" fmla="*/ 218145 h 264441"/>
                      <a:gd name="connsiteX17" fmla="*/ 218694 w 292512"/>
                      <a:gd name="connsiteY17" fmla="*/ 191190 h 264441"/>
                      <a:gd name="connsiteX18" fmla="*/ 252031 w 292512"/>
                      <a:gd name="connsiteY18" fmla="*/ 165948 h 264441"/>
                      <a:gd name="connsiteX19" fmla="*/ 249459 w 292512"/>
                      <a:gd name="connsiteY19" fmla="*/ 152804 h 264441"/>
                      <a:gd name="connsiteX20" fmla="*/ 236229 w 292512"/>
                      <a:gd name="connsiteY20" fmla="*/ 155357 h 264441"/>
                      <a:gd name="connsiteX21" fmla="*/ 236220 w 292512"/>
                      <a:gd name="connsiteY21" fmla="*/ 155376 h 264441"/>
                      <a:gd name="connsiteX22" fmla="*/ 207645 w 292512"/>
                      <a:gd name="connsiteY22" fmla="*/ 174426 h 264441"/>
                      <a:gd name="connsiteX23" fmla="*/ 178308 w 292512"/>
                      <a:gd name="connsiteY23" fmla="*/ 164901 h 264441"/>
                      <a:gd name="connsiteX24" fmla="*/ 180022 w 292512"/>
                      <a:gd name="connsiteY24" fmla="*/ 143088 h 264441"/>
                      <a:gd name="connsiteX25" fmla="*/ 169354 w 292512"/>
                      <a:gd name="connsiteY25" fmla="*/ 134706 h 264441"/>
                      <a:gd name="connsiteX26" fmla="*/ 160972 w 292512"/>
                      <a:gd name="connsiteY26" fmla="*/ 145374 h 264441"/>
                      <a:gd name="connsiteX27" fmla="*/ 137445 w 292512"/>
                      <a:gd name="connsiteY27" fmla="*/ 173473 h 264441"/>
                      <a:gd name="connsiteX28" fmla="*/ 30194 w 292512"/>
                      <a:gd name="connsiteY28" fmla="*/ 129277 h 264441"/>
                      <a:gd name="connsiteX29" fmla="*/ 35623 w 292512"/>
                      <a:gd name="connsiteY29" fmla="*/ 141564 h 264441"/>
                      <a:gd name="connsiteX30" fmla="*/ 39052 w 292512"/>
                      <a:gd name="connsiteY30" fmla="*/ 142136 h 264441"/>
                      <a:gd name="connsiteX31" fmla="*/ 48006 w 292512"/>
                      <a:gd name="connsiteY31" fmla="*/ 136040 h 264441"/>
                      <a:gd name="connsiteX32" fmla="*/ 76581 w 292512"/>
                      <a:gd name="connsiteY32" fmla="*/ 61364 h 264441"/>
                      <a:gd name="connsiteX33" fmla="*/ 30480 w 292512"/>
                      <a:gd name="connsiteY33" fmla="*/ 61364 h 264441"/>
                      <a:gd name="connsiteX34" fmla="*/ 54006 w 292512"/>
                      <a:gd name="connsiteY34" fmla="*/ 13739 h 264441"/>
                      <a:gd name="connsiteX35" fmla="*/ 49653 w 292512"/>
                      <a:gd name="connsiteY35" fmla="*/ 994 h 264441"/>
                      <a:gd name="connsiteX36" fmla="*/ 49625 w 292512"/>
                      <a:gd name="connsiteY36" fmla="*/ 975 h 264441"/>
                      <a:gd name="connsiteX37" fmla="*/ 36880 w 292512"/>
                      <a:gd name="connsiteY37" fmla="*/ 5328 h 264441"/>
                      <a:gd name="connsiteX38" fmla="*/ 36861 w 292512"/>
                      <a:gd name="connsiteY38" fmla="*/ 5357 h 264441"/>
                      <a:gd name="connsiteX39" fmla="*/ 0 w 292512"/>
                      <a:gd name="connsiteY39" fmla="*/ 80890 h 264441"/>
                      <a:gd name="connsiteX40" fmla="*/ 48863 w 292512"/>
                      <a:gd name="connsiteY40" fmla="*/ 80890 h 264441"/>
                      <a:gd name="connsiteX41" fmla="*/ 30194 w 292512"/>
                      <a:gd name="connsiteY41" fmla="*/ 129277 h 264441"/>
                      <a:gd name="connsiteX0" fmla="*/ 137445 w 292512"/>
                      <a:gd name="connsiteY0" fmla="*/ 173473 h 264437"/>
                      <a:gd name="connsiteX1" fmla="*/ 153447 w 292512"/>
                      <a:gd name="connsiteY1" fmla="*/ 192999 h 264437"/>
                      <a:gd name="connsiteX2" fmla="*/ 169545 w 292512"/>
                      <a:gd name="connsiteY2" fmla="*/ 181760 h 264437"/>
                      <a:gd name="connsiteX3" fmla="*/ 199358 w 292512"/>
                      <a:gd name="connsiteY3" fmla="*/ 192999 h 264437"/>
                      <a:gd name="connsiteX4" fmla="*/ 213741 w 292512"/>
                      <a:gd name="connsiteY4" fmla="*/ 234719 h 264437"/>
                      <a:gd name="connsiteX5" fmla="*/ 256413 w 292512"/>
                      <a:gd name="connsiteY5" fmla="*/ 246339 h 264437"/>
                      <a:gd name="connsiteX6" fmla="*/ 262128 w 292512"/>
                      <a:gd name="connsiteY6" fmla="*/ 246339 h 264437"/>
                      <a:gd name="connsiteX7" fmla="*/ 283273 w 292512"/>
                      <a:gd name="connsiteY7" fmla="*/ 264437 h 264437"/>
                      <a:gd name="connsiteX8" fmla="*/ 292512 w 292512"/>
                      <a:gd name="connsiteY8" fmla="*/ 252912 h 264437"/>
                      <a:gd name="connsiteX9" fmla="*/ 262413 w 292512"/>
                      <a:gd name="connsiteY9" fmla="*/ 227575 h 264437"/>
                      <a:gd name="connsiteX10" fmla="*/ 255936 w 292512"/>
                      <a:gd name="connsiteY10" fmla="*/ 227575 h 264437"/>
                      <a:gd name="connsiteX11" fmla="*/ 241363 w 292512"/>
                      <a:gd name="connsiteY11" fmla="*/ 227575 h 264437"/>
                      <a:gd name="connsiteX12" fmla="*/ 270605 w 292512"/>
                      <a:gd name="connsiteY12" fmla="*/ 214716 h 264437"/>
                      <a:gd name="connsiteX13" fmla="*/ 281225 w 292512"/>
                      <a:gd name="connsiteY13" fmla="*/ 206287 h 264437"/>
                      <a:gd name="connsiteX14" fmla="*/ 272796 w 292512"/>
                      <a:gd name="connsiteY14" fmla="*/ 195666 h 264437"/>
                      <a:gd name="connsiteX15" fmla="*/ 224694 w 292512"/>
                      <a:gd name="connsiteY15" fmla="*/ 218145 h 264437"/>
                      <a:gd name="connsiteX16" fmla="*/ 218694 w 292512"/>
                      <a:gd name="connsiteY16" fmla="*/ 191190 h 264437"/>
                      <a:gd name="connsiteX17" fmla="*/ 252031 w 292512"/>
                      <a:gd name="connsiteY17" fmla="*/ 165948 h 264437"/>
                      <a:gd name="connsiteX18" fmla="*/ 249459 w 292512"/>
                      <a:gd name="connsiteY18" fmla="*/ 152804 h 264437"/>
                      <a:gd name="connsiteX19" fmla="*/ 236229 w 292512"/>
                      <a:gd name="connsiteY19" fmla="*/ 155357 h 264437"/>
                      <a:gd name="connsiteX20" fmla="*/ 236220 w 292512"/>
                      <a:gd name="connsiteY20" fmla="*/ 155376 h 264437"/>
                      <a:gd name="connsiteX21" fmla="*/ 207645 w 292512"/>
                      <a:gd name="connsiteY21" fmla="*/ 174426 h 264437"/>
                      <a:gd name="connsiteX22" fmla="*/ 178308 w 292512"/>
                      <a:gd name="connsiteY22" fmla="*/ 164901 h 264437"/>
                      <a:gd name="connsiteX23" fmla="*/ 180022 w 292512"/>
                      <a:gd name="connsiteY23" fmla="*/ 143088 h 264437"/>
                      <a:gd name="connsiteX24" fmla="*/ 169354 w 292512"/>
                      <a:gd name="connsiteY24" fmla="*/ 134706 h 264437"/>
                      <a:gd name="connsiteX25" fmla="*/ 160972 w 292512"/>
                      <a:gd name="connsiteY25" fmla="*/ 145374 h 264437"/>
                      <a:gd name="connsiteX26" fmla="*/ 137445 w 292512"/>
                      <a:gd name="connsiteY26" fmla="*/ 173473 h 264437"/>
                      <a:gd name="connsiteX27" fmla="*/ 30194 w 292512"/>
                      <a:gd name="connsiteY27" fmla="*/ 129277 h 264437"/>
                      <a:gd name="connsiteX28" fmla="*/ 35623 w 292512"/>
                      <a:gd name="connsiteY28" fmla="*/ 141564 h 264437"/>
                      <a:gd name="connsiteX29" fmla="*/ 39052 w 292512"/>
                      <a:gd name="connsiteY29" fmla="*/ 142136 h 264437"/>
                      <a:gd name="connsiteX30" fmla="*/ 48006 w 292512"/>
                      <a:gd name="connsiteY30" fmla="*/ 136040 h 264437"/>
                      <a:gd name="connsiteX31" fmla="*/ 76581 w 292512"/>
                      <a:gd name="connsiteY31" fmla="*/ 61364 h 264437"/>
                      <a:gd name="connsiteX32" fmla="*/ 30480 w 292512"/>
                      <a:gd name="connsiteY32" fmla="*/ 61364 h 264437"/>
                      <a:gd name="connsiteX33" fmla="*/ 54006 w 292512"/>
                      <a:gd name="connsiteY33" fmla="*/ 13739 h 264437"/>
                      <a:gd name="connsiteX34" fmla="*/ 49653 w 292512"/>
                      <a:gd name="connsiteY34" fmla="*/ 994 h 264437"/>
                      <a:gd name="connsiteX35" fmla="*/ 49625 w 292512"/>
                      <a:gd name="connsiteY35" fmla="*/ 975 h 264437"/>
                      <a:gd name="connsiteX36" fmla="*/ 36880 w 292512"/>
                      <a:gd name="connsiteY36" fmla="*/ 5328 h 264437"/>
                      <a:gd name="connsiteX37" fmla="*/ 36861 w 292512"/>
                      <a:gd name="connsiteY37" fmla="*/ 5357 h 264437"/>
                      <a:gd name="connsiteX38" fmla="*/ 0 w 292512"/>
                      <a:gd name="connsiteY38" fmla="*/ 80890 h 264437"/>
                      <a:gd name="connsiteX39" fmla="*/ 48863 w 292512"/>
                      <a:gd name="connsiteY39" fmla="*/ 80890 h 264437"/>
                      <a:gd name="connsiteX40" fmla="*/ 30194 w 292512"/>
                      <a:gd name="connsiteY40" fmla="*/ 129277 h 264437"/>
                      <a:gd name="connsiteX0" fmla="*/ 137445 w 283273"/>
                      <a:gd name="connsiteY0" fmla="*/ 173473 h 264437"/>
                      <a:gd name="connsiteX1" fmla="*/ 153447 w 283273"/>
                      <a:gd name="connsiteY1" fmla="*/ 192999 h 264437"/>
                      <a:gd name="connsiteX2" fmla="*/ 169545 w 283273"/>
                      <a:gd name="connsiteY2" fmla="*/ 181760 h 264437"/>
                      <a:gd name="connsiteX3" fmla="*/ 199358 w 283273"/>
                      <a:gd name="connsiteY3" fmla="*/ 192999 h 264437"/>
                      <a:gd name="connsiteX4" fmla="*/ 213741 w 283273"/>
                      <a:gd name="connsiteY4" fmla="*/ 234719 h 264437"/>
                      <a:gd name="connsiteX5" fmla="*/ 256413 w 283273"/>
                      <a:gd name="connsiteY5" fmla="*/ 246339 h 264437"/>
                      <a:gd name="connsiteX6" fmla="*/ 262128 w 283273"/>
                      <a:gd name="connsiteY6" fmla="*/ 246339 h 264437"/>
                      <a:gd name="connsiteX7" fmla="*/ 283273 w 283273"/>
                      <a:gd name="connsiteY7" fmla="*/ 264437 h 264437"/>
                      <a:gd name="connsiteX8" fmla="*/ 262413 w 283273"/>
                      <a:gd name="connsiteY8" fmla="*/ 227575 h 264437"/>
                      <a:gd name="connsiteX9" fmla="*/ 255936 w 283273"/>
                      <a:gd name="connsiteY9" fmla="*/ 227575 h 264437"/>
                      <a:gd name="connsiteX10" fmla="*/ 241363 w 283273"/>
                      <a:gd name="connsiteY10" fmla="*/ 227575 h 264437"/>
                      <a:gd name="connsiteX11" fmla="*/ 270605 w 283273"/>
                      <a:gd name="connsiteY11" fmla="*/ 214716 h 264437"/>
                      <a:gd name="connsiteX12" fmla="*/ 281225 w 283273"/>
                      <a:gd name="connsiteY12" fmla="*/ 206287 h 264437"/>
                      <a:gd name="connsiteX13" fmla="*/ 272796 w 283273"/>
                      <a:gd name="connsiteY13" fmla="*/ 195666 h 264437"/>
                      <a:gd name="connsiteX14" fmla="*/ 224694 w 283273"/>
                      <a:gd name="connsiteY14" fmla="*/ 218145 h 264437"/>
                      <a:gd name="connsiteX15" fmla="*/ 218694 w 283273"/>
                      <a:gd name="connsiteY15" fmla="*/ 191190 h 264437"/>
                      <a:gd name="connsiteX16" fmla="*/ 252031 w 283273"/>
                      <a:gd name="connsiteY16" fmla="*/ 165948 h 264437"/>
                      <a:gd name="connsiteX17" fmla="*/ 249459 w 283273"/>
                      <a:gd name="connsiteY17" fmla="*/ 152804 h 264437"/>
                      <a:gd name="connsiteX18" fmla="*/ 236229 w 283273"/>
                      <a:gd name="connsiteY18" fmla="*/ 155357 h 264437"/>
                      <a:gd name="connsiteX19" fmla="*/ 236220 w 283273"/>
                      <a:gd name="connsiteY19" fmla="*/ 155376 h 264437"/>
                      <a:gd name="connsiteX20" fmla="*/ 207645 w 283273"/>
                      <a:gd name="connsiteY20" fmla="*/ 174426 h 264437"/>
                      <a:gd name="connsiteX21" fmla="*/ 178308 w 283273"/>
                      <a:gd name="connsiteY21" fmla="*/ 164901 h 264437"/>
                      <a:gd name="connsiteX22" fmla="*/ 180022 w 283273"/>
                      <a:gd name="connsiteY22" fmla="*/ 143088 h 264437"/>
                      <a:gd name="connsiteX23" fmla="*/ 169354 w 283273"/>
                      <a:gd name="connsiteY23" fmla="*/ 134706 h 264437"/>
                      <a:gd name="connsiteX24" fmla="*/ 160972 w 283273"/>
                      <a:gd name="connsiteY24" fmla="*/ 145374 h 264437"/>
                      <a:gd name="connsiteX25" fmla="*/ 137445 w 283273"/>
                      <a:gd name="connsiteY25" fmla="*/ 173473 h 264437"/>
                      <a:gd name="connsiteX26" fmla="*/ 30194 w 283273"/>
                      <a:gd name="connsiteY26" fmla="*/ 129277 h 264437"/>
                      <a:gd name="connsiteX27" fmla="*/ 35623 w 283273"/>
                      <a:gd name="connsiteY27" fmla="*/ 141564 h 264437"/>
                      <a:gd name="connsiteX28" fmla="*/ 39052 w 283273"/>
                      <a:gd name="connsiteY28" fmla="*/ 142136 h 264437"/>
                      <a:gd name="connsiteX29" fmla="*/ 48006 w 283273"/>
                      <a:gd name="connsiteY29" fmla="*/ 136040 h 264437"/>
                      <a:gd name="connsiteX30" fmla="*/ 76581 w 283273"/>
                      <a:gd name="connsiteY30" fmla="*/ 61364 h 264437"/>
                      <a:gd name="connsiteX31" fmla="*/ 30480 w 283273"/>
                      <a:gd name="connsiteY31" fmla="*/ 61364 h 264437"/>
                      <a:gd name="connsiteX32" fmla="*/ 54006 w 283273"/>
                      <a:gd name="connsiteY32" fmla="*/ 13739 h 264437"/>
                      <a:gd name="connsiteX33" fmla="*/ 49653 w 283273"/>
                      <a:gd name="connsiteY33" fmla="*/ 994 h 264437"/>
                      <a:gd name="connsiteX34" fmla="*/ 49625 w 283273"/>
                      <a:gd name="connsiteY34" fmla="*/ 975 h 264437"/>
                      <a:gd name="connsiteX35" fmla="*/ 36880 w 283273"/>
                      <a:gd name="connsiteY35" fmla="*/ 5328 h 264437"/>
                      <a:gd name="connsiteX36" fmla="*/ 36861 w 283273"/>
                      <a:gd name="connsiteY36" fmla="*/ 5357 h 264437"/>
                      <a:gd name="connsiteX37" fmla="*/ 0 w 283273"/>
                      <a:gd name="connsiteY37" fmla="*/ 80890 h 264437"/>
                      <a:gd name="connsiteX38" fmla="*/ 48863 w 283273"/>
                      <a:gd name="connsiteY38" fmla="*/ 80890 h 264437"/>
                      <a:gd name="connsiteX39" fmla="*/ 30194 w 283273"/>
                      <a:gd name="connsiteY39" fmla="*/ 129277 h 264437"/>
                      <a:gd name="connsiteX0" fmla="*/ 137445 w 281289"/>
                      <a:gd name="connsiteY0" fmla="*/ 173473 h 246548"/>
                      <a:gd name="connsiteX1" fmla="*/ 153447 w 281289"/>
                      <a:gd name="connsiteY1" fmla="*/ 192999 h 246548"/>
                      <a:gd name="connsiteX2" fmla="*/ 169545 w 281289"/>
                      <a:gd name="connsiteY2" fmla="*/ 181760 h 246548"/>
                      <a:gd name="connsiteX3" fmla="*/ 199358 w 281289"/>
                      <a:gd name="connsiteY3" fmla="*/ 192999 h 246548"/>
                      <a:gd name="connsiteX4" fmla="*/ 213741 w 281289"/>
                      <a:gd name="connsiteY4" fmla="*/ 234719 h 246548"/>
                      <a:gd name="connsiteX5" fmla="*/ 256413 w 281289"/>
                      <a:gd name="connsiteY5" fmla="*/ 246339 h 246548"/>
                      <a:gd name="connsiteX6" fmla="*/ 262128 w 281289"/>
                      <a:gd name="connsiteY6" fmla="*/ 246339 h 246548"/>
                      <a:gd name="connsiteX7" fmla="*/ 262413 w 281289"/>
                      <a:gd name="connsiteY7" fmla="*/ 227575 h 246548"/>
                      <a:gd name="connsiteX8" fmla="*/ 255936 w 281289"/>
                      <a:gd name="connsiteY8" fmla="*/ 227575 h 246548"/>
                      <a:gd name="connsiteX9" fmla="*/ 241363 w 281289"/>
                      <a:gd name="connsiteY9" fmla="*/ 227575 h 246548"/>
                      <a:gd name="connsiteX10" fmla="*/ 270605 w 281289"/>
                      <a:gd name="connsiteY10" fmla="*/ 214716 h 246548"/>
                      <a:gd name="connsiteX11" fmla="*/ 281225 w 281289"/>
                      <a:gd name="connsiteY11" fmla="*/ 206287 h 246548"/>
                      <a:gd name="connsiteX12" fmla="*/ 272796 w 281289"/>
                      <a:gd name="connsiteY12" fmla="*/ 195666 h 246548"/>
                      <a:gd name="connsiteX13" fmla="*/ 224694 w 281289"/>
                      <a:gd name="connsiteY13" fmla="*/ 218145 h 246548"/>
                      <a:gd name="connsiteX14" fmla="*/ 218694 w 281289"/>
                      <a:gd name="connsiteY14" fmla="*/ 191190 h 246548"/>
                      <a:gd name="connsiteX15" fmla="*/ 252031 w 281289"/>
                      <a:gd name="connsiteY15" fmla="*/ 165948 h 246548"/>
                      <a:gd name="connsiteX16" fmla="*/ 249459 w 281289"/>
                      <a:gd name="connsiteY16" fmla="*/ 152804 h 246548"/>
                      <a:gd name="connsiteX17" fmla="*/ 236229 w 281289"/>
                      <a:gd name="connsiteY17" fmla="*/ 155357 h 246548"/>
                      <a:gd name="connsiteX18" fmla="*/ 236220 w 281289"/>
                      <a:gd name="connsiteY18" fmla="*/ 155376 h 246548"/>
                      <a:gd name="connsiteX19" fmla="*/ 207645 w 281289"/>
                      <a:gd name="connsiteY19" fmla="*/ 174426 h 246548"/>
                      <a:gd name="connsiteX20" fmla="*/ 178308 w 281289"/>
                      <a:gd name="connsiteY20" fmla="*/ 164901 h 246548"/>
                      <a:gd name="connsiteX21" fmla="*/ 180022 w 281289"/>
                      <a:gd name="connsiteY21" fmla="*/ 143088 h 246548"/>
                      <a:gd name="connsiteX22" fmla="*/ 169354 w 281289"/>
                      <a:gd name="connsiteY22" fmla="*/ 134706 h 246548"/>
                      <a:gd name="connsiteX23" fmla="*/ 160972 w 281289"/>
                      <a:gd name="connsiteY23" fmla="*/ 145374 h 246548"/>
                      <a:gd name="connsiteX24" fmla="*/ 137445 w 281289"/>
                      <a:gd name="connsiteY24" fmla="*/ 173473 h 246548"/>
                      <a:gd name="connsiteX25" fmla="*/ 30194 w 281289"/>
                      <a:gd name="connsiteY25" fmla="*/ 129277 h 246548"/>
                      <a:gd name="connsiteX26" fmla="*/ 35623 w 281289"/>
                      <a:gd name="connsiteY26" fmla="*/ 141564 h 246548"/>
                      <a:gd name="connsiteX27" fmla="*/ 39052 w 281289"/>
                      <a:gd name="connsiteY27" fmla="*/ 142136 h 246548"/>
                      <a:gd name="connsiteX28" fmla="*/ 48006 w 281289"/>
                      <a:gd name="connsiteY28" fmla="*/ 136040 h 246548"/>
                      <a:gd name="connsiteX29" fmla="*/ 76581 w 281289"/>
                      <a:gd name="connsiteY29" fmla="*/ 61364 h 246548"/>
                      <a:gd name="connsiteX30" fmla="*/ 30480 w 281289"/>
                      <a:gd name="connsiteY30" fmla="*/ 61364 h 246548"/>
                      <a:gd name="connsiteX31" fmla="*/ 54006 w 281289"/>
                      <a:gd name="connsiteY31" fmla="*/ 13739 h 246548"/>
                      <a:gd name="connsiteX32" fmla="*/ 49653 w 281289"/>
                      <a:gd name="connsiteY32" fmla="*/ 994 h 246548"/>
                      <a:gd name="connsiteX33" fmla="*/ 49625 w 281289"/>
                      <a:gd name="connsiteY33" fmla="*/ 975 h 246548"/>
                      <a:gd name="connsiteX34" fmla="*/ 36880 w 281289"/>
                      <a:gd name="connsiteY34" fmla="*/ 5328 h 246548"/>
                      <a:gd name="connsiteX35" fmla="*/ 36861 w 281289"/>
                      <a:gd name="connsiteY35" fmla="*/ 5357 h 246548"/>
                      <a:gd name="connsiteX36" fmla="*/ 0 w 281289"/>
                      <a:gd name="connsiteY36" fmla="*/ 80890 h 246548"/>
                      <a:gd name="connsiteX37" fmla="*/ 48863 w 281289"/>
                      <a:gd name="connsiteY37" fmla="*/ 80890 h 246548"/>
                      <a:gd name="connsiteX38" fmla="*/ 30194 w 281289"/>
                      <a:gd name="connsiteY38" fmla="*/ 129277 h 246548"/>
                      <a:gd name="connsiteX0" fmla="*/ 137445 w 281289"/>
                      <a:gd name="connsiteY0" fmla="*/ 173473 h 246548"/>
                      <a:gd name="connsiteX1" fmla="*/ 153447 w 281289"/>
                      <a:gd name="connsiteY1" fmla="*/ 192999 h 246548"/>
                      <a:gd name="connsiteX2" fmla="*/ 169545 w 281289"/>
                      <a:gd name="connsiteY2" fmla="*/ 181760 h 246548"/>
                      <a:gd name="connsiteX3" fmla="*/ 199358 w 281289"/>
                      <a:gd name="connsiteY3" fmla="*/ 192999 h 246548"/>
                      <a:gd name="connsiteX4" fmla="*/ 213741 w 281289"/>
                      <a:gd name="connsiteY4" fmla="*/ 234719 h 246548"/>
                      <a:gd name="connsiteX5" fmla="*/ 256413 w 281289"/>
                      <a:gd name="connsiteY5" fmla="*/ 246339 h 246548"/>
                      <a:gd name="connsiteX6" fmla="*/ 262413 w 281289"/>
                      <a:gd name="connsiteY6" fmla="*/ 227575 h 246548"/>
                      <a:gd name="connsiteX7" fmla="*/ 255936 w 281289"/>
                      <a:gd name="connsiteY7" fmla="*/ 227575 h 246548"/>
                      <a:gd name="connsiteX8" fmla="*/ 241363 w 281289"/>
                      <a:gd name="connsiteY8" fmla="*/ 227575 h 246548"/>
                      <a:gd name="connsiteX9" fmla="*/ 270605 w 281289"/>
                      <a:gd name="connsiteY9" fmla="*/ 214716 h 246548"/>
                      <a:gd name="connsiteX10" fmla="*/ 281225 w 281289"/>
                      <a:gd name="connsiteY10" fmla="*/ 206287 h 246548"/>
                      <a:gd name="connsiteX11" fmla="*/ 272796 w 281289"/>
                      <a:gd name="connsiteY11" fmla="*/ 195666 h 246548"/>
                      <a:gd name="connsiteX12" fmla="*/ 224694 w 281289"/>
                      <a:gd name="connsiteY12" fmla="*/ 218145 h 246548"/>
                      <a:gd name="connsiteX13" fmla="*/ 218694 w 281289"/>
                      <a:gd name="connsiteY13" fmla="*/ 191190 h 246548"/>
                      <a:gd name="connsiteX14" fmla="*/ 252031 w 281289"/>
                      <a:gd name="connsiteY14" fmla="*/ 165948 h 246548"/>
                      <a:gd name="connsiteX15" fmla="*/ 249459 w 281289"/>
                      <a:gd name="connsiteY15" fmla="*/ 152804 h 246548"/>
                      <a:gd name="connsiteX16" fmla="*/ 236229 w 281289"/>
                      <a:gd name="connsiteY16" fmla="*/ 155357 h 246548"/>
                      <a:gd name="connsiteX17" fmla="*/ 236220 w 281289"/>
                      <a:gd name="connsiteY17" fmla="*/ 155376 h 246548"/>
                      <a:gd name="connsiteX18" fmla="*/ 207645 w 281289"/>
                      <a:gd name="connsiteY18" fmla="*/ 174426 h 246548"/>
                      <a:gd name="connsiteX19" fmla="*/ 178308 w 281289"/>
                      <a:gd name="connsiteY19" fmla="*/ 164901 h 246548"/>
                      <a:gd name="connsiteX20" fmla="*/ 180022 w 281289"/>
                      <a:gd name="connsiteY20" fmla="*/ 143088 h 246548"/>
                      <a:gd name="connsiteX21" fmla="*/ 169354 w 281289"/>
                      <a:gd name="connsiteY21" fmla="*/ 134706 h 246548"/>
                      <a:gd name="connsiteX22" fmla="*/ 160972 w 281289"/>
                      <a:gd name="connsiteY22" fmla="*/ 145374 h 246548"/>
                      <a:gd name="connsiteX23" fmla="*/ 137445 w 281289"/>
                      <a:gd name="connsiteY23" fmla="*/ 173473 h 246548"/>
                      <a:gd name="connsiteX24" fmla="*/ 30194 w 281289"/>
                      <a:gd name="connsiteY24" fmla="*/ 129277 h 246548"/>
                      <a:gd name="connsiteX25" fmla="*/ 35623 w 281289"/>
                      <a:gd name="connsiteY25" fmla="*/ 141564 h 246548"/>
                      <a:gd name="connsiteX26" fmla="*/ 39052 w 281289"/>
                      <a:gd name="connsiteY26" fmla="*/ 142136 h 246548"/>
                      <a:gd name="connsiteX27" fmla="*/ 48006 w 281289"/>
                      <a:gd name="connsiteY27" fmla="*/ 136040 h 246548"/>
                      <a:gd name="connsiteX28" fmla="*/ 76581 w 281289"/>
                      <a:gd name="connsiteY28" fmla="*/ 61364 h 246548"/>
                      <a:gd name="connsiteX29" fmla="*/ 30480 w 281289"/>
                      <a:gd name="connsiteY29" fmla="*/ 61364 h 246548"/>
                      <a:gd name="connsiteX30" fmla="*/ 54006 w 281289"/>
                      <a:gd name="connsiteY30" fmla="*/ 13739 h 246548"/>
                      <a:gd name="connsiteX31" fmla="*/ 49653 w 281289"/>
                      <a:gd name="connsiteY31" fmla="*/ 994 h 246548"/>
                      <a:gd name="connsiteX32" fmla="*/ 49625 w 281289"/>
                      <a:gd name="connsiteY32" fmla="*/ 975 h 246548"/>
                      <a:gd name="connsiteX33" fmla="*/ 36880 w 281289"/>
                      <a:gd name="connsiteY33" fmla="*/ 5328 h 246548"/>
                      <a:gd name="connsiteX34" fmla="*/ 36861 w 281289"/>
                      <a:gd name="connsiteY34" fmla="*/ 5357 h 246548"/>
                      <a:gd name="connsiteX35" fmla="*/ 0 w 281289"/>
                      <a:gd name="connsiteY35" fmla="*/ 80890 h 246548"/>
                      <a:gd name="connsiteX36" fmla="*/ 48863 w 281289"/>
                      <a:gd name="connsiteY36" fmla="*/ 80890 h 246548"/>
                      <a:gd name="connsiteX37" fmla="*/ 30194 w 281289"/>
                      <a:gd name="connsiteY37" fmla="*/ 129277 h 246548"/>
                      <a:gd name="connsiteX0" fmla="*/ 137445 w 281289"/>
                      <a:gd name="connsiteY0" fmla="*/ 173473 h 236304"/>
                      <a:gd name="connsiteX1" fmla="*/ 153447 w 281289"/>
                      <a:gd name="connsiteY1" fmla="*/ 192999 h 236304"/>
                      <a:gd name="connsiteX2" fmla="*/ 169545 w 281289"/>
                      <a:gd name="connsiteY2" fmla="*/ 181760 h 236304"/>
                      <a:gd name="connsiteX3" fmla="*/ 199358 w 281289"/>
                      <a:gd name="connsiteY3" fmla="*/ 192999 h 236304"/>
                      <a:gd name="connsiteX4" fmla="*/ 213741 w 281289"/>
                      <a:gd name="connsiteY4" fmla="*/ 234719 h 236304"/>
                      <a:gd name="connsiteX5" fmla="*/ 262413 w 281289"/>
                      <a:gd name="connsiteY5" fmla="*/ 227575 h 236304"/>
                      <a:gd name="connsiteX6" fmla="*/ 255936 w 281289"/>
                      <a:gd name="connsiteY6" fmla="*/ 227575 h 236304"/>
                      <a:gd name="connsiteX7" fmla="*/ 241363 w 281289"/>
                      <a:gd name="connsiteY7" fmla="*/ 227575 h 236304"/>
                      <a:gd name="connsiteX8" fmla="*/ 270605 w 281289"/>
                      <a:gd name="connsiteY8" fmla="*/ 214716 h 236304"/>
                      <a:gd name="connsiteX9" fmla="*/ 281225 w 281289"/>
                      <a:gd name="connsiteY9" fmla="*/ 206287 h 236304"/>
                      <a:gd name="connsiteX10" fmla="*/ 272796 w 281289"/>
                      <a:gd name="connsiteY10" fmla="*/ 195666 h 236304"/>
                      <a:gd name="connsiteX11" fmla="*/ 224694 w 281289"/>
                      <a:gd name="connsiteY11" fmla="*/ 218145 h 236304"/>
                      <a:gd name="connsiteX12" fmla="*/ 218694 w 281289"/>
                      <a:gd name="connsiteY12" fmla="*/ 191190 h 236304"/>
                      <a:gd name="connsiteX13" fmla="*/ 252031 w 281289"/>
                      <a:gd name="connsiteY13" fmla="*/ 165948 h 236304"/>
                      <a:gd name="connsiteX14" fmla="*/ 249459 w 281289"/>
                      <a:gd name="connsiteY14" fmla="*/ 152804 h 236304"/>
                      <a:gd name="connsiteX15" fmla="*/ 236229 w 281289"/>
                      <a:gd name="connsiteY15" fmla="*/ 155357 h 236304"/>
                      <a:gd name="connsiteX16" fmla="*/ 236220 w 281289"/>
                      <a:gd name="connsiteY16" fmla="*/ 155376 h 236304"/>
                      <a:gd name="connsiteX17" fmla="*/ 207645 w 281289"/>
                      <a:gd name="connsiteY17" fmla="*/ 174426 h 236304"/>
                      <a:gd name="connsiteX18" fmla="*/ 178308 w 281289"/>
                      <a:gd name="connsiteY18" fmla="*/ 164901 h 236304"/>
                      <a:gd name="connsiteX19" fmla="*/ 180022 w 281289"/>
                      <a:gd name="connsiteY19" fmla="*/ 143088 h 236304"/>
                      <a:gd name="connsiteX20" fmla="*/ 169354 w 281289"/>
                      <a:gd name="connsiteY20" fmla="*/ 134706 h 236304"/>
                      <a:gd name="connsiteX21" fmla="*/ 160972 w 281289"/>
                      <a:gd name="connsiteY21" fmla="*/ 145374 h 236304"/>
                      <a:gd name="connsiteX22" fmla="*/ 137445 w 281289"/>
                      <a:gd name="connsiteY22" fmla="*/ 173473 h 236304"/>
                      <a:gd name="connsiteX23" fmla="*/ 30194 w 281289"/>
                      <a:gd name="connsiteY23" fmla="*/ 129277 h 236304"/>
                      <a:gd name="connsiteX24" fmla="*/ 35623 w 281289"/>
                      <a:gd name="connsiteY24" fmla="*/ 141564 h 236304"/>
                      <a:gd name="connsiteX25" fmla="*/ 39052 w 281289"/>
                      <a:gd name="connsiteY25" fmla="*/ 142136 h 236304"/>
                      <a:gd name="connsiteX26" fmla="*/ 48006 w 281289"/>
                      <a:gd name="connsiteY26" fmla="*/ 136040 h 236304"/>
                      <a:gd name="connsiteX27" fmla="*/ 76581 w 281289"/>
                      <a:gd name="connsiteY27" fmla="*/ 61364 h 236304"/>
                      <a:gd name="connsiteX28" fmla="*/ 30480 w 281289"/>
                      <a:gd name="connsiteY28" fmla="*/ 61364 h 236304"/>
                      <a:gd name="connsiteX29" fmla="*/ 54006 w 281289"/>
                      <a:gd name="connsiteY29" fmla="*/ 13739 h 236304"/>
                      <a:gd name="connsiteX30" fmla="*/ 49653 w 281289"/>
                      <a:gd name="connsiteY30" fmla="*/ 994 h 236304"/>
                      <a:gd name="connsiteX31" fmla="*/ 49625 w 281289"/>
                      <a:gd name="connsiteY31" fmla="*/ 975 h 236304"/>
                      <a:gd name="connsiteX32" fmla="*/ 36880 w 281289"/>
                      <a:gd name="connsiteY32" fmla="*/ 5328 h 236304"/>
                      <a:gd name="connsiteX33" fmla="*/ 36861 w 281289"/>
                      <a:gd name="connsiteY33" fmla="*/ 5357 h 236304"/>
                      <a:gd name="connsiteX34" fmla="*/ 0 w 281289"/>
                      <a:gd name="connsiteY34" fmla="*/ 80890 h 236304"/>
                      <a:gd name="connsiteX35" fmla="*/ 48863 w 281289"/>
                      <a:gd name="connsiteY35" fmla="*/ 80890 h 236304"/>
                      <a:gd name="connsiteX36" fmla="*/ 30194 w 281289"/>
                      <a:gd name="connsiteY36" fmla="*/ 129277 h 236304"/>
                      <a:gd name="connsiteX0" fmla="*/ 137445 w 281289"/>
                      <a:gd name="connsiteY0" fmla="*/ 173473 h 236304"/>
                      <a:gd name="connsiteX1" fmla="*/ 153447 w 281289"/>
                      <a:gd name="connsiteY1" fmla="*/ 192999 h 236304"/>
                      <a:gd name="connsiteX2" fmla="*/ 169545 w 281289"/>
                      <a:gd name="connsiteY2" fmla="*/ 181760 h 236304"/>
                      <a:gd name="connsiteX3" fmla="*/ 199358 w 281289"/>
                      <a:gd name="connsiteY3" fmla="*/ 192999 h 236304"/>
                      <a:gd name="connsiteX4" fmla="*/ 213741 w 281289"/>
                      <a:gd name="connsiteY4" fmla="*/ 234719 h 236304"/>
                      <a:gd name="connsiteX5" fmla="*/ 262413 w 281289"/>
                      <a:gd name="connsiteY5" fmla="*/ 227575 h 236304"/>
                      <a:gd name="connsiteX6" fmla="*/ 241363 w 281289"/>
                      <a:gd name="connsiteY6" fmla="*/ 227575 h 236304"/>
                      <a:gd name="connsiteX7" fmla="*/ 270605 w 281289"/>
                      <a:gd name="connsiteY7" fmla="*/ 214716 h 236304"/>
                      <a:gd name="connsiteX8" fmla="*/ 281225 w 281289"/>
                      <a:gd name="connsiteY8" fmla="*/ 206287 h 236304"/>
                      <a:gd name="connsiteX9" fmla="*/ 272796 w 281289"/>
                      <a:gd name="connsiteY9" fmla="*/ 195666 h 236304"/>
                      <a:gd name="connsiteX10" fmla="*/ 224694 w 281289"/>
                      <a:gd name="connsiteY10" fmla="*/ 218145 h 236304"/>
                      <a:gd name="connsiteX11" fmla="*/ 218694 w 281289"/>
                      <a:gd name="connsiteY11" fmla="*/ 191190 h 236304"/>
                      <a:gd name="connsiteX12" fmla="*/ 252031 w 281289"/>
                      <a:gd name="connsiteY12" fmla="*/ 165948 h 236304"/>
                      <a:gd name="connsiteX13" fmla="*/ 249459 w 281289"/>
                      <a:gd name="connsiteY13" fmla="*/ 152804 h 236304"/>
                      <a:gd name="connsiteX14" fmla="*/ 236229 w 281289"/>
                      <a:gd name="connsiteY14" fmla="*/ 155357 h 236304"/>
                      <a:gd name="connsiteX15" fmla="*/ 236220 w 281289"/>
                      <a:gd name="connsiteY15" fmla="*/ 155376 h 236304"/>
                      <a:gd name="connsiteX16" fmla="*/ 207645 w 281289"/>
                      <a:gd name="connsiteY16" fmla="*/ 174426 h 236304"/>
                      <a:gd name="connsiteX17" fmla="*/ 178308 w 281289"/>
                      <a:gd name="connsiteY17" fmla="*/ 164901 h 236304"/>
                      <a:gd name="connsiteX18" fmla="*/ 180022 w 281289"/>
                      <a:gd name="connsiteY18" fmla="*/ 143088 h 236304"/>
                      <a:gd name="connsiteX19" fmla="*/ 169354 w 281289"/>
                      <a:gd name="connsiteY19" fmla="*/ 134706 h 236304"/>
                      <a:gd name="connsiteX20" fmla="*/ 160972 w 281289"/>
                      <a:gd name="connsiteY20" fmla="*/ 145374 h 236304"/>
                      <a:gd name="connsiteX21" fmla="*/ 137445 w 281289"/>
                      <a:gd name="connsiteY21" fmla="*/ 173473 h 236304"/>
                      <a:gd name="connsiteX22" fmla="*/ 30194 w 281289"/>
                      <a:gd name="connsiteY22" fmla="*/ 129277 h 236304"/>
                      <a:gd name="connsiteX23" fmla="*/ 35623 w 281289"/>
                      <a:gd name="connsiteY23" fmla="*/ 141564 h 236304"/>
                      <a:gd name="connsiteX24" fmla="*/ 39052 w 281289"/>
                      <a:gd name="connsiteY24" fmla="*/ 142136 h 236304"/>
                      <a:gd name="connsiteX25" fmla="*/ 48006 w 281289"/>
                      <a:gd name="connsiteY25" fmla="*/ 136040 h 236304"/>
                      <a:gd name="connsiteX26" fmla="*/ 76581 w 281289"/>
                      <a:gd name="connsiteY26" fmla="*/ 61364 h 236304"/>
                      <a:gd name="connsiteX27" fmla="*/ 30480 w 281289"/>
                      <a:gd name="connsiteY27" fmla="*/ 61364 h 236304"/>
                      <a:gd name="connsiteX28" fmla="*/ 54006 w 281289"/>
                      <a:gd name="connsiteY28" fmla="*/ 13739 h 236304"/>
                      <a:gd name="connsiteX29" fmla="*/ 49653 w 281289"/>
                      <a:gd name="connsiteY29" fmla="*/ 994 h 236304"/>
                      <a:gd name="connsiteX30" fmla="*/ 49625 w 281289"/>
                      <a:gd name="connsiteY30" fmla="*/ 975 h 236304"/>
                      <a:gd name="connsiteX31" fmla="*/ 36880 w 281289"/>
                      <a:gd name="connsiteY31" fmla="*/ 5328 h 236304"/>
                      <a:gd name="connsiteX32" fmla="*/ 36861 w 281289"/>
                      <a:gd name="connsiteY32" fmla="*/ 5357 h 236304"/>
                      <a:gd name="connsiteX33" fmla="*/ 0 w 281289"/>
                      <a:gd name="connsiteY33" fmla="*/ 80890 h 236304"/>
                      <a:gd name="connsiteX34" fmla="*/ 48863 w 281289"/>
                      <a:gd name="connsiteY34" fmla="*/ 80890 h 236304"/>
                      <a:gd name="connsiteX35" fmla="*/ 30194 w 281289"/>
                      <a:gd name="connsiteY35" fmla="*/ 129277 h 236304"/>
                      <a:gd name="connsiteX0" fmla="*/ 137445 w 281289"/>
                      <a:gd name="connsiteY0" fmla="*/ 173473 h 236525"/>
                      <a:gd name="connsiteX1" fmla="*/ 153447 w 281289"/>
                      <a:gd name="connsiteY1" fmla="*/ 192999 h 236525"/>
                      <a:gd name="connsiteX2" fmla="*/ 169545 w 281289"/>
                      <a:gd name="connsiteY2" fmla="*/ 181760 h 236525"/>
                      <a:gd name="connsiteX3" fmla="*/ 199358 w 281289"/>
                      <a:gd name="connsiteY3" fmla="*/ 192999 h 236525"/>
                      <a:gd name="connsiteX4" fmla="*/ 213741 w 281289"/>
                      <a:gd name="connsiteY4" fmla="*/ 234719 h 236525"/>
                      <a:gd name="connsiteX5" fmla="*/ 241363 w 281289"/>
                      <a:gd name="connsiteY5" fmla="*/ 227575 h 236525"/>
                      <a:gd name="connsiteX6" fmla="*/ 270605 w 281289"/>
                      <a:gd name="connsiteY6" fmla="*/ 214716 h 236525"/>
                      <a:gd name="connsiteX7" fmla="*/ 281225 w 281289"/>
                      <a:gd name="connsiteY7" fmla="*/ 206287 h 236525"/>
                      <a:gd name="connsiteX8" fmla="*/ 272796 w 281289"/>
                      <a:gd name="connsiteY8" fmla="*/ 195666 h 236525"/>
                      <a:gd name="connsiteX9" fmla="*/ 224694 w 281289"/>
                      <a:gd name="connsiteY9" fmla="*/ 218145 h 236525"/>
                      <a:gd name="connsiteX10" fmla="*/ 218694 w 281289"/>
                      <a:gd name="connsiteY10" fmla="*/ 191190 h 236525"/>
                      <a:gd name="connsiteX11" fmla="*/ 252031 w 281289"/>
                      <a:gd name="connsiteY11" fmla="*/ 165948 h 236525"/>
                      <a:gd name="connsiteX12" fmla="*/ 249459 w 281289"/>
                      <a:gd name="connsiteY12" fmla="*/ 152804 h 236525"/>
                      <a:gd name="connsiteX13" fmla="*/ 236229 w 281289"/>
                      <a:gd name="connsiteY13" fmla="*/ 155357 h 236525"/>
                      <a:gd name="connsiteX14" fmla="*/ 236220 w 281289"/>
                      <a:gd name="connsiteY14" fmla="*/ 155376 h 236525"/>
                      <a:gd name="connsiteX15" fmla="*/ 207645 w 281289"/>
                      <a:gd name="connsiteY15" fmla="*/ 174426 h 236525"/>
                      <a:gd name="connsiteX16" fmla="*/ 178308 w 281289"/>
                      <a:gd name="connsiteY16" fmla="*/ 164901 h 236525"/>
                      <a:gd name="connsiteX17" fmla="*/ 180022 w 281289"/>
                      <a:gd name="connsiteY17" fmla="*/ 143088 h 236525"/>
                      <a:gd name="connsiteX18" fmla="*/ 169354 w 281289"/>
                      <a:gd name="connsiteY18" fmla="*/ 134706 h 236525"/>
                      <a:gd name="connsiteX19" fmla="*/ 160972 w 281289"/>
                      <a:gd name="connsiteY19" fmla="*/ 145374 h 236525"/>
                      <a:gd name="connsiteX20" fmla="*/ 137445 w 281289"/>
                      <a:gd name="connsiteY20" fmla="*/ 173473 h 236525"/>
                      <a:gd name="connsiteX21" fmla="*/ 30194 w 281289"/>
                      <a:gd name="connsiteY21" fmla="*/ 129277 h 236525"/>
                      <a:gd name="connsiteX22" fmla="*/ 35623 w 281289"/>
                      <a:gd name="connsiteY22" fmla="*/ 141564 h 236525"/>
                      <a:gd name="connsiteX23" fmla="*/ 39052 w 281289"/>
                      <a:gd name="connsiteY23" fmla="*/ 142136 h 236525"/>
                      <a:gd name="connsiteX24" fmla="*/ 48006 w 281289"/>
                      <a:gd name="connsiteY24" fmla="*/ 136040 h 236525"/>
                      <a:gd name="connsiteX25" fmla="*/ 76581 w 281289"/>
                      <a:gd name="connsiteY25" fmla="*/ 61364 h 236525"/>
                      <a:gd name="connsiteX26" fmla="*/ 30480 w 281289"/>
                      <a:gd name="connsiteY26" fmla="*/ 61364 h 236525"/>
                      <a:gd name="connsiteX27" fmla="*/ 54006 w 281289"/>
                      <a:gd name="connsiteY27" fmla="*/ 13739 h 236525"/>
                      <a:gd name="connsiteX28" fmla="*/ 49653 w 281289"/>
                      <a:gd name="connsiteY28" fmla="*/ 994 h 236525"/>
                      <a:gd name="connsiteX29" fmla="*/ 49625 w 281289"/>
                      <a:gd name="connsiteY29" fmla="*/ 975 h 236525"/>
                      <a:gd name="connsiteX30" fmla="*/ 36880 w 281289"/>
                      <a:gd name="connsiteY30" fmla="*/ 5328 h 236525"/>
                      <a:gd name="connsiteX31" fmla="*/ 36861 w 281289"/>
                      <a:gd name="connsiteY31" fmla="*/ 5357 h 236525"/>
                      <a:gd name="connsiteX32" fmla="*/ 0 w 281289"/>
                      <a:gd name="connsiteY32" fmla="*/ 80890 h 236525"/>
                      <a:gd name="connsiteX33" fmla="*/ 48863 w 281289"/>
                      <a:gd name="connsiteY33" fmla="*/ 80890 h 236525"/>
                      <a:gd name="connsiteX34" fmla="*/ 30194 w 281289"/>
                      <a:gd name="connsiteY34" fmla="*/ 129277 h 236525"/>
                      <a:gd name="connsiteX0" fmla="*/ 137445 w 281289"/>
                      <a:gd name="connsiteY0" fmla="*/ 173473 h 235176"/>
                      <a:gd name="connsiteX1" fmla="*/ 153447 w 281289"/>
                      <a:gd name="connsiteY1" fmla="*/ 192999 h 235176"/>
                      <a:gd name="connsiteX2" fmla="*/ 169545 w 281289"/>
                      <a:gd name="connsiteY2" fmla="*/ 181760 h 235176"/>
                      <a:gd name="connsiteX3" fmla="*/ 199358 w 281289"/>
                      <a:gd name="connsiteY3" fmla="*/ 192999 h 235176"/>
                      <a:gd name="connsiteX4" fmla="*/ 213741 w 281289"/>
                      <a:gd name="connsiteY4" fmla="*/ 234719 h 235176"/>
                      <a:gd name="connsiteX5" fmla="*/ 270605 w 281289"/>
                      <a:gd name="connsiteY5" fmla="*/ 214716 h 235176"/>
                      <a:gd name="connsiteX6" fmla="*/ 281225 w 281289"/>
                      <a:gd name="connsiteY6" fmla="*/ 206287 h 235176"/>
                      <a:gd name="connsiteX7" fmla="*/ 272796 w 281289"/>
                      <a:gd name="connsiteY7" fmla="*/ 195666 h 235176"/>
                      <a:gd name="connsiteX8" fmla="*/ 224694 w 281289"/>
                      <a:gd name="connsiteY8" fmla="*/ 218145 h 235176"/>
                      <a:gd name="connsiteX9" fmla="*/ 218694 w 281289"/>
                      <a:gd name="connsiteY9" fmla="*/ 191190 h 235176"/>
                      <a:gd name="connsiteX10" fmla="*/ 252031 w 281289"/>
                      <a:gd name="connsiteY10" fmla="*/ 165948 h 235176"/>
                      <a:gd name="connsiteX11" fmla="*/ 249459 w 281289"/>
                      <a:gd name="connsiteY11" fmla="*/ 152804 h 235176"/>
                      <a:gd name="connsiteX12" fmla="*/ 236229 w 281289"/>
                      <a:gd name="connsiteY12" fmla="*/ 155357 h 235176"/>
                      <a:gd name="connsiteX13" fmla="*/ 236220 w 281289"/>
                      <a:gd name="connsiteY13" fmla="*/ 155376 h 235176"/>
                      <a:gd name="connsiteX14" fmla="*/ 207645 w 281289"/>
                      <a:gd name="connsiteY14" fmla="*/ 174426 h 235176"/>
                      <a:gd name="connsiteX15" fmla="*/ 178308 w 281289"/>
                      <a:gd name="connsiteY15" fmla="*/ 164901 h 235176"/>
                      <a:gd name="connsiteX16" fmla="*/ 180022 w 281289"/>
                      <a:gd name="connsiteY16" fmla="*/ 143088 h 235176"/>
                      <a:gd name="connsiteX17" fmla="*/ 169354 w 281289"/>
                      <a:gd name="connsiteY17" fmla="*/ 134706 h 235176"/>
                      <a:gd name="connsiteX18" fmla="*/ 160972 w 281289"/>
                      <a:gd name="connsiteY18" fmla="*/ 145374 h 235176"/>
                      <a:gd name="connsiteX19" fmla="*/ 137445 w 281289"/>
                      <a:gd name="connsiteY19" fmla="*/ 173473 h 235176"/>
                      <a:gd name="connsiteX20" fmla="*/ 30194 w 281289"/>
                      <a:gd name="connsiteY20" fmla="*/ 129277 h 235176"/>
                      <a:gd name="connsiteX21" fmla="*/ 35623 w 281289"/>
                      <a:gd name="connsiteY21" fmla="*/ 141564 h 235176"/>
                      <a:gd name="connsiteX22" fmla="*/ 39052 w 281289"/>
                      <a:gd name="connsiteY22" fmla="*/ 142136 h 235176"/>
                      <a:gd name="connsiteX23" fmla="*/ 48006 w 281289"/>
                      <a:gd name="connsiteY23" fmla="*/ 136040 h 235176"/>
                      <a:gd name="connsiteX24" fmla="*/ 76581 w 281289"/>
                      <a:gd name="connsiteY24" fmla="*/ 61364 h 235176"/>
                      <a:gd name="connsiteX25" fmla="*/ 30480 w 281289"/>
                      <a:gd name="connsiteY25" fmla="*/ 61364 h 235176"/>
                      <a:gd name="connsiteX26" fmla="*/ 54006 w 281289"/>
                      <a:gd name="connsiteY26" fmla="*/ 13739 h 235176"/>
                      <a:gd name="connsiteX27" fmla="*/ 49653 w 281289"/>
                      <a:gd name="connsiteY27" fmla="*/ 994 h 235176"/>
                      <a:gd name="connsiteX28" fmla="*/ 49625 w 281289"/>
                      <a:gd name="connsiteY28" fmla="*/ 975 h 235176"/>
                      <a:gd name="connsiteX29" fmla="*/ 36880 w 281289"/>
                      <a:gd name="connsiteY29" fmla="*/ 5328 h 235176"/>
                      <a:gd name="connsiteX30" fmla="*/ 36861 w 281289"/>
                      <a:gd name="connsiteY30" fmla="*/ 5357 h 235176"/>
                      <a:gd name="connsiteX31" fmla="*/ 0 w 281289"/>
                      <a:gd name="connsiteY31" fmla="*/ 80890 h 235176"/>
                      <a:gd name="connsiteX32" fmla="*/ 48863 w 281289"/>
                      <a:gd name="connsiteY32" fmla="*/ 80890 h 235176"/>
                      <a:gd name="connsiteX33" fmla="*/ 30194 w 281289"/>
                      <a:gd name="connsiteY33" fmla="*/ 129277 h 235176"/>
                      <a:gd name="connsiteX0" fmla="*/ 137445 w 281643"/>
                      <a:gd name="connsiteY0" fmla="*/ 173473 h 235176"/>
                      <a:gd name="connsiteX1" fmla="*/ 153447 w 281643"/>
                      <a:gd name="connsiteY1" fmla="*/ 192999 h 235176"/>
                      <a:gd name="connsiteX2" fmla="*/ 169545 w 281643"/>
                      <a:gd name="connsiteY2" fmla="*/ 181760 h 235176"/>
                      <a:gd name="connsiteX3" fmla="*/ 199358 w 281643"/>
                      <a:gd name="connsiteY3" fmla="*/ 192999 h 235176"/>
                      <a:gd name="connsiteX4" fmla="*/ 213741 w 281643"/>
                      <a:gd name="connsiteY4" fmla="*/ 234719 h 235176"/>
                      <a:gd name="connsiteX5" fmla="*/ 270605 w 281643"/>
                      <a:gd name="connsiteY5" fmla="*/ 214716 h 235176"/>
                      <a:gd name="connsiteX6" fmla="*/ 281225 w 281643"/>
                      <a:gd name="connsiteY6" fmla="*/ 206287 h 235176"/>
                      <a:gd name="connsiteX7" fmla="*/ 272796 w 281643"/>
                      <a:gd name="connsiteY7" fmla="*/ 195666 h 235176"/>
                      <a:gd name="connsiteX8" fmla="*/ 218694 w 281643"/>
                      <a:gd name="connsiteY8" fmla="*/ 191190 h 235176"/>
                      <a:gd name="connsiteX9" fmla="*/ 252031 w 281643"/>
                      <a:gd name="connsiteY9" fmla="*/ 165948 h 235176"/>
                      <a:gd name="connsiteX10" fmla="*/ 249459 w 281643"/>
                      <a:gd name="connsiteY10" fmla="*/ 152804 h 235176"/>
                      <a:gd name="connsiteX11" fmla="*/ 236229 w 281643"/>
                      <a:gd name="connsiteY11" fmla="*/ 155357 h 235176"/>
                      <a:gd name="connsiteX12" fmla="*/ 236220 w 281643"/>
                      <a:gd name="connsiteY12" fmla="*/ 155376 h 235176"/>
                      <a:gd name="connsiteX13" fmla="*/ 207645 w 281643"/>
                      <a:gd name="connsiteY13" fmla="*/ 174426 h 235176"/>
                      <a:gd name="connsiteX14" fmla="*/ 178308 w 281643"/>
                      <a:gd name="connsiteY14" fmla="*/ 164901 h 235176"/>
                      <a:gd name="connsiteX15" fmla="*/ 180022 w 281643"/>
                      <a:gd name="connsiteY15" fmla="*/ 143088 h 235176"/>
                      <a:gd name="connsiteX16" fmla="*/ 169354 w 281643"/>
                      <a:gd name="connsiteY16" fmla="*/ 134706 h 235176"/>
                      <a:gd name="connsiteX17" fmla="*/ 160972 w 281643"/>
                      <a:gd name="connsiteY17" fmla="*/ 145374 h 235176"/>
                      <a:gd name="connsiteX18" fmla="*/ 137445 w 281643"/>
                      <a:gd name="connsiteY18" fmla="*/ 173473 h 235176"/>
                      <a:gd name="connsiteX19" fmla="*/ 30194 w 281643"/>
                      <a:gd name="connsiteY19" fmla="*/ 129277 h 235176"/>
                      <a:gd name="connsiteX20" fmla="*/ 35623 w 281643"/>
                      <a:gd name="connsiteY20" fmla="*/ 141564 h 235176"/>
                      <a:gd name="connsiteX21" fmla="*/ 39052 w 281643"/>
                      <a:gd name="connsiteY21" fmla="*/ 142136 h 235176"/>
                      <a:gd name="connsiteX22" fmla="*/ 48006 w 281643"/>
                      <a:gd name="connsiteY22" fmla="*/ 136040 h 235176"/>
                      <a:gd name="connsiteX23" fmla="*/ 76581 w 281643"/>
                      <a:gd name="connsiteY23" fmla="*/ 61364 h 235176"/>
                      <a:gd name="connsiteX24" fmla="*/ 30480 w 281643"/>
                      <a:gd name="connsiteY24" fmla="*/ 61364 h 235176"/>
                      <a:gd name="connsiteX25" fmla="*/ 54006 w 281643"/>
                      <a:gd name="connsiteY25" fmla="*/ 13739 h 235176"/>
                      <a:gd name="connsiteX26" fmla="*/ 49653 w 281643"/>
                      <a:gd name="connsiteY26" fmla="*/ 994 h 235176"/>
                      <a:gd name="connsiteX27" fmla="*/ 49625 w 281643"/>
                      <a:gd name="connsiteY27" fmla="*/ 975 h 235176"/>
                      <a:gd name="connsiteX28" fmla="*/ 36880 w 281643"/>
                      <a:gd name="connsiteY28" fmla="*/ 5328 h 235176"/>
                      <a:gd name="connsiteX29" fmla="*/ 36861 w 281643"/>
                      <a:gd name="connsiteY29" fmla="*/ 5357 h 235176"/>
                      <a:gd name="connsiteX30" fmla="*/ 0 w 281643"/>
                      <a:gd name="connsiteY30" fmla="*/ 80890 h 235176"/>
                      <a:gd name="connsiteX31" fmla="*/ 48863 w 281643"/>
                      <a:gd name="connsiteY31" fmla="*/ 80890 h 235176"/>
                      <a:gd name="connsiteX32" fmla="*/ 30194 w 281643"/>
                      <a:gd name="connsiteY32" fmla="*/ 129277 h 235176"/>
                      <a:gd name="connsiteX0" fmla="*/ 137445 w 281643"/>
                      <a:gd name="connsiteY0" fmla="*/ 173473 h 215227"/>
                      <a:gd name="connsiteX1" fmla="*/ 153447 w 281643"/>
                      <a:gd name="connsiteY1" fmla="*/ 192999 h 215227"/>
                      <a:gd name="connsiteX2" fmla="*/ 169545 w 281643"/>
                      <a:gd name="connsiteY2" fmla="*/ 181760 h 215227"/>
                      <a:gd name="connsiteX3" fmla="*/ 199358 w 281643"/>
                      <a:gd name="connsiteY3" fmla="*/ 192999 h 215227"/>
                      <a:gd name="connsiteX4" fmla="*/ 270605 w 281643"/>
                      <a:gd name="connsiteY4" fmla="*/ 214716 h 215227"/>
                      <a:gd name="connsiteX5" fmla="*/ 281225 w 281643"/>
                      <a:gd name="connsiteY5" fmla="*/ 206287 h 215227"/>
                      <a:gd name="connsiteX6" fmla="*/ 272796 w 281643"/>
                      <a:gd name="connsiteY6" fmla="*/ 195666 h 215227"/>
                      <a:gd name="connsiteX7" fmla="*/ 218694 w 281643"/>
                      <a:gd name="connsiteY7" fmla="*/ 191190 h 215227"/>
                      <a:gd name="connsiteX8" fmla="*/ 252031 w 281643"/>
                      <a:gd name="connsiteY8" fmla="*/ 165948 h 215227"/>
                      <a:gd name="connsiteX9" fmla="*/ 249459 w 281643"/>
                      <a:gd name="connsiteY9" fmla="*/ 152804 h 215227"/>
                      <a:gd name="connsiteX10" fmla="*/ 236229 w 281643"/>
                      <a:gd name="connsiteY10" fmla="*/ 155357 h 215227"/>
                      <a:gd name="connsiteX11" fmla="*/ 236220 w 281643"/>
                      <a:gd name="connsiteY11" fmla="*/ 155376 h 215227"/>
                      <a:gd name="connsiteX12" fmla="*/ 207645 w 281643"/>
                      <a:gd name="connsiteY12" fmla="*/ 174426 h 215227"/>
                      <a:gd name="connsiteX13" fmla="*/ 178308 w 281643"/>
                      <a:gd name="connsiteY13" fmla="*/ 164901 h 215227"/>
                      <a:gd name="connsiteX14" fmla="*/ 180022 w 281643"/>
                      <a:gd name="connsiteY14" fmla="*/ 143088 h 215227"/>
                      <a:gd name="connsiteX15" fmla="*/ 169354 w 281643"/>
                      <a:gd name="connsiteY15" fmla="*/ 134706 h 215227"/>
                      <a:gd name="connsiteX16" fmla="*/ 160972 w 281643"/>
                      <a:gd name="connsiteY16" fmla="*/ 145374 h 215227"/>
                      <a:gd name="connsiteX17" fmla="*/ 137445 w 281643"/>
                      <a:gd name="connsiteY17" fmla="*/ 173473 h 215227"/>
                      <a:gd name="connsiteX18" fmla="*/ 30194 w 281643"/>
                      <a:gd name="connsiteY18" fmla="*/ 129277 h 215227"/>
                      <a:gd name="connsiteX19" fmla="*/ 35623 w 281643"/>
                      <a:gd name="connsiteY19" fmla="*/ 141564 h 215227"/>
                      <a:gd name="connsiteX20" fmla="*/ 39052 w 281643"/>
                      <a:gd name="connsiteY20" fmla="*/ 142136 h 215227"/>
                      <a:gd name="connsiteX21" fmla="*/ 48006 w 281643"/>
                      <a:gd name="connsiteY21" fmla="*/ 136040 h 215227"/>
                      <a:gd name="connsiteX22" fmla="*/ 76581 w 281643"/>
                      <a:gd name="connsiteY22" fmla="*/ 61364 h 215227"/>
                      <a:gd name="connsiteX23" fmla="*/ 30480 w 281643"/>
                      <a:gd name="connsiteY23" fmla="*/ 61364 h 215227"/>
                      <a:gd name="connsiteX24" fmla="*/ 54006 w 281643"/>
                      <a:gd name="connsiteY24" fmla="*/ 13739 h 215227"/>
                      <a:gd name="connsiteX25" fmla="*/ 49653 w 281643"/>
                      <a:gd name="connsiteY25" fmla="*/ 994 h 215227"/>
                      <a:gd name="connsiteX26" fmla="*/ 49625 w 281643"/>
                      <a:gd name="connsiteY26" fmla="*/ 975 h 215227"/>
                      <a:gd name="connsiteX27" fmla="*/ 36880 w 281643"/>
                      <a:gd name="connsiteY27" fmla="*/ 5328 h 215227"/>
                      <a:gd name="connsiteX28" fmla="*/ 36861 w 281643"/>
                      <a:gd name="connsiteY28" fmla="*/ 5357 h 215227"/>
                      <a:gd name="connsiteX29" fmla="*/ 0 w 281643"/>
                      <a:gd name="connsiteY29" fmla="*/ 80890 h 215227"/>
                      <a:gd name="connsiteX30" fmla="*/ 48863 w 281643"/>
                      <a:gd name="connsiteY30" fmla="*/ 80890 h 215227"/>
                      <a:gd name="connsiteX31" fmla="*/ 30194 w 281643"/>
                      <a:gd name="connsiteY31" fmla="*/ 129277 h 215227"/>
                      <a:gd name="connsiteX0" fmla="*/ 137445 w 286799"/>
                      <a:gd name="connsiteY0" fmla="*/ 173473 h 206303"/>
                      <a:gd name="connsiteX1" fmla="*/ 153447 w 286799"/>
                      <a:gd name="connsiteY1" fmla="*/ 192999 h 206303"/>
                      <a:gd name="connsiteX2" fmla="*/ 169545 w 286799"/>
                      <a:gd name="connsiteY2" fmla="*/ 181760 h 206303"/>
                      <a:gd name="connsiteX3" fmla="*/ 199358 w 286799"/>
                      <a:gd name="connsiteY3" fmla="*/ 192999 h 206303"/>
                      <a:gd name="connsiteX4" fmla="*/ 281225 w 286799"/>
                      <a:gd name="connsiteY4" fmla="*/ 206287 h 206303"/>
                      <a:gd name="connsiteX5" fmla="*/ 272796 w 286799"/>
                      <a:gd name="connsiteY5" fmla="*/ 195666 h 206303"/>
                      <a:gd name="connsiteX6" fmla="*/ 218694 w 286799"/>
                      <a:gd name="connsiteY6" fmla="*/ 191190 h 206303"/>
                      <a:gd name="connsiteX7" fmla="*/ 252031 w 286799"/>
                      <a:gd name="connsiteY7" fmla="*/ 165948 h 206303"/>
                      <a:gd name="connsiteX8" fmla="*/ 249459 w 286799"/>
                      <a:gd name="connsiteY8" fmla="*/ 152804 h 206303"/>
                      <a:gd name="connsiteX9" fmla="*/ 236229 w 286799"/>
                      <a:gd name="connsiteY9" fmla="*/ 155357 h 206303"/>
                      <a:gd name="connsiteX10" fmla="*/ 236220 w 286799"/>
                      <a:gd name="connsiteY10" fmla="*/ 155376 h 206303"/>
                      <a:gd name="connsiteX11" fmla="*/ 207645 w 286799"/>
                      <a:gd name="connsiteY11" fmla="*/ 174426 h 206303"/>
                      <a:gd name="connsiteX12" fmla="*/ 178308 w 286799"/>
                      <a:gd name="connsiteY12" fmla="*/ 164901 h 206303"/>
                      <a:gd name="connsiteX13" fmla="*/ 180022 w 286799"/>
                      <a:gd name="connsiteY13" fmla="*/ 143088 h 206303"/>
                      <a:gd name="connsiteX14" fmla="*/ 169354 w 286799"/>
                      <a:gd name="connsiteY14" fmla="*/ 134706 h 206303"/>
                      <a:gd name="connsiteX15" fmla="*/ 160972 w 286799"/>
                      <a:gd name="connsiteY15" fmla="*/ 145374 h 206303"/>
                      <a:gd name="connsiteX16" fmla="*/ 137445 w 286799"/>
                      <a:gd name="connsiteY16" fmla="*/ 173473 h 206303"/>
                      <a:gd name="connsiteX17" fmla="*/ 30194 w 286799"/>
                      <a:gd name="connsiteY17" fmla="*/ 129277 h 206303"/>
                      <a:gd name="connsiteX18" fmla="*/ 35623 w 286799"/>
                      <a:gd name="connsiteY18" fmla="*/ 141564 h 206303"/>
                      <a:gd name="connsiteX19" fmla="*/ 39052 w 286799"/>
                      <a:gd name="connsiteY19" fmla="*/ 142136 h 206303"/>
                      <a:gd name="connsiteX20" fmla="*/ 48006 w 286799"/>
                      <a:gd name="connsiteY20" fmla="*/ 136040 h 206303"/>
                      <a:gd name="connsiteX21" fmla="*/ 76581 w 286799"/>
                      <a:gd name="connsiteY21" fmla="*/ 61364 h 206303"/>
                      <a:gd name="connsiteX22" fmla="*/ 30480 w 286799"/>
                      <a:gd name="connsiteY22" fmla="*/ 61364 h 206303"/>
                      <a:gd name="connsiteX23" fmla="*/ 54006 w 286799"/>
                      <a:gd name="connsiteY23" fmla="*/ 13739 h 206303"/>
                      <a:gd name="connsiteX24" fmla="*/ 49653 w 286799"/>
                      <a:gd name="connsiteY24" fmla="*/ 994 h 206303"/>
                      <a:gd name="connsiteX25" fmla="*/ 49625 w 286799"/>
                      <a:gd name="connsiteY25" fmla="*/ 975 h 206303"/>
                      <a:gd name="connsiteX26" fmla="*/ 36880 w 286799"/>
                      <a:gd name="connsiteY26" fmla="*/ 5328 h 206303"/>
                      <a:gd name="connsiteX27" fmla="*/ 36861 w 286799"/>
                      <a:gd name="connsiteY27" fmla="*/ 5357 h 206303"/>
                      <a:gd name="connsiteX28" fmla="*/ 0 w 286799"/>
                      <a:gd name="connsiteY28" fmla="*/ 80890 h 206303"/>
                      <a:gd name="connsiteX29" fmla="*/ 48863 w 286799"/>
                      <a:gd name="connsiteY29" fmla="*/ 80890 h 206303"/>
                      <a:gd name="connsiteX30" fmla="*/ 30194 w 286799"/>
                      <a:gd name="connsiteY30" fmla="*/ 129277 h 206303"/>
                      <a:gd name="connsiteX0" fmla="*/ 137445 w 272934"/>
                      <a:gd name="connsiteY0" fmla="*/ 173473 h 195735"/>
                      <a:gd name="connsiteX1" fmla="*/ 153447 w 272934"/>
                      <a:gd name="connsiteY1" fmla="*/ 192999 h 195735"/>
                      <a:gd name="connsiteX2" fmla="*/ 169545 w 272934"/>
                      <a:gd name="connsiteY2" fmla="*/ 181760 h 195735"/>
                      <a:gd name="connsiteX3" fmla="*/ 199358 w 272934"/>
                      <a:gd name="connsiteY3" fmla="*/ 192999 h 195735"/>
                      <a:gd name="connsiteX4" fmla="*/ 272796 w 272934"/>
                      <a:gd name="connsiteY4" fmla="*/ 195666 h 195735"/>
                      <a:gd name="connsiteX5" fmla="*/ 218694 w 272934"/>
                      <a:gd name="connsiteY5" fmla="*/ 191190 h 195735"/>
                      <a:gd name="connsiteX6" fmla="*/ 252031 w 272934"/>
                      <a:gd name="connsiteY6" fmla="*/ 165948 h 195735"/>
                      <a:gd name="connsiteX7" fmla="*/ 249459 w 272934"/>
                      <a:gd name="connsiteY7" fmla="*/ 152804 h 195735"/>
                      <a:gd name="connsiteX8" fmla="*/ 236229 w 272934"/>
                      <a:gd name="connsiteY8" fmla="*/ 155357 h 195735"/>
                      <a:gd name="connsiteX9" fmla="*/ 236220 w 272934"/>
                      <a:gd name="connsiteY9" fmla="*/ 155376 h 195735"/>
                      <a:gd name="connsiteX10" fmla="*/ 207645 w 272934"/>
                      <a:gd name="connsiteY10" fmla="*/ 174426 h 195735"/>
                      <a:gd name="connsiteX11" fmla="*/ 178308 w 272934"/>
                      <a:gd name="connsiteY11" fmla="*/ 164901 h 195735"/>
                      <a:gd name="connsiteX12" fmla="*/ 180022 w 272934"/>
                      <a:gd name="connsiteY12" fmla="*/ 143088 h 195735"/>
                      <a:gd name="connsiteX13" fmla="*/ 169354 w 272934"/>
                      <a:gd name="connsiteY13" fmla="*/ 134706 h 195735"/>
                      <a:gd name="connsiteX14" fmla="*/ 160972 w 272934"/>
                      <a:gd name="connsiteY14" fmla="*/ 145374 h 195735"/>
                      <a:gd name="connsiteX15" fmla="*/ 137445 w 272934"/>
                      <a:gd name="connsiteY15" fmla="*/ 173473 h 195735"/>
                      <a:gd name="connsiteX16" fmla="*/ 30194 w 272934"/>
                      <a:gd name="connsiteY16" fmla="*/ 129277 h 195735"/>
                      <a:gd name="connsiteX17" fmla="*/ 35623 w 272934"/>
                      <a:gd name="connsiteY17" fmla="*/ 141564 h 195735"/>
                      <a:gd name="connsiteX18" fmla="*/ 39052 w 272934"/>
                      <a:gd name="connsiteY18" fmla="*/ 142136 h 195735"/>
                      <a:gd name="connsiteX19" fmla="*/ 48006 w 272934"/>
                      <a:gd name="connsiteY19" fmla="*/ 136040 h 195735"/>
                      <a:gd name="connsiteX20" fmla="*/ 76581 w 272934"/>
                      <a:gd name="connsiteY20" fmla="*/ 61364 h 195735"/>
                      <a:gd name="connsiteX21" fmla="*/ 30480 w 272934"/>
                      <a:gd name="connsiteY21" fmla="*/ 61364 h 195735"/>
                      <a:gd name="connsiteX22" fmla="*/ 54006 w 272934"/>
                      <a:gd name="connsiteY22" fmla="*/ 13739 h 195735"/>
                      <a:gd name="connsiteX23" fmla="*/ 49653 w 272934"/>
                      <a:gd name="connsiteY23" fmla="*/ 994 h 195735"/>
                      <a:gd name="connsiteX24" fmla="*/ 49625 w 272934"/>
                      <a:gd name="connsiteY24" fmla="*/ 975 h 195735"/>
                      <a:gd name="connsiteX25" fmla="*/ 36880 w 272934"/>
                      <a:gd name="connsiteY25" fmla="*/ 5328 h 195735"/>
                      <a:gd name="connsiteX26" fmla="*/ 36861 w 272934"/>
                      <a:gd name="connsiteY26" fmla="*/ 5357 h 195735"/>
                      <a:gd name="connsiteX27" fmla="*/ 0 w 272934"/>
                      <a:gd name="connsiteY27" fmla="*/ 80890 h 195735"/>
                      <a:gd name="connsiteX28" fmla="*/ 48863 w 272934"/>
                      <a:gd name="connsiteY28" fmla="*/ 80890 h 195735"/>
                      <a:gd name="connsiteX29" fmla="*/ 30194 w 272934"/>
                      <a:gd name="connsiteY29" fmla="*/ 129277 h 195735"/>
                      <a:gd name="connsiteX0" fmla="*/ 137445 w 253623"/>
                      <a:gd name="connsiteY0" fmla="*/ 173473 h 194381"/>
                      <a:gd name="connsiteX1" fmla="*/ 153447 w 253623"/>
                      <a:gd name="connsiteY1" fmla="*/ 192999 h 194381"/>
                      <a:gd name="connsiteX2" fmla="*/ 169545 w 253623"/>
                      <a:gd name="connsiteY2" fmla="*/ 181760 h 194381"/>
                      <a:gd name="connsiteX3" fmla="*/ 199358 w 253623"/>
                      <a:gd name="connsiteY3" fmla="*/ 192999 h 194381"/>
                      <a:gd name="connsiteX4" fmla="*/ 218694 w 253623"/>
                      <a:gd name="connsiteY4" fmla="*/ 191190 h 194381"/>
                      <a:gd name="connsiteX5" fmla="*/ 252031 w 253623"/>
                      <a:gd name="connsiteY5" fmla="*/ 165948 h 194381"/>
                      <a:gd name="connsiteX6" fmla="*/ 249459 w 253623"/>
                      <a:gd name="connsiteY6" fmla="*/ 152804 h 194381"/>
                      <a:gd name="connsiteX7" fmla="*/ 236229 w 253623"/>
                      <a:gd name="connsiteY7" fmla="*/ 155357 h 194381"/>
                      <a:gd name="connsiteX8" fmla="*/ 236220 w 253623"/>
                      <a:gd name="connsiteY8" fmla="*/ 155376 h 194381"/>
                      <a:gd name="connsiteX9" fmla="*/ 207645 w 253623"/>
                      <a:gd name="connsiteY9" fmla="*/ 174426 h 194381"/>
                      <a:gd name="connsiteX10" fmla="*/ 178308 w 253623"/>
                      <a:gd name="connsiteY10" fmla="*/ 164901 h 194381"/>
                      <a:gd name="connsiteX11" fmla="*/ 180022 w 253623"/>
                      <a:gd name="connsiteY11" fmla="*/ 143088 h 194381"/>
                      <a:gd name="connsiteX12" fmla="*/ 169354 w 253623"/>
                      <a:gd name="connsiteY12" fmla="*/ 134706 h 194381"/>
                      <a:gd name="connsiteX13" fmla="*/ 160972 w 253623"/>
                      <a:gd name="connsiteY13" fmla="*/ 145374 h 194381"/>
                      <a:gd name="connsiteX14" fmla="*/ 137445 w 253623"/>
                      <a:gd name="connsiteY14" fmla="*/ 173473 h 194381"/>
                      <a:gd name="connsiteX15" fmla="*/ 30194 w 253623"/>
                      <a:gd name="connsiteY15" fmla="*/ 129277 h 194381"/>
                      <a:gd name="connsiteX16" fmla="*/ 35623 w 253623"/>
                      <a:gd name="connsiteY16" fmla="*/ 141564 h 194381"/>
                      <a:gd name="connsiteX17" fmla="*/ 39052 w 253623"/>
                      <a:gd name="connsiteY17" fmla="*/ 142136 h 194381"/>
                      <a:gd name="connsiteX18" fmla="*/ 48006 w 253623"/>
                      <a:gd name="connsiteY18" fmla="*/ 136040 h 194381"/>
                      <a:gd name="connsiteX19" fmla="*/ 76581 w 253623"/>
                      <a:gd name="connsiteY19" fmla="*/ 61364 h 194381"/>
                      <a:gd name="connsiteX20" fmla="*/ 30480 w 253623"/>
                      <a:gd name="connsiteY20" fmla="*/ 61364 h 194381"/>
                      <a:gd name="connsiteX21" fmla="*/ 54006 w 253623"/>
                      <a:gd name="connsiteY21" fmla="*/ 13739 h 194381"/>
                      <a:gd name="connsiteX22" fmla="*/ 49653 w 253623"/>
                      <a:gd name="connsiteY22" fmla="*/ 994 h 194381"/>
                      <a:gd name="connsiteX23" fmla="*/ 49625 w 253623"/>
                      <a:gd name="connsiteY23" fmla="*/ 975 h 194381"/>
                      <a:gd name="connsiteX24" fmla="*/ 36880 w 253623"/>
                      <a:gd name="connsiteY24" fmla="*/ 5328 h 194381"/>
                      <a:gd name="connsiteX25" fmla="*/ 36861 w 253623"/>
                      <a:gd name="connsiteY25" fmla="*/ 5357 h 194381"/>
                      <a:gd name="connsiteX26" fmla="*/ 0 w 253623"/>
                      <a:gd name="connsiteY26" fmla="*/ 80890 h 194381"/>
                      <a:gd name="connsiteX27" fmla="*/ 48863 w 253623"/>
                      <a:gd name="connsiteY27" fmla="*/ 80890 h 194381"/>
                      <a:gd name="connsiteX28" fmla="*/ 30194 w 253623"/>
                      <a:gd name="connsiteY28" fmla="*/ 129277 h 194381"/>
                      <a:gd name="connsiteX0" fmla="*/ 137445 w 252384"/>
                      <a:gd name="connsiteY0" fmla="*/ 173473 h 194381"/>
                      <a:gd name="connsiteX1" fmla="*/ 153447 w 252384"/>
                      <a:gd name="connsiteY1" fmla="*/ 192999 h 194381"/>
                      <a:gd name="connsiteX2" fmla="*/ 169545 w 252384"/>
                      <a:gd name="connsiteY2" fmla="*/ 181760 h 194381"/>
                      <a:gd name="connsiteX3" fmla="*/ 199358 w 252384"/>
                      <a:gd name="connsiteY3" fmla="*/ 192999 h 194381"/>
                      <a:gd name="connsiteX4" fmla="*/ 218694 w 252384"/>
                      <a:gd name="connsiteY4" fmla="*/ 191190 h 194381"/>
                      <a:gd name="connsiteX5" fmla="*/ 252031 w 252384"/>
                      <a:gd name="connsiteY5" fmla="*/ 165948 h 194381"/>
                      <a:gd name="connsiteX6" fmla="*/ 236229 w 252384"/>
                      <a:gd name="connsiteY6" fmla="*/ 155357 h 194381"/>
                      <a:gd name="connsiteX7" fmla="*/ 236220 w 252384"/>
                      <a:gd name="connsiteY7" fmla="*/ 155376 h 194381"/>
                      <a:gd name="connsiteX8" fmla="*/ 207645 w 252384"/>
                      <a:gd name="connsiteY8" fmla="*/ 174426 h 194381"/>
                      <a:gd name="connsiteX9" fmla="*/ 178308 w 252384"/>
                      <a:gd name="connsiteY9" fmla="*/ 164901 h 194381"/>
                      <a:gd name="connsiteX10" fmla="*/ 180022 w 252384"/>
                      <a:gd name="connsiteY10" fmla="*/ 143088 h 194381"/>
                      <a:gd name="connsiteX11" fmla="*/ 169354 w 252384"/>
                      <a:gd name="connsiteY11" fmla="*/ 134706 h 194381"/>
                      <a:gd name="connsiteX12" fmla="*/ 160972 w 252384"/>
                      <a:gd name="connsiteY12" fmla="*/ 145374 h 194381"/>
                      <a:gd name="connsiteX13" fmla="*/ 137445 w 252384"/>
                      <a:gd name="connsiteY13" fmla="*/ 173473 h 194381"/>
                      <a:gd name="connsiteX14" fmla="*/ 30194 w 252384"/>
                      <a:gd name="connsiteY14" fmla="*/ 129277 h 194381"/>
                      <a:gd name="connsiteX15" fmla="*/ 35623 w 252384"/>
                      <a:gd name="connsiteY15" fmla="*/ 141564 h 194381"/>
                      <a:gd name="connsiteX16" fmla="*/ 39052 w 252384"/>
                      <a:gd name="connsiteY16" fmla="*/ 142136 h 194381"/>
                      <a:gd name="connsiteX17" fmla="*/ 48006 w 252384"/>
                      <a:gd name="connsiteY17" fmla="*/ 136040 h 194381"/>
                      <a:gd name="connsiteX18" fmla="*/ 76581 w 252384"/>
                      <a:gd name="connsiteY18" fmla="*/ 61364 h 194381"/>
                      <a:gd name="connsiteX19" fmla="*/ 30480 w 252384"/>
                      <a:gd name="connsiteY19" fmla="*/ 61364 h 194381"/>
                      <a:gd name="connsiteX20" fmla="*/ 54006 w 252384"/>
                      <a:gd name="connsiteY20" fmla="*/ 13739 h 194381"/>
                      <a:gd name="connsiteX21" fmla="*/ 49653 w 252384"/>
                      <a:gd name="connsiteY21" fmla="*/ 994 h 194381"/>
                      <a:gd name="connsiteX22" fmla="*/ 49625 w 252384"/>
                      <a:gd name="connsiteY22" fmla="*/ 975 h 194381"/>
                      <a:gd name="connsiteX23" fmla="*/ 36880 w 252384"/>
                      <a:gd name="connsiteY23" fmla="*/ 5328 h 194381"/>
                      <a:gd name="connsiteX24" fmla="*/ 36861 w 252384"/>
                      <a:gd name="connsiteY24" fmla="*/ 5357 h 194381"/>
                      <a:gd name="connsiteX25" fmla="*/ 0 w 252384"/>
                      <a:gd name="connsiteY25" fmla="*/ 80890 h 194381"/>
                      <a:gd name="connsiteX26" fmla="*/ 48863 w 252384"/>
                      <a:gd name="connsiteY26" fmla="*/ 80890 h 194381"/>
                      <a:gd name="connsiteX27" fmla="*/ 30194 w 252384"/>
                      <a:gd name="connsiteY27" fmla="*/ 129277 h 194381"/>
                      <a:gd name="connsiteX0" fmla="*/ 137445 w 252384"/>
                      <a:gd name="connsiteY0" fmla="*/ 173473 h 194381"/>
                      <a:gd name="connsiteX1" fmla="*/ 153447 w 252384"/>
                      <a:gd name="connsiteY1" fmla="*/ 192999 h 194381"/>
                      <a:gd name="connsiteX2" fmla="*/ 169545 w 252384"/>
                      <a:gd name="connsiteY2" fmla="*/ 181760 h 194381"/>
                      <a:gd name="connsiteX3" fmla="*/ 199358 w 252384"/>
                      <a:gd name="connsiteY3" fmla="*/ 192999 h 194381"/>
                      <a:gd name="connsiteX4" fmla="*/ 218694 w 252384"/>
                      <a:gd name="connsiteY4" fmla="*/ 191190 h 194381"/>
                      <a:gd name="connsiteX5" fmla="*/ 252031 w 252384"/>
                      <a:gd name="connsiteY5" fmla="*/ 165948 h 194381"/>
                      <a:gd name="connsiteX6" fmla="*/ 236229 w 252384"/>
                      <a:gd name="connsiteY6" fmla="*/ 155357 h 194381"/>
                      <a:gd name="connsiteX7" fmla="*/ 207645 w 252384"/>
                      <a:gd name="connsiteY7" fmla="*/ 174426 h 194381"/>
                      <a:gd name="connsiteX8" fmla="*/ 178308 w 252384"/>
                      <a:gd name="connsiteY8" fmla="*/ 164901 h 194381"/>
                      <a:gd name="connsiteX9" fmla="*/ 180022 w 252384"/>
                      <a:gd name="connsiteY9" fmla="*/ 143088 h 194381"/>
                      <a:gd name="connsiteX10" fmla="*/ 169354 w 252384"/>
                      <a:gd name="connsiteY10" fmla="*/ 134706 h 194381"/>
                      <a:gd name="connsiteX11" fmla="*/ 160972 w 252384"/>
                      <a:gd name="connsiteY11" fmla="*/ 145374 h 194381"/>
                      <a:gd name="connsiteX12" fmla="*/ 137445 w 252384"/>
                      <a:gd name="connsiteY12" fmla="*/ 173473 h 194381"/>
                      <a:gd name="connsiteX13" fmla="*/ 30194 w 252384"/>
                      <a:gd name="connsiteY13" fmla="*/ 129277 h 194381"/>
                      <a:gd name="connsiteX14" fmla="*/ 35623 w 252384"/>
                      <a:gd name="connsiteY14" fmla="*/ 141564 h 194381"/>
                      <a:gd name="connsiteX15" fmla="*/ 39052 w 252384"/>
                      <a:gd name="connsiteY15" fmla="*/ 142136 h 194381"/>
                      <a:gd name="connsiteX16" fmla="*/ 48006 w 252384"/>
                      <a:gd name="connsiteY16" fmla="*/ 136040 h 194381"/>
                      <a:gd name="connsiteX17" fmla="*/ 76581 w 252384"/>
                      <a:gd name="connsiteY17" fmla="*/ 61364 h 194381"/>
                      <a:gd name="connsiteX18" fmla="*/ 30480 w 252384"/>
                      <a:gd name="connsiteY18" fmla="*/ 61364 h 194381"/>
                      <a:gd name="connsiteX19" fmla="*/ 54006 w 252384"/>
                      <a:gd name="connsiteY19" fmla="*/ 13739 h 194381"/>
                      <a:gd name="connsiteX20" fmla="*/ 49653 w 252384"/>
                      <a:gd name="connsiteY20" fmla="*/ 994 h 194381"/>
                      <a:gd name="connsiteX21" fmla="*/ 49625 w 252384"/>
                      <a:gd name="connsiteY21" fmla="*/ 975 h 194381"/>
                      <a:gd name="connsiteX22" fmla="*/ 36880 w 252384"/>
                      <a:gd name="connsiteY22" fmla="*/ 5328 h 194381"/>
                      <a:gd name="connsiteX23" fmla="*/ 36861 w 252384"/>
                      <a:gd name="connsiteY23" fmla="*/ 5357 h 194381"/>
                      <a:gd name="connsiteX24" fmla="*/ 0 w 252384"/>
                      <a:gd name="connsiteY24" fmla="*/ 80890 h 194381"/>
                      <a:gd name="connsiteX25" fmla="*/ 48863 w 252384"/>
                      <a:gd name="connsiteY25" fmla="*/ 80890 h 194381"/>
                      <a:gd name="connsiteX26" fmla="*/ 30194 w 252384"/>
                      <a:gd name="connsiteY26" fmla="*/ 129277 h 194381"/>
                      <a:gd name="connsiteX0" fmla="*/ 137445 w 236403"/>
                      <a:gd name="connsiteY0" fmla="*/ 173473 h 194381"/>
                      <a:gd name="connsiteX1" fmla="*/ 153447 w 236403"/>
                      <a:gd name="connsiteY1" fmla="*/ 192999 h 194381"/>
                      <a:gd name="connsiteX2" fmla="*/ 169545 w 236403"/>
                      <a:gd name="connsiteY2" fmla="*/ 181760 h 194381"/>
                      <a:gd name="connsiteX3" fmla="*/ 199358 w 236403"/>
                      <a:gd name="connsiteY3" fmla="*/ 192999 h 194381"/>
                      <a:gd name="connsiteX4" fmla="*/ 218694 w 236403"/>
                      <a:gd name="connsiteY4" fmla="*/ 191190 h 194381"/>
                      <a:gd name="connsiteX5" fmla="*/ 236229 w 236403"/>
                      <a:gd name="connsiteY5" fmla="*/ 155357 h 194381"/>
                      <a:gd name="connsiteX6" fmla="*/ 207645 w 236403"/>
                      <a:gd name="connsiteY6" fmla="*/ 174426 h 194381"/>
                      <a:gd name="connsiteX7" fmla="*/ 178308 w 236403"/>
                      <a:gd name="connsiteY7" fmla="*/ 164901 h 194381"/>
                      <a:gd name="connsiteX8" fmla="*/ 180022 w 236403"/>
                      <a:gd name="connsiteY8" fmla="*/ 143088 h 194381"/>
                      <a:gd name="connsiteX9" fmla="*/ 169354 w 236403"/>
                      <a:gd name="connsiteY9" fmla="*/ 134706 h 194381"/>
                      <a:gd name="connsiteX10" fmla="*/ 160972 w 236403"/>
                      <a:gd name="connsiteY10" fmla="*/ 145374 h 194381"/>
                      <a:gd name="connsiteX11" fmla="*/ 137445 w 236403"/>
                      <a:gd name="connsiteY11" fmla="*/ 173473 h 194381"/>
                      <a:gd name="connsiteX12" fmla="*/ 30194 w 236403"/>
                      <a:gd name="connsiteY12" fmla="*/ 129277 h 194381"/>
                      <a:gd name="connsiteX13" fmla="*/ 35623 w 236403"/>
                      <a:gd name="connsiteY13" fmla="*/ 141564 h 194381"/>
                      <a:gd name="connsiteX14" fmla="*/ 39052 w 236403"/>
                      <a:gd name="connsiteY14" fmla="*/ 142136 h 194381"/>
                      <a:gd name="connsiteX15" fmla="*/ 48006 w 236403"/>
                      <a:gd name="connsiteY15" fmla="*/ 136040 h 194381"/>
                      <a:gd name="connsiteX16" fmla="*/ 76581 w 236403"/>
                      <a:gd name="connsiteY16" fmla="*/ 61364 h 194381"/>
                      <a:gd name="connsiteX17" fmla="*/ 30480 w 236403"/>
                      <a:gd name="connsiteY17" fmla="*/ 61364 h 194381"/>
                      <a:gd name="connsiteX18" fmla="*/ 54006 w 236403"/>
                      <a:gd name="connsiteY18" fmla="*/ 13739 h 194381"/>
                      <a:gd name="connsiteX19" fmla="*/ 49653 w 236403"/>
                      <a:gd name="connsiteY19" fmla="*/ 994 h 194381"/>
                      <a:gd name="connsiteX20" fmla="*/ 49625 w 236403"/>
                      <a:gd name="connsiteY20" fmla="*/ 975 h 194381"/>
                      <a:gd name="connsiteX21" fmla="*/ 36880 w 236403"/>
                      <a:gd name="connsiteY21" fmla="*/ 5328 h 194381"/>
                      <a:gd name="connsiteX22" fmla="*/ 36861 w 236403"/>
                      <a:gd name="connsiteY22" fmla="*/ 5357 h 194381"/>
                      <a:gd name="connsiteX23" fmla="*/ 0 w 236403"/>
                      <a:gd name="connsiteY23" fmla="*/ 80890 h 194381"/>
                      <a:gd name="connsiteX24" fmla="*/ 48863 w 236403"/>
                      <a:gd name="connsiteY24" fmla="*/ 80890 h 194381"/>
                      <a:gd name="connsiteX25" fmla="*/ 30194 w 236403"/>
                      <a:gd name="connsiteY25" fmla="*/ 129277 h 194381"/>
                      <a:gd name="connsiteX0" fmla="*/ 137445 w 218902"/>
                      <a:gd name="connsiteY0" fmla="*/ 173473 h 194381"/>
                      <a:gd name="connsiteX1" fmla="*/ 153447 w 218902"/>
                      <a:gd name="connsiteY1" fmla="*/ 192999 h 194381"/>
                      <a:gd name="connsiteX2" fmla="*/ 169545 w 218902"/>
                      <a:gd name="connsiteY2" fmla="*/ 181760 h 194381"/>
                      <a:gd name="connsiteX3" fmla="*/ 199358 w 218902"/>
                      <a:gd name="connsiteY3" fmla="*/ 192999 h 194381"/>
                      <a:gd name="connsiteX4" fmla="*/ 218694 w 218902"/>
                      <a:gd name="connsiteY4" fmla="*/ 191190 h 194381"/>
                      <a:gd name="connsiteX5" fmla="*/ 207645 w 218902"/>
                      <a:gd name="connsiteY5" fmla="*/ 174426 h 194381"/>
                      <a:gd name="connsiteX6" fmla="*/ 178308 w 218902"/>
                      <a:gd name="connsiteY6" fmla="*/ 164901 h 194381"/>
                      <a:gd name="connsiteX7" fmla="*/ 180022 w 218902"/>
                      <a:gd name="connsiteY7" fmla="*/ 143088 h 194381"/>
                      <a:gd name="connsiteX8" fmla="*/ 169354 w 218902"/>
                      <a:gd name="connsiteY8" fmla="*/ 134706 h 194381"/>
                      <a:gd name="connsiteX9" fmla="*/ 160972 w 218902"/>
                      <a:gd name="connsiteY9" fmla="*/ 145374 h 194381"/>
                      <a:gd name="connsiteX10" fmla="*/ 137445 w 218902"/>
                      <a:gd name="connsiteY10" fmla="*/ 173473 h 194381"/>
                      <a:gd name="connsiteX11" fmla="*/ 30194 w 218902"/>
                      <a:gd name="connsiteY11" fmla="*/ 129277 h 194381"/>
                      <a:gd name="connsiteX12" fmla="*/ 35623 w 218902"/>
                      <a:gd name="connsiteY12" fmla="*/ 141564 h 194381"/>
                      <a:gd name="connsiteX13" fmla="*/ 39052 w 218902"/>
                      <a:gd name="connsiteY13" fmla="*/ 142136 h 194381"/>
                      <a:gd name="connsiteX14" fmla="*/ 48006 w 218902"/>
                      <a:gd name="connsiteY14" fmla="*/ 136040 h 194381"/>
                      <a:gd name="connsiteX15" fmla="*/ 76581 w 218902"/>
                      <a:gd name="connsiteY15" fmla="*/ 61364 h 194381"/>
                      <a:gd name="connsiteX16" fmla="*/ 30480 w 218902"/>
                      <a:gd name="connsiteY16" fmla="*/ 61364 h 194381"/>
                      <a:gd name="connsiteX17" fmla="*/ 54006 w 218902"/>
                      <a:gd name="connsiteY17" fmla="*/ 13739 h 194381"/>
                      <a:gd name="connsiteX18" fmla="*/ 49653 w 218902"/>
                      <a:gd name="connsiteY18" fmla="*/ 994 h 194381"/>
                      <a:gd name="connsiteX19" fmla="*/ 49625 w 218902"/>
                      <a:gd name="connsiteY19" fmla="*/ 975 h 194381"/>
                      <a:gd name="connsiteX20" fmla="*/ 36880 w 218902"/>
                      <a:gd name="connsiteY20" fmla="*/ 5328 h 194381"/>
                      <a:gd name="connsiteX21" fmla="*/ 36861 w 218902"/>
                      <a:gd name="connsiteY21" fmla="*/ 5357 h 194381"/>
                      <a:gd name="connsiteX22" fmla="*/ 0 w 218902"/>
                      <a:gd name="connsiteY22" fmla="*/ 80890 h 194381"/>
                      <a:gd name="connsiteX23" fmla="*/ 48863 w 218902"/>
                      <a:gd name="connsiteY23" fmla="*/ 80890 h 194381"/>
                      <a:gd name="connsiteX24" fmla="*/ 30194 w 218902"/>
                      <a:gd name="connsiteY24" fmla="*/ 129277 h 194381"/>
                      <a:gd name="connsiteX0" fmla="*/ 137445 w 208746"/>
                      <a:gd name="connsiteY0" fmla="*/ 173473 h 192999"/>
                      <a:gd name="connsiteX1" fmla="*/ 153447 w 208746"/>
                      <a:gd name="connsiteY1" fmla="*/ 192999 h 192999"/>
                      <a:gd name="connsiteX2" fmla="*/ 169545 w 208746"/>
                      <a:gd name="connsiteY2" fmla="*/ 181760 h 192999"/>
                      <a:gd name="connsiteX3" fmla="*/ 199358 w 208746"/>
                      <a:gd name="connsiteY3" fmla="*/ 192999 h 192999"/>
                      <a:gd name="connsiteX4" fmla="*/ 207645 w 208746"/>
                      <a:gd name="connsiteY4" fmla="*/ 174426 h 192999"/>
                      <a:gd name="connsiteX5" fmla="*/ 178308 w 208746"/>
                      <a:gd name="connsiteY5" fmla="*/ 164901 h 192999"/>
                      <a:gd name="connsiteX6" fmla="*/ 180022 w 208746"/>
                      <a:gd name="connsiteY6" fmla="*/ 143088 h 192999"/>
                      <a:gd name="connsiteX7" fmla="*/ 169354 w 208746"/>
                      <a:gd name="connsiteY7" fmla="*/ 134706 h 192999"/>
                      <a:gd name="connsiteX8" fmla="*/ 160972 w 208746"/>
                      <a:gd name="connsiteY8" fmla="*/ 145374 h 192999"/>
                      <a:gd name="connsiteX9" fmla="*/ 137445 w 208746"/>
                      <a:gd name="connsiteY9" fmla="*/ 173473 h 192999"/>
                      <a:gd name="connsiteX10" fmla="*/ 30194 w 208746"/>
                      <a:gd name="connsiteY10" fmla="*/ 129277 h 192999"/>
                      <a:gd name="connsiteX11" fmla="*/ 35623 w 208746"/>
                      <a:gd name="connsiteY11" fmla="*/ 141564 h 192999"/>
                      <a:gd name="connsiteX12" fmla="*/ 39052 w 208746"/>
                      <a:gd name="connsiteY12" fmla="*/ 142136 h 192999"/>
                      <a:gd name="connsiteX13" fmla="*/ 48006 w 208746"/>
                      <a:gd name="connsiteY13" fmla="*/ 136040 h 192999"/>
                      <a:gd name="connsiteX14" fmla="*/ 76581 w 208746"/>
                      <a:gd name="connsiteY14" fmla="*/ 61364 h 192999"/>
                      <a:gd name="connsiteX15" fmla="*/ 30480 w 208746"/>
                      <a:gd name="connsiteY15" fmla="*/ 61364 h 192999"/>
                      <a:gd name="connsiteX16" fmla="*/ 54006 w 208746"/>
                      <a:gd name="connsiteY16" fmla="*/ 13739 h 192999"/>
                      <a:gd name="connsiteX17" fmla="*/ 49653 w 208746"/>
                      <a:gd name="connsiteY17" fmla="*/ 994 h 192999"/>
                      <a:gd name="connsiteX18" fmla="*/ 49625 w 208746"/>
                      <a:gd name="connsiteY18" fmla="*/ 975 h 192999"/>
                      <a:gd name="connsiteX19" fmla="*/ 36880 w 208746"/>
                      <a:gd name="connsiteY19" fmla="*/ 5328 h 192999"/>
                      <a:gd name="connsiteX20" fmla="*/ 36861 w 208746"/>
                      <a:gd name="connsiteY20" fmla="*/ 5357 h 192999"/>
                      <a:gd name="connsiteX21" fmla="*/ 0 w 208746"/>
                      <a:gd name="connsiteY21" fmla="*/ 80890 h 192999"/>
                      <a:gd name="connsiteX22" fmla="*/ 48863 w 208746"/>
                      <a:gd name="connsiteY22" fmla="*/ 80890 h 192999"/>
                      <a:gd name="connsiteX23" fmla="*/ 30194 w 208746"/>
                      <a:gd name="connsiteY23" fmla="*/ 129277 h 192999"/>
                      <a:gd name="connsiteX0" fmla="*/ 137445 w 207645"/>
                      <a:gd name="connsiteY0" fmla="*/ 173473 h 192999"/>
                      <a:gd name="connsiteX1" fmla="*/ 153447 w 207645"/>
                      <a:gd name="connsiteY1" fmla="*/ 192999 h 192999"/>
                      <a:gd name="connsiteX2" fmla="*/ 169545 w 207645"/>
                      <a:gd name="connsiteY2" fmla="*/ 181760 h 192999"/>
                      <a:gd name="connsiteX3" fmla="*/ 207645 w 207645"/>
                      <a:gd name="connsiteY3" fmla="*/ 174426 h 192999"/>
                      <a:gd name="connsiteX4" fmla="*/ 178308 w 207645"/>
                      <a:gd name="connsiteY4" fmla="*/ 164901 h 192999"/>
                      <a:gd name="connsiteX5" fmla="*/ 180022 w 207645"/>
                      <a:gd name="connsiteY5" fmla="*/ 143088 h 192999"/>
                      <a:gd name="connsiteX6" fmla="*/ 169354 w 207645"/>
                      <a:gd name="connsiteY6" fmla="*/ 134706 h 192999"/>
                      <a:gd name="connsiteX7" fmla="*/ 160972 w 207645"/>
                      <a:gd name="connsiteY7" fmla="*/ 145374 h 192999"/>
                      <a:gd name="connsiteX8" fmla="*/ 137445 w 207645"/>
                      <a:gd name="connsiteY8" fmla="*/ 173473 h 192999"/>
                      <a:gd name="connsiteX9" fmla="*/ 30194 w 207645"/>
                      <a:gd name="connsiteY9" fmla="*/ 129277 h 192999"/>
                      <a:gd name="connsiteX10" fmla="*/ 35623 w 207645"/>
                      <a:gd name="connsiteY10" fmla="*/ 141564 h 192999"/>
                      <a:gd name="connsiteX11" fmla="*/ 39052 w 207645"/>
                      <a:gd name="connsiteY11" fmla="*/ 142136 h 192999"/>
                      <a:gd name="connsiteX12" fmla="*/ 48006 w 207645"/>
                      <a:gd name="connsiteY12" fmla="*/ 136040 h 192999"/>
                      <a:gd name="connsiteX13" fmla="*/ 76581 w 207645"/>
                      <a:gd name="connsiteY13" fmla="*/ 61364 h 192999"/>
                      <a:gd name="connsiteX14" fmla="*/ 30480 w 207645"/>
                      <a:gd name="connsiteY14" fmla="*/ 61364 h 192999"/>
                      <a:gd name="connsiteX15" fmla="*/ 54006 w 207645"/>
                      <a:gd name="connsiteY15" fmla="*/ 13739 h 192999"/>
                      <a:gd name="connsiteX16" fmla="*/ 49653 w 207645"/>
                      <a:gd name="connsiteY16" fmla="*/ 994 h 192999"/>
                      <a:gd name="connsiteX17" fmla="*/ 49625 w 207645"/>
                      <a:gd name="connsiteY17" fmla="*/ 975 h 192999"/>
                      <a:gd name="connsiteX18" fmla="*/ 36880 w 207645"/>
                      <a:gd name="connsiteY18" fmla="*/ 5328 h 192999"/>
                      <a:gd name="connsiteX19" fmla="*/ 36861 w 207645"/>
                      <a:gd name="connsiteY19" fmla="*/ 5357 h 192999"/>
                      <a:gd name="connsiteX20" fmla="*/ 0 w 207645"/>
                      <a:gd name="connsiteY20" fmla="*/ 80890 h 192999"/>
                      <a:gd name="connsiteX21" fmla="*/ 48863 w 207645"/>
                      <a:gd name="connsiteY21" fmla="*/ 80890 h 192999"/>
                      <a:gd name="connsiteX22" fmla="*/ 30194 w 207645"/>
                      <a:gd name="connsiteY22" fmla="*/ 129277 h 192999"/>
                      <a:gd name="connsiteX0" fmla="*/ 137445 w 180329"/>
                      <a:gd name="connsiteY0" fmla="*/ 173473 h 192999"/>
                      <a:gd name="connsiteX1" fmla="*/ 153447 w 180329"/>
                      <a:gd name="connsiteY1" fmla="*/ 192999 h 192999"/>
                      <a:gd name="connsiteX2" fmla="*/ 169545 w 180329"/>
                      <a:gd name="connsiteY2" fmla="*/ 181760 h 192999"/>
                      <a:gd name="connsiteX3" fmla="*/ 178308 w 180329"/>
                      <a:gd name="connsiteY3" fmla="*/ 164901 h 192999"/>
                      <a:gd name="connsiteX4" fmla="*/ 180022 w 180329"/>
                      <a:gd name="connsiteY4" fmla="*/ 143088 h 192999"/>
                      <a:gd name="connsiteX5" fmla="*/ 169354 w 180329"/>
                      <a:gd name="connsiteY5" fmla="*/ 134706 h 192999"/>
                      <a:gd name="connsiteX6" fmla="*/ 160972 w 180329"/>
                      <a:gd name="connsiteY6" fmla="*/ 145374 h 192999"/>
                      <a:gd name="connsiteX7" fmla="*/ 137445 w 180329"/>
                      <a:gd name="connsiteY7" fmla="*/ 173473 h 192999"/>
                      <a:gd name="connsiteX8" fmla="*/ 30194 w 180329"/>
                      <a:gd name="connsiteY8" fmla="*/ 129277 h 192999"/>
                      <a:gd name="connsiteX9" fmla="*/ 35623 w 180329"/>
                      <a:gd name="connsiteY9" fmla="*/ 141564 h 192999"/>
                      <a:gd name="connsiteX10" fmla="*/ 39052 w 180329"/>
                      <a:gd name="connsiteY10" fmla="*/ 142136 h 192999"/>
                      <a:gd name="connsiteX11" fmla="*/ 48006 w 180329"/>
                      <a:gd name="connsiteY11" fmla="*/ 136040 h 192999"/>
                      <a:gd name="connsiteX12" fmla="*/ 76581 w 180329"/>
                      <a:gd name="connsiteY12" fmla="*/ 61364 h 192999"/>
                      <a:gd name="connsiteX13" fmla="*/ 30480 w 180329"/>
                      <a:gd name="connsiteY13" fmla="*/ 61364 h 192999"/>
                      <a:gd name="connsiteX14" fmla="*/ 54006 w 180329"/>
                      <a:gd name="connsiteY14" fmla="*/ 13739 h 192999"/>
                      <a:gd name="connsiteX15" fmla="*/ 49653 w 180329"/>
                      <a:gd name="connsiteY15" fmla="*/ 994 h 192999"/>
                      <a:gd name="connsiteX16" fmla="*/ 49625 w 180329"/>
                      <a:gd name="connsiteY16" fmla="*/ 975 h 192999"/>
                      <a:gd name="connsiteX17" fmla="*/ 36880 w 180329"/>
                      <a:gd name="connsiteY17" fmla="*/ 5328 h 192999"/>
                      <a:gd name="connsiteX18" fmla="*/ 36861 w 180329"/>
                      <a:gd name="connsiteY18" fmla="*/ 5357 h 192999"/>
                      <a:gd name="connsiteX19" fmla="*/ 0 w 180329"/>
                      <a:gd name="connsiteY19" fmla="*/ 80890 h 192999"/>
                      <a:gd name="connsiteX20" fmla="*/ 48863 w 180329"/>
                      <a:gd name="connsiteY20" fmla="*/ 80890 h 192999"/>
                      <a:gd name="connsiteX21" fmla="*/ 30194 w 180329"/>
                      <a:gd name="connsiteY21" fmla="*/ 129277 h 192999"/>
                      <a:gd name="connsiteX0" fmla="*/ 137445 w 180329"/>
                      <a:gd name="connsiteY0" fmla="*/ 173473 h 192999"/>
                      <a:gd name="connsiteX1" fmla="*/ 153447 w 180329"/>
                      <a:gd name="connsiteY1" fmla="*/ 192999 h 192999"/>
                      <a:gd name="connsiteX2" fmla="*/ 178308 w 180329"/>
                      <a:gd name="connsiteY2" fmla="*/ 164901 h 192999"/>
                      <a:gd name="connsiteX3" fmla="*/ 180022 w 180329"/>
                      <a:gd name="connsiteY3" fmla="*/ 143088 h 192999"/>
                      <a:gd name="connsiteX4" fmla="*/ 169354 w 180329"/>
                      <a:gd name="connsiteY4" fmla="*/ 134706 h 192999"/>
                      <a:gd name="connsiteX5" fmla="*/ 160972 w 180329"/>
                      <a:gd name="connsiteY5" fmla="*/ 145374 h 192999"/>
                      <a:gd name="connsiteX6" fmla="*/ 137445 w 180329"/>
                      <a:gd name="connsiteY6" fmla="*/ 173473 h 192999"/>
                      <a:gd name="connsiteX7" fmla="*/ 30194 w 180329"/>
                      <a:gd name="connsiteY7" fmla="*/ 129277 h 192999"/>
                      <a:gd name="connsiteX8" fmla="*/ 35623 w 180329"/>
                      <a:gd name="connsiteY8" fmla="*/ 141564 h 192999"/>
                      <a:gd name="connsiteX9" fmla="*/ 39052 w 180329"/>
                      <a:gd name="connsiteY9" fmla="*/ 142136 h 192999"/>
                      <a:gd name="connsiteX10" fmla="*/ 48006 w 180329"/>
                      <a:gd name="connsiteY10" fmla="*/ 136040 h 192999"/>
                      <a:gd name="connsiteX11" fmla="*/ 76581 w 180329"/>
                      <a:gd name="connsiteY11" fmla="*/ 61364 h 192999"/>
                      <a:gd name="connsiteX12" fmla="*/ 30480 w 180329"/>
                      <a:gd name="connsiteY12" fmla="*/ 61364 h 192999"/>
                      <a:gd name="connsiteX13" fmla="*/ 54006 w 180329"/>
                      <a:gd name="connsiteY13" fmla="*/ 13739 h 192999"/>
                      <a:gd name="connsiteX14" fmla="*/ 49653 w 180329"/>
                      <a:gd name="connsiteY14" fmla="*/ 994 h 192999"/>
                      <a:gd name="connsiteX15" fmla="*/ 49625 w 180329"/>
                      <a:gd name="connsiteY15" fmla="*/ 975 h 192999"/>
                      <a:gd name="connsiteX16" fmla="*/ 36880 w 180329"/>
                      <a:gd name="connsiteY16" fmla="*/ 5328 h 192999"/>
                      <a:gd name="connsiteX17" fmla="*/ 36861 w 180329"/>
                      <a:gd name="connsiteY17" fmla="*/ 5357 h 192999"/>
                      <a:gd name="connsiteX18" fmla="*/ 0 w 180329"/>
                      <a:gd name="connsiteY18" fmla="*/ 80890 h 192999"/>
                      <a:gd name="connsiteX19" fmla="*/ 48863 w 180329"/>
                      <a:gd name="connsiteY19" fmla="*/ 80890 h 192999"/>
                      <a:gd name="connsiteX20" fmla="*/ 30194 w 180329"/>
                      <a:gd name="connsiteY20" fmla="*/ 129277 h 192999"/>
                      <a:gd name="connsiteX0" fmla="*/ 137445 w 180543"/>
                      <a:gd name="connsiteY0" fmla="*/ 173473 h 192999"/>
                      <a:gd name="connsiteX1" fmla="*/ 153447 w 180543"/>
                      <a:gd name="connsiteY1" fmla="*/ 192999 h 192999"/>
                      <a:gd name="connsiteX2" fmla="*/ 180022 w 180543"/>
                      <a:gd name="connsiteY2" fmla="*/ 143088 h 192999"/>
                      <a:gd name="connsiteX3" fmla="*/ 169354 w 180543"/>
                      <a:gd name="connsiteY3" fmla="*/ 134706 h 192999"/>
                      <a:gd name="connsiteX4" fmla="*/ 160972 w 180543"/>
                      <a:gd name="connsiteY4" fmla="*/ 145374 h 192999"/>
                      <a:gd name="connsiteX5" fmla="*/ 137445 w 180543"/>
                      <a:gd name="connsiteY5" fmla="*/ 173473 h 192999"/>
                      <a:gd name="connsiteX6" fmla="*/ 30194 w 180543"/>
                      <a:gd name="connsiteY6" fmla="*/ 129277 h 192999"/>
                      <a:gd name="connsiteX7" fmla="*/ 35623 w 180543"/>
                      <a:gd name="connsiteY7" fmla="*/ 141564 h 192999"/>
                      <a:gd name="connsiteX8" fmla="*/ 39052 w 180543"/>
                      <a:gd name="connsiteY8" fmla="*/ 142136 h 192999"/>
                      <a:gd name="connsiteX9" fmla="*/ 48006 w 180543"/>
                      <a:gd name="connsiteY9" fmla="*/ 136040 h 192999"/>
                      <a:gd name="connsiteX10" fmla="*/ 76581 w 180543"/>
                      <a:gd name="connsiteY10" fmla="*/ 61364 h 192999"/>
                      <a:gd name="connsiteX11" fmla="*/ 30480 w 180543"/>
                      <a:gd name="connsiteY11" fmla="*/ 61364 h 192999"/>
                      <a:gd name="connsiteX12" fmla="*/ 54006 w 180543"/>
                      <a:gd name="connsiteY12" fmla="*/ 13739 h 192999"/>
                      <a:gd name="connsiteX13" fmla="*/ 49653 w 180543"/>
                      <a:gd name="connsiteY13" fmla="*/ 994 h 192999"/>
                      <a:gd name="connsiteX14" fmla="*/ 49625 w 180543"/>
                      <a:gd name="connsiteY14" fmla="*/ 975 h 192999"/>
                      <a:gd name="connsiteX15" fmla="*/ 36880 w 180543"/>
                      <a:gd name="connsiteY15" fmla="*/ 5328 h 192999"/>
                      <a:gd name="connsiteX16" fmla="*/ 36861 w 180543"/>
                      <a:gd name="connsiteY16" fmla="*/ 5357 h 192999"/>
                      <a:gd name="connsiteX17" fmla="*/ 0 w 180543"/>
                      <a:gd name="connsiteY17" fmla="*/ 80890 h 192999"/>
                      <a:gd name="connsiteX18" fmla="*/ 48863 w 180543"/>
                      <a:gd name="connsiteY18" fmla="*/ 80890 h 192999"/>
                      <a:gd name="connsiteX19" fmla="*/ 30194 w 180543"/>
                      <a:gd name="connsiteY19" fmla="*/ 129277 h 192999"/>
                      <a:gd name="connsiteX0" fmla="*/ 137445 w 180105"/>
                      <a:gd name="connsiteY0" fmla="*/ 173473 h 192999"/>
                      <a:gd name="connsiteX1" fmla="*/ 153447 w 180105"/>
                      <a:gd name="connsiteY1" fmla="*/ 192999 h 192999"/>
                      <a:gd name="connsiteX2" fmla="*/ 180022 w 180105"/>
                      <a:gd name="connsiteY2" fmla="*/ 143088 h 192999"/>
                      <a:gd name="connsiteX3" fmla="*/ 160972 w 180105"/>
                      <a:gd name="connsiteY3" fmla="*/ 145374 h 192999"/>
                      <a:gd name="connsiteX4" fmla="*/ 137445 w 180105"/>
                      <a:gd name="connsiteY4" fmla="*/ 173473 h 192999"/>
                      <a:gd name="connsiteX5" fmla="*/ 30194 w 180105"/>
                      <a:gd name="connsiteY5" fmla="*/ 129277 h 192999"/>
                      <a:gd name="connsiteX6" fmla="*/ 35623 w 180105"/>
                      <a:gd name="connsiteY6" fmla="*/ 141564 h 192999"/>
                      <a:gd name="connsiteX7" fmla="*/ 39052 w 180105"/>
                      <a:gd name="connsiteY7" fmla="*/ 142136 h 192999"/>
                      <a:gd name="connsiteX8" fmla="*/ 48006 w 180105"/>
                      <a:gd name="connsiteY8" fmla="*/ 136040 h 192999"/>
                      <a:gd name="connsiteX9" fmla="*/ 76581 w 180105"/>
                      <a:gd name="connsiteY9" fmla="*/ 61364 h 192999"/>
                      <a:gd name="connsiteX10" fmla="*/ 30480 w 180105"/>
                      <a:gd name="connsiteY10" fmla="*/ 61364 h 192999"/>
                      <a:gd name="connsiteX11" fmla="*/ 54006 w 180105"/>
                      <a:gd name="connsiteY11" fmla="*/ 13739 h 192999"/>
                      <a:gd name="connsiteX12" fmla="*/ 49653 w 180105"/>
                      <a:gd name="connsiteY12" fmla="*/ 994 h 192999"/>
                      <a:gd name="connsiteX13" fmla="*/ 49625 w 180105"/>
                      <a:gd name="connsiteY13" fmla="*/ 975 h 192999"/>
                      <a:gd name="connsiteX14" fmla="*/ 36880 w 180105"/>
                      <a:gd name="connsiteY14" fmla="*/ 5328 h 192999"/>
                      <a:gd name="connsiteX15" fmla="*/ 36861 w 180105"/>
                      <a:gd name="connsiteY15" fmla="*/ 5357 h 192999"/>
                      <a:gd name="connsiteX16" fmla="*/ 0 w 180105"/>
                      <a:gd name="connsiteY16" fmla="*/ 80890 h 192999"/>
                      <a:gd name="connsiteX17" fmla="*/ 48863 w 180105"/>
                      <a:gd name="connsiteY17" fmla="*/ 80890 h 192999"/>
                      <a:gd name="connsiteX18" fmla="*/ 30194 w 180105"/>
                      <a:gd name="connsiteY18" fmla="*/ 129277 h 192999"/>
                      <a:gd name="connsiteX0" fmla="*/ 137445 w 180243"/>
                      <a:gd name="connsiteY0" fmla="*/ 173473 h 192999"/>
                      <a:gd name="connsiteX1" fmla="*/ 153447 w 180243"/>
                      <a:gd name="connsiteY1" fmla="*/ 192999 h 192999"/>
                      <a:gd name="connsiteX2" fmla="*/ 180022 w 180243"/>
                      <a:gd name="connsiteY2" fmla="*/ 143088 h 192999"/>
                      <a:gd name="connsiteX3" fmla="*/ 137445 w 180243"/>
                      <a:gd name="connsiteY3" fmla="*/ 173473 h 192999"/>
                      <a:gd name="connsiteX4" fmla="*/ 30194 w 180243"/>
                      <a:gd name="connsiteY4" fmla="*/ 129277 h 192999"/>
                      <a:gd name="connsiteX5" fmla="*/ 35623 w 180243"/>
                      <a:gd name="connsiteY5" fmla="*/ 141564 h 192999"/>
                      <a:gd name="connsiteX6" fmla="*/ 39052 w 180243"/>
                      <a:gd name="connsiteY6" fmla="*/ 142136 h 192999"/>
                      <a:gd name="connsiteX7" fmla="*/ 48006 w 180243"/>
                      <a:gd name="connsiteY7" fmla="*/ 136040 h 192999"/>
                      <a:gd name="connsiteX8" fmla="*/ 76581 w 180243"/>
                      <a:gd name="connsiteY8" fmla="*/ 61364 h 192999"/>
                      <a:gd name="connsiteX9" fmla="*/ 30480 w 180243"/>
                      <a:gd name="connsiteY9" fmla="*/ 61364 h 192999"/>
                      <a:gd name="connsiteX10" fmla="*/ 54006 w 180243"/>
                      <a:gd name="connsiteY10" fmla="*/ 13739 h 192999"/>
                      <a:gd name="connsiteX11" fmla="*/ 49653 w 180243"/>
                      <a:gd name="connsiteY11" fmla="*/ 994 h 192999"/>
                      <a:gd name="connsiteX12" fmla="*/ 49625 w 180243"/>
                      <a:gd name="connsiteY12" fmla="*/ 975 h 192999"/>
                      <a:gd name="connsiteX13" fmla="*/ 36880 w 180243"/>
                      <a:gd name="connsiteY13" fmla="*/ 5328 h 192999"/>
                      <a:gd name="connsiteX14" fmla="*/ 36861 w 180243"/>
                      <a:gd name="connsiteY14" fmla="*/ 5357 h 192999"/>
                      <a:gd name="connsiteX15" fmla="*/ 0 w 180243"/>
                      <a:gd name="connsiteY15" fmla="*/ 80890 h 192999"/>
                      <a:gd name="connsiteX16" fmla="*/ 48863 w 180243"/>
                      <a:gd name="connsiteY16" fmla="*/ 80890 h 192999"/>
                      <a:gd name="connsiteX17" fmla="*/ 30194 w 180243"/>
                      <a:gd name="connsiteY17" fmla="*/ 129277 h 192999"/>
                      <a:gd name="connsiteX0" fmla="*/ 137445 w 153447"/>
                      <a:gd name="connsiteY0" fmla="*/ 173473 h 192999"/>
                      <a:gd name="connsiteX1" fmla="*/ 153447 w 153447"/>
                      <a:gd name="connsiteY1" fmla="*/ 192999 h 192999"/>
                      <a:gd name="connsiteX2" fmla="*/ 137445 w 153447"/>
                      <a:gd name="connsiteY2" fmla="*/ 173473 h 192999"/>
                      <a:gd name="connsiteX3" fmla="*/ 30194 w 153447"/>
                      <a:gd name="connsiteY3" fmla="*/ 129277 h 192999"/>
                      <a:gd name="connsiteX4" fmla="*/ 35623 w 153447"/>
                      <a:gd name="connsiteY4" fmla="*/ 141564 h 192999"/>
                      <a:gd name="connsiteX5" fmla="*/ 39052 w 153447"/>
                      <a:gd name="connsiteY5" fmla="*/ 142136 h 192999"/>
                      <a:gd name="connsiteX6" fmla="*/ 48006 w 153447"/>
                      <a:gd name="connsiteY6" fmla="*/ 136040 h 192999"/>
                      <a:gd name="connsiteX7" fmla="*/ 76581 w 153447"/>
                      <a:gd name="connsiteY7" fmla="*/ 61364 h 192999"/>
                      <a:gd name="connsiteX8" fmla="*/ 30480 w 153447"/>
                      <a:gd name="connsiteY8" fmla="*/ 61364 h 192999"/>
                      <a:gd name="connsiteX9" fmla="*/ 54006 w 153447"/>
                      <a:gd name="connsiteY9" fmla="*/ 13739 h 192999"/>
                      <a:gd name="connsiteX10" fmla="*/ 49653 w 153447"/>
                      <a:gd name="connsiteY10" fmla="*/ 994 h 192999"/>
                      <a:gd name="connsiteX11" fmla="*/ 49625 w 153447"/>
                      <a:gd name="connsiteY11" fmla="*/ 975 h 192999"/>
                      <a:gd name="connsiteX12" fmla="*/ 36880 w 153447"/>
                      <a:gd name="connsiteY12" fmla="*/ 5328 h 192999"/>
                      <a:gd name="connsiteX13" fmla="*/ 36861 w 153447"/>
                      <a:gd name="connsiteY13" fmla="*/ 5357 h 192999"/>
                      <a:gd name="connsiteX14" fmla="*/ 0 w 153447"/>
                      <a:gd name="connsiteY14" fmla="*/ 80890 h 192999"/>
                      <a:gd name="connsiteX15" fmla="*/ 48863 w 153447"/>
                      <a:gd name="connsiteY15" fmla="*/ 80890 h 192999"/>
                      <a:gd name="connsiteX16" fmla="*/ 30194 w 153447"/>
                      <a:gd name="connsiteY16" fmla="*/ 129277 h 192999"/>
                      <a:gd name="connsiteX0" fmla="*/ 30194 w 76581"/>
                      <a:gd name="connsiteY0" fmla="*/ 129277 h 142136"/>
                      <a:gd name="connsiteX1" fmla="*/ 35623 w 76581"/>
                      <a:gd name="connsiteY1" fmla="*/ 141564 h 142136"/>
                      <a:gd name="connsiteX2" fmla="*/ 39052 w 76581"/>
                      <a:gd name="connsiteY2" fmla="*/ 142136 h 142136"/>
                      <a:gd name="connsiteX3" fmla="*/ 48006 w 76581"/>
                      <a:gd name="connsiteY3" fmla="*/ 136040 h 142136"/>
                      <a:gd name="connsiteX4" fmla="*/ 76581 w 76581"/>
                      <a:gd name="connsiteY4" fmla="*/ 61364 h 142136"/>
                      <a:gd name="connsiteX5" fmla="*/ 30480 w 76581"/>
                      <a:gd name="connsiteY5" fmla="*/ 61364 h 142136"/>
                      <a:gd name="connsiteX6" fmla="*/ 54006 w 76581"/>
                      <a:gd name="connsiteY6" fmla="*/ 13739 h 142136"/>
                      <a:gd name="connsiteX7" fmla="*/ 49653 w 76581"/>
                      <a:gd name="connsiteY7" fmla="*/ 994 h 142136"/>
                      <a:gd name="connsiteX8" fmla="*/ 49625 w 76581"/>
                      <a:gd name="connsiteY8" fmla="*/ 975 h 142136"/>
                      <a:gd name="connsiteX9" fmla="*/ 36880 w 76581"/>
                      <a:gd name="connsiteY9" fmla="*/ 5328 h 142136"/>
                      <a:gd name="connsiteX10" fmla="*/ 36861 w 76581"/>
                      <a:gd name="connsiteY10" fmla="*/ 5357 h 142136"/>
                      <a:gd name="connsiteX11" fmla="*/ 0 w 76581"/>
                      <a:gd name="connsiteY11" fmla="*/ 80890 h 142136"/>
                      <a:gd name="connsiteX12" fmla="*/ 48863 w 76581"/>
                      <a:gd name="connsiteY12" fmla="*/ 80890 h 142136"/>
                      <a:gd name="connsiteX13" fmla="*/ 30194 w 76581"/>
                      <a:gd name="connsiteY13" fmla="*/ 129277 h 14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581" h="142136">
                        <a:moveTo>
                          <a:pt x="30194" y="129277"/>
                        </a:moveTo>
                        <a:cubicBezTo>
                          <a:pt x="28317" y="134173"/>
                          <a:pt x="30746" y="139659"/>
                          <a:pt x="35623" y="141564"/>
                        </a:cubicBezTo>
                        <a:cubicBezTo>
                          <a:pt x="36728" y="141936"/>
                          <a:pt x="37890" y="142136"/>
                          <a:pt x="39052" y="142136"/>
                        </a:cubicBezTo>
                        <a:cubicBezTo>
                          <a:pt x="43015" y="142164"/>
                          <a:pt x="46577" y="139736"/>
                          <a:pt x="48006" y="136040"/>
                        </a:cubicBezTo>
                        <a:lnTo>
                          <a:pt x="76581" y="61364"/>
                        </a:lnTo>
                        <a:lnTo>
                          <a:pt x="30480" y="61364"/>
                        </a:lnTo>
                        <a:lnTo>
                          <a:pt x="54006" y="13739"/>
                        </a:lnTo>
                        <a:cubicBezTo>
                          <a:pt x="56321" y="9014"/>
                          <a:pt x="54378" y="3309"/>
                          <a:pt x="49653" y="994"/>
                        </a:cubicBezTo>
                        <a:cubicBezTo>
                          <a:pt x="49644" y="985"/>
                          <a:pt x="49634" y="985"/>
                          <a:pt x="49625" y="975"/>
                        </a:cubicBezTo>
                        <a:cubicBezTo>
                          <a:pt x="44900" y="-1339"/>
                          <a:pt x="39195" y="604"/>
                          <a:pt x="36880" y="5328"/>
                        </a:cubicBezTo>
                        <a:cubicBezTo>
                          <a:pt x="36871" y="5338"/>
                          <a:pt x="36871" y="5347"/>
                          <a:pt x="36861" y="5357"/>
                        </a:cubicBezTo>
                        <a:lnTo>
                          <a:pt x="0" y="80890"/>
                        </a:lnTo>
                        <a:lnTo>
                          <a:pt x="48863" y="80890"/>
                        </a:lnTo>
                        <a:lnTo>
                          <a:pt x="30194" y="129277"/>
                        </a:lnTo>
                        <a:close/>
                      </a:path>
                    </a:pathLst>
                  </a:custGeom>
                  <a:solidFill>
                    <a:srgbClr val="0019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grpSp>
            <p:sp>
              <p:nvSpPr>
                <p:cNvPr id="91" name="ECG Icon">
                  <a:extLst>
                    <a:ext uri="{FF2B5EF4-FFF2-40B4-BE49-F238E27FC236}">
                      <a16:creationId xmlns:a16="http://schemas.microsoft.com/office/drawing/2014/main" id="{B510EB98-1102-ECB6-8B69-B991D62386AC}"/>
                    </a:ext>
                  </a:extLst>
                </p:cNvPr>
                <p:cNvSpPr>
                  <a:spLocks noChangeAspect="1"/>
                </p:cNvSpPr>
                <p:nvPr/>
              </p:nvSpPr>
              <p:spPr>
                <a:xfrm>
                  <a:off x="7319870" y="4109244"/>
                  <a:ext cx="472085" cy="432000"/>
                </a:xfrm>
                <a:custGeom>
                  <a:avLst/>
                  <a:gdLst>
                    <a:gd name="connsiteX0" fmla="*/ 448014 w 447579"/>
                    <a:gd name="connsiteY0" fmla="*/ 141314 h 409575"/>
                    <a:gd name="connsiteX1" fmla="*/ 438489 w 447579"/>
                    <a:gd name="connsiteY1" fmla="*/ 150839 h 409575"/>
                    <a:gd name="connsiteX2" fmla="*/ 428964 w 447579"/>
                    <a:gd name="connsiteY2" fmla="*/ 141314 h 409575"/>
                    <a:gd name="connsiteX3" fmla="*/ 313235 w 447579"/>
                    <a:gd name="connsiteY3" fmla="*/ 18918 h 409575"/>
                    <a:gd name="connsiteX4" fmla="*/ 230749 w 447579"/>
                    <a:gd name="connsiteY4" fmla="*/ 52351 h 409575"/>
                    <a:gd name="connsiteX5" fmla="*/ 217509 w 447579"/>
                    <a:gd name="connsiteY5" fmla="*/ 52351 h 409575"/>
                    <a:gd name="connsiteX6" fmla="*/ 135118 w 447579"/>
                    <a:gd name="connsiteY6" fmla="*/ 18918 h 409575"/>
                    <a:gd name="connsiteX7" fmla="*/ 19389 w 447579"/>
                    <a:gd name="connsiteY7" fmla="*/ 141314 h 409575"/>
                    <a:gd name="connsiteX8" fmla="*/ 224177 w 447579"/>
                    <a:gd name="connsiteY8" fmla="*/ 390203 h 409575"/>
                    <a:gd name="connsiteX9" fmla="*/ 391436 w 447579"/>
                    <a:gd name="connsiteY9" fmla="*/ 237803 h 409575"/>
                    <a:gd name="connsiteX10" fmla="*/ 321903 w 447579"/>
                    <a:gd name="connsiteY10" fmla="*/ 237803 h 409575"/>
                    <a:gd name="connsiteX11" fmla="*/ 313045 w 447579"/>
                    <a:gd name="connsiteY11" fmla="*/ 231611 h 409575"/>
                    <a:gd name="connsiteX12" fmla="*/ 303234 w 447579"/>
                    <a:gd name="connsiteY12" fmla="*/ 205037 h 409575"/>
                    <a:gd name="connsiteX13" fmla="*/ 280089 w 447579"/>
                    <a:gd name="connsiteY13" fmla="*/ 262187 h 409575"/>
                    <a:gd name="connsiteX14" fmla="*/ 270564 w 447579"/>
                    <a:gd name="connsiteY14" fmla="*/ 267997 h 409575"/>
                    <a:gd name="connsiteX15" fmla="*/ 262181 w 447579"/>
                    <a:gd name="connsiteY15" fmla="*/ 260281 h 409575"/>
                    <a:gd name="connsiteX16" fmla="*/ 248085 w 447579"/>
                    <a:gd name="connsiteY16" fmla="*/ 183129 h 409575"/>
                    <a:gd name="connsiteX17" fmla="*/ 229035 w 447579"/>
                    <a:gd name="connsiteY17" fmla="*/ 304954 h 409575"/>
                    <a:gd name="connsiteX18" fmla="*/ 219510 w 447579"/>
                    <a:gd name="connsiteY18" fmla="*/ 312955 h 409575"/>
                    <a:gd name="connsiteX19" fmla="*/ 209985 w 447579"/>
                    <a:gd name="connsiteY19" fmla="*/ 305430 h 409575"/>
                    <a:gd name="connsiteX20" fmla="*/ 186744 w 447579"/>
                    <a:gd name="connsiteY20" fmla="*/ 197797 h 409575"/>
                    <a:gd name="connsiteX21" fmla="*/ 176075 w 447579"/>
                    <a:gd name="connsiteY21" fmla="*/ 231516 h 409575"/>
                    <a:gd name="connsiteX22" fmla="*/ 166550 w 447579"/>
                    <a:gd name="connsiteY22" fmla="*/ 238184 h 409575"/>
                    <a:gd name="connsiteX23" fmla="*/ 119402 w 447579"/>
                    <a:gd name="connsiteY23" fmla="*/ 238184 h 409575"/>
                    <a:gd name="connsiteX24" fmla="*/ 109877 w 447579"/>
                    <a:gd name="connsiteY24" fmla="*/ 228659 h 409575"/>
                    <a:gd name="connsiteX25" fmla="*/ 119402 w 447579"/>
                    <a:gd name="connsiteY25" fmla="*/ 219134 h 409575"/>
                    <a:gd name="connsiteX26" fmla="*/ 159597 w 447579"/>
                    <a:gd name="connsiteY26" fmla="*/ 219134 h 409575"/>
                    <a:gd name="connsiteX27" fmla="*/ 178647 w 447579"/>
                    <a:gd name="connsiteY27" fmla="*/ 157697 h 409575"/>
                    <a:gd name="connsiteX28" fmla="*/ 188172 w 447579"/>
                    <a:gd name="connsiteY28" fmla="*/ 151030 h 409575"/>
                    <a:gd name="connsiteX29" fmla="*/ 197030 w 447579"/>
                    <a:gd name="connsiteY29" fmla="*/ 158554 h 409575"/>
                    <a:gd name="connsiteX30" fmla="*/ 217128 w 447579"/>
                    <a:gd name="connsiteY30" fmla="*/ 251709 h 409575"/>
                    <a:gd name="connsiteX31" fmla="*/ 237226 w 447579"/>
                    <a:gd name="connsiteY31" fmla="*/ 125027 h 409575"/>
                    <a:gd name="connsiteX32" fmla="*/ 246751 w 447579"/>
                    <a:gd name="connsiteY32" fmla="*/ 117026 h 409575"/>
                    <a:gd name="connsiteX33" fmla="*/ 256276 w 447579"/>
                    <a:gd name="connsiteY33" fmla="*/ 124836 h 409575"/>
                    <a:gd name="connsiteX34" fmla="*/ 274564 w 447579"/>
                    <a:gd name="connsiteY34" fmla="*/ 224753 h 409575"/>
                    <a:gd name="connsiteX35" fmla="*/ 294376 w 447579"/>
                    <a:gd name="connsiteY35" fmla="*/ 176080 h 409575"/>
                    <a:gd name="connsiteX36" fmla="*/ 303139 w 447579"/>
                    <a:gd name="connsiteY36" fmla="*/ 170080 h 409575"/>
                    <a:gd name="connsiteX37" fmla="*/ 303139 w 447579"/>
                    <a:gd name="connsiteY37" fmla="*/ 170080 h 409575"/>
                    <a:gd name="connsiteX38" fmla="*/ 311997 w 447579"/>
                    <a:gd name="connsiteY38" fmla="*/ 176271 h 409575"/>
                    <a:gd name="connsiteX39" fmla="*/ 328380 w 447579"/>
                    <a:gd name="connsiteY39" fmla="*/ 219134 h 409575"/>
                    <a:gd name="connsiteX40" fmla="*/ 408867 w 447579"/>
                    <a:gd name="connsiteY40" fmla="*/ 219134 h 409575"/>
                    <a:gd name="connsiteX41" fmla="*/ 417248 w 447579"/>
                    <a:gd name="connsiteY41" fmla="*/ 223991 h 409575"/>
                    <a:gd name="connsiteX42" fmla="*/ 417248 w 447579"/>
                    <a:gd name="connsiteY42" fmla="*/ 233516 h 409575"/>
                    <a:gd name="connsiteX43" fmla="*/ 224272 w 447579"/>
                    <a:gd name="connsiteY43" fmla="*/ 409538 h 409575"/>
                    <a:gd name="connsiteX44" fmla="*/ 434 w 447579"/>
                    <a:gd name="connsiteY44" fmla="*/ 141410 h 409575"/>
                    <a:gd name="connsiteX45" fmla="*/ 135213 w 447579"/>
                    <a:gd name="connsiteY45" fmla="*/ -37 h 409575"/>
                    <a:gd name="connsiteX46" fmla="*/ 224272 w 447579"/>
                    <a:gd name="connsiteY46" fmla="*/ 32729 h 409575"/>
                    <a:gd name="connsiteX47" fmla="*/ 313331 w 447579"/>
                    <a:gd name="connsiteY47" fmla="*/ -37 h 409575"/>
                    <a:gd name="connsiteX48" fmla="*/ 448014 w 447579"/>
                    <a:gd name="connsiteY48" fmla="*/ 141314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7579" h="409575">
                      <a:moveTo>
                        <a:pt x="448014" y="141314"/>
                      </a:moveTo>
                      <a:cubicBezTo>
                        <a:pt x="448014" y="146572"/>
                        <a:pt x="443747" y="150839"/>
                        <a:pt x="438489" y="150839"/>
                      </a:cubicBezTo>
                      <a:cubicBezTo>
                        <a:pt x="433231" y="150839"/>
                        <a:pt x="428964" y="146572"/>
                        <a:pt x="428964" y="141314"/>
                      </a:cubicBezTo>
                      <a:cubicBezTo>
                        <a:pt x="428964" y="66924"/>
                        <a:pt x="383530" y="18918"/>
                        <a:pt x="313235" y="18918"/>
                      </a:cubicBezTo>
                      <a:cubicBezTo>
                        <a:pt x="282441" y="18918"/>
                        <a:pt x="252857" y="30910"/>
                        <a:pt x="230749" y="52351"/>
                      </a:cubicBezTo>
                      <a:cubicBezTo>
                        <a:pt x="227053" y="55923"/>
                        <a:pt x="221205" y="55923"/>
                        <a:pt x="217509" y="52351"/>
                      </a:cubicBezTo>
                      <a:cubicBezTo>
                        <a:pt x="195468" y="30872"/>
                        <a:pt x="165893" y="18870"/>
                        <a:pt x="135118" y="18918"/>
                      </a:cubicBezTo>
                      <a:cubicBezTo>
                        <a:pt x="64824" y="18918"/>
                        <a:pt x="19389" y="66543"/>
                        <a:pt x="19389" y="141314"/>
                      </a:cubicBezTo>
                      <a:cubicBezTo>
                        <a:pt x="19389" y="246851"/>
                        <a:pt x="198650" y="382202"/>
                        <a:pt x="224177" y="390203"/>
                      </a:cubicBezTo>
                      <a:cubicBezTo>
                        <a:pt x="240560" y="384773"/>
                        <a:pt x="336667" y="316860"/>
                        <a:pt x="391436" y="237803"/>
                      </a:cubicBezTo>
                      <a:lnTo>
                        <a:pt x="321903" y="237803"/>
                      </a:lnTo>
                      <a:cubicBezTo>
                        <a:pt x="317950" y="237774"/>
                        <a:pt x="314426" y="235316"/>
                        <a:pt x="313045" y="231611"/>
                      </a:cubicBezTo>
                      <a:lnTo>
                        <a:pt x="303234" y="205037"/>
                      </a:lnTo>
                      <a:lnTo>
                        <a:pt x="280089" y="262187"/>
                      </a:lnTo>
                      <a:cubicBezTo>
                        <a:pt x="278498" y="265978"/>
                        <a:pt x="274659" y="268321"/>
                        <a:pt x="270564" y="267997"/>
                      </a:cubicBezTo>
                      <a:cubicBezTo>
                        <a:pt x="266373" y="267559"/>
                        <a:pt x="262963" y="264425"/>
                        <a:pt x="262181" y="260281"/>
                      </a:cubicBezTo>
                      <a:lnTo>
                        <a:pt x="248085" y="183129"/>
                      </a:lnTo>
                      <a:lnTo>
                        <a:pt x="229035" y="304954"/>
                      </a:lnTo>
                      <a:cubicBezTo>
                        <a:pt x="228282" y="309612"/>
                        <a:pt x="224224" y="313012"/>
                        <a:pt x="219510" y="312955"/>
                      </a:cubicBezTo>
                      <a:cubicBezTo>
                        <a:pt x="214937" y="313060"/>
                        <a:pt x="210947" y="309897"/>
                        <a:pt x="209985" y="305430"/>
                      </a:cubicBezTo>
                      <a:lnTo>
                        <a:pt x="186744" y="197797"/>
                      </a:lnTo>
                      <a:lnTo>
                        <a:pt x="176075" y="231516"/>
                      </a:lnTo>
                      <a:cubicBezTo>
                        <a:pt x="174780" y="235640"/>
                        <a:pt x="170875" y="238384"/>
                        <a:pt x="166550" y="238184"/>
                      </a:cubicBezTo>
                      <a:lnTo>
                        <a:pt x="119402" y="238184"/>
                      </a:lnTo>
                      <a:cubicBezTo>
                        <a:pt x="114144" y="238184"/>
                        <a:pt x="109877" y="233916"/>
                        <a:pt x="109877" y="228659"/>
                      </a:cubicBezTo>
                      <a:cubicBezTo>
                        <a:pt x="109877" y="223401"/>
                        <a:pt x="114144" y="219134"/>
                        <a:pt x="119402" y="219134"/>
                      </a:cubicBezTo>
                      <a:lnTo>
                        <a:pt x="159597" y="219134"/>
                      </a:lnTo>
                      <a:lnTo>
                        <a:pt x="178647" y="157697"/>
                      </a:lnTo>
                      <a:cubicBezTo>
                        <a:pt x="179943" y="153573"/>
                        <a:pt x="183848" y="150830"/>
                        <a:pt x="188172" y="151030"/>
                      </a:cubicBezTo>
                      <a:cubicBezTo>
                        <a:pt x="192487" y="151239"/>
                        <a:pt x="196126" y="154325"/>
                        <a:pt x="197030" y="158554"/>
                      </a:cubicBezTo>
                      <a:lnTo>
                        <a:pt x="217128" y="251709"/>
                      </a:lnTo>
                      <a:lnTo>
                        <a:pt x="237226" y="125027"/>
                      </a:lnTo>
                      <a:cubicBezTo>
                        <a:pt x="237978" y="120369"/>
                        <a:pt x="242036" y="116968"/>
                        <a:pt x="246751" y="117026"/>
                      </a:cubicBezTo>
                      <a:cubicBezTo>
                        <a:pt x="251409" y="116949"/>
                        <a:pt x="255438" y="120254"/>
                        <a:pt x="256276" y="124836"/>
                      </a:cubicBezTo>
                      <a:lnTo>
                        <a:pt x="274564" y="224753"/>
                      </a:lnTo>
                      <a:lnTo>
                        <a:pt x="294376" y="176080"/>
                      </a:lnTo>
                      <a:cubicBezTo>
                        <a:pt x="295805" y="172490"/>
                        <a:pt x="299272" y="170118"/>
                        <a:pt x="303139" y="170080"/>
                      </a:cubicBezTo>
                      <a:lnTo>
                        <a:pt x="303139" y="170080"/>
                      </a:lnTo>
                      <a:cubicBezTo>
                        <a:pt x="307092" y="170108"/>
                        <a:pt x="310616" y="172566"/>
                        <a:pt x="311997" y="176271"/>
                      </a:cubicBezTo>
                      <a:lnTo>
                        <a:pt x="328380" y="219134"/>
                      </a:lnTo>
                      <a:lnTo>
                        <a:pt x="408867" y="219134"/>
                      </a:lnTo>
                      <a:cubicBezTo>
                        <a:pt x="412334" y="219105"/>
                        <a:pt x="415544" y="220962"/>
                        <a:pt x="417248" y="223991"/>
                      </a:cubicBezTo>
                      <a:cubicBezTo>
                        <a:pt x="418953" y="226935"/>
                        <a:pt x="418953" y="230573"/>
                        <a:pt x="417248" y="233516"/>
                      </a:cubicBezTo>
                      <a:cubicBezTo>
                        <a:pt x="361432" y="324289"/>
                        <a:pt x="243227" y="409538"/>
                        <a:pt x="224272" y="409538"/>
                      </a:cubicBezTo>
                      <a:cubicBezTo>
                        <a:pt x="197888" y="409538"/>
                        <a:pt x="434" y="259329"/>
                        <a:pt x="434" y="141410"/>
                      </a:cubicBezTo>
                      <a:cubicBezTo>
                        <a:pt x="434" y="56828"/>
                        <a:pt x="54537" y="-37"/>
                        <a:pt x="135213" y="-37"/>
                      </a:cubicBezTo>
                      <a:cubicBezTo>
                        <a:pt x="167855" y="-84"/>
                        <a:pt x="199440" y="11536"/>
                        <a:pt x="224272" y="32729"/>
                      </a:cubicBezTo>
                      <a:cubicBezTo>
                        <a:pt x="249094" y="11527"/>
                        <a:pt x="280689" y="-103"/>
                        <a:pt x="313331" y="-37"/>
                      </a:cubicBezTo>
                      <a:cubicBezTo>
                        <a:pt x="394103" y="-132"/>
                        <a:pt x="448014" y="56732"/>
                        <a:pt x="448014" y="141314"/>
                      </a:cubicBezTo>
                      <a:close/>
                    </a:path>
                  </a:pathLst>
                </a:custGeom>
                <a:solidFill>
                  <a:srgbClr val="0019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grpSp>
        </p:grpSp>
        <p:grpSp>
          <p:nvGrpSpPr>
            <p:cNvPr id="27" name="Group 26">
              <a:extLst>
                <a:ext uri="{FF2B5EF4-FFF2-40B4-BE49-F238E27FC236}">
                  <a16:creationId xmlns:a16="http://schemas.microsoft.com/office/drawing/2014/main" id="{A9690B83-A718-0B9C-05CF-EBF06517444A}"/>
                </a:ext>
              </a:extLst>
            </p:cNvPr>
            <p:cNvGrpSpPr/>
            <p:nvPr/>
          </p:nvGrpSpPr>
          <p:grpSpPr>
            <a:xfrm>
              <a:off x="8485288" y="4627298"/>
              <a:ext cx="3320632" cy="540000"/>
              <a:chOff x="8485288" y="4459658"/>
              <a:chExt cx="3320632" cy="540000"/>
            </a:xfrm>
          </p:grpSpPr>
          <p:sp>
            <p:nvSpPr>
              <p:cNvPr id="84" name="TextBox 83">
                <a:extLst>
                  <a:ext uri="{FF2B5EF4-FFF2-40B4-BE49-F238E27FC236}">
                    <a16:creationId xmlns:a16="http://schemas.microsoft.com/office/drawing/2014/main" id="{20DB9547-EC69-D2C4-F8F5-A656A416E1CE}"/>
                  </a:ext>
                </a:extLst>
              </p:cNvPr>
              <p:cNvSpPr txBox="1"/>
              <p:nvPr/>
            </p:nvSpPr>
            <p:spPr>
              <a:xfrm>
                <a:off x="9350773" y="4480263"/>
                <a:ext cx="2455147" cy="49879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pis For Office"/>
                    <a:ea typeface="+mn-ea"/>
                    <a:cs typeface="+mn-cs"/>
                  </a:rPr>
                  <a:t>Mean follow-up time was 39.8 months</a:t>
                </a:r>
                <a:endParaRPr kumimoji="0" lang="en-GB" sz="18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 name="Graphic 27">
                <a:extLst>
                  <a:ext uri="{FF2B5EF4-FFF2-40B4-BE49-F238E27FC236}">
                    <a16:creationId xmlns:a16="http://schemas.microsoft.com/office/drawing/2014/main" id="{D8A169F6-6CC7-68C3-9758-1865FC291EEE}"/>
                  </a:ext>
                </a:extLst>
              </p:cNvPr>
              <p:cNvSpPr>
                <a:spLocks noChangeAspect="1"/>
              </p:cNvSpPr>
              <p:nvPr/>
            </p:nvSpPr>
            <p:spPr>
              <a:xfrm flipH="1">
                <a:off x="8485288" y="4459658"/>
                <a:ext cx="584274" cy="540000"/>
              </a:xfrm>
              <a:custGeom>
                <a:avLst/>
                <a:gdLst>
                  <a:gd name="connsiteX0" fmla="*/ 455854 w 455886"/>
                  <a:gd name="connsiteY0" fmla="*/ 225613 h 450827"/>
                  <a:gd name="connsiteX1" fmla="*/ 444138 w 455886"/>
                  <a:gd name="connsiteY1" fmla="*/ 297908 h 450827"/>
                  <a:gd name="connsiteX2" fmla="*/ 435280 w 455886"/>
                  <a:gd name="connsiteY2" fmla="*/ 303814 h 450827"/>
                  <a:gd name="connsiteX3" fmla="*/ 432423 w 455886"/>
                  <a:gd name="connsiteY3" fmla="*/ 302861 h 450827"/>
                  <a:gd name="connsiteX4" fmla="*/ 426222 w 455886"/>
                  <a:gd name="connsiteY4" fmla="*/ 290903 h 450827"/>
                  <a:gd name="connsiteX5" fmla="*/ 426517 w 455886"/>
                  <a:gd name="connsiteY5" fmla="*/ 290098 h 450827"/>
                  <a:gd name="connsiteX6" fmla="*/ 437280 w 455886"/>
                  <a:gd name="connsiteY6" fmla="*/ 224661 h 450827"/>
                  <a:gd name="connsiteX7" fmla="*/ 230712 w 455886"/>
                  <a:gd name="connsiteY7" fmla="*/ 18417 h 450827"/>
                  <a:gd name="connsiteX8" fmla="*/ 41612 w 455886"/>
                  <a:gd name="connsiteY8" fmla="*/ 142460 h 450827"/>
                  <a:gd name="connsiteX9" fmla="*/ 91332 w 455886"/>
                  <a:gd name="connsiteY9" fmla="*/ 132935 h 450827"/>
                  <a:gd name="connsiteX10" fmla="*/ 103191 w 455886"/>
                  <a:gd name="connsiteY10" fmla="*/ 140888 h 450827"/>
                  <a:gd name="connsiteX11" fmla="*/ 95238 w 455886"/>
                  <a:gd name="connsiteY11" fmla="*/ 152747 h 450827"/>
                  <a:gd name="connsiteX12" fmla="*/ 15990 w 455886"/>
                  <a:gd name="connsiteY12" fmla="*/ 167701 h 450827"/>
                  <a:gd name="connsiteX13" fmla="*/ 369 w 455886"/>
                  <a:gd name="connsiteY13" fmla="*/ 86263 h 450827"/>
                  <a:gd name="connsiteX14" fmla="*/ 5798 w 455886"/>
                  <a:gd name="connsiteY14" fmla="*/ 75726 h 450827"/>
                  <a:gd name="connsiteX15" fmla="*/ 7227 w 455886"/>
                  <a:gd name="connsiteY15" fmla="*/ 75404 h 450827"/>
                  <a:gd name="connsiteX16" fmla="*/ 18761 w 455886"/>
                  <a:gd name="connsiteY16" fmla="*/ 82365 h 450827"/>
                  <a:gd name="connsiteX17" fmla="*/ 18943 w 455886"/>
                  <a:gd name="connsiteY17" fmla="*/ 83310 h 450827"/>
                  <a:gd name="connsiteX18" fmla="*/ 27229 w 455886"/>
                  <a:gd name="connsiteY18" fmla="*/ 126458 h 450827"/>
                  <a:gd name="connsiteX19" fmla="*/ 329419 w 455886"/>
                  <a:gd name="connsiteY19" fmla="*/ 23069 h 450827"/>
                  <a:gd name="connsiteX20" fmla="*/ 455854 w 455886"/>
                  <a:gd name="connsiteY20" fmla="*/ 225804 h 450827"/>
                  <a:gd name="connsiteX21" fmla="*/ 322504 w 455886"/>
                  <a:gd name="connsiteY21" fmla="*/ 354296 h 450827"/>
                  <a:gd name="connsiteX22" fmla="*/ 332029 w 455886"/>
                  <a:gd name="connsiteY22" fmla="*/ 363821 h 450827"/>
                  <a:gd name="connsiteX23" fmla="*/ 383464 w 455886"/>
                  <a:gd name="connsiteY23" fmla="*/ 363821 h 450827"/>
                  <a:gd name="connsiteX24" fmla="*/ 89828 w 455886"/>
                  <a:gd name="connsiteY24" fmla="*/ 376912 h 450827"/>
                  <a:gd name="connsiteX25" fmla="*/ 22276 w 455886"/>
                  <a:gd name="connsiteY25" fmla="*/ 225518 h 450827"/>
                  <a:gd name="connsiteX26" fmla="*/ 12418 w 455886"/>
                  <a:gd name="connsiteY26" fmla="*/ 215660 h 450827"/>
                  <a:gd name="connsiteX27" fmla="*/ 2560 w 455886"/>
                  <a:gd name="connsiteY27" fmla="*/ 225518 h 450827"/>
                  <a:gd name="connsiteX28" fmla="*/ 232750 w 455886"/>
                  <a:gd name="connsiteY28" fmla="*/ 450782 h 450827"/>
                  <a:gd name="connsiteX29" fmla="*/ 393656 w 455886"/>
                  <a:gd name="connsiteY29" fmla="*/ 381728 h 450827"/>
                  <a:gd name="connsiteX30" fmla="*/ 393656 w 455886"/>
                  <a:gd name="connsiteY30" fmla="*/ 425638 h 450827"/>
                  <a:gd name="connsiteX31" fmla="*/ 403181 w 455886"/>
                  <a:gd name="connsiteY31" fmla="*/ 435163 h 450827"/>
                  <a:gd name="connsiteX32" fmla="*/ 412706 w 455886"/>
                  <a:gd name="connsiteY32" fmla="*/ 425638 h 450827"/>
                  <a:gd name="connsiteX33" fmla="*/ 412706 w 455886"/>
                  <a:gd name="connsiteY33" fmla="*/ 344962 h 450827"/>
                  <a:gd name="connsiteX34" fmla="*/ 332410 w 455886"/>
                  <a:gd name="connsiteY34" fmla="*/ 344962 h 450827"/>
                  <a:gd name="connsiteX35" fmla="*/ 322695 w 455886"/>
                  <a:gd name="connsiteY35" fmla="*/ 354292 h 450827"/>
                  <a:gd name="connsiteX36" fmla="*/ 322695 w 455886"/>
                  <a:gd name="connsiteY36" fmla="*/ 354677 h 450827"/>
                  <a:gd name="connsiteX37" fmla="*/ 232398 w 455886"/>
                  <a:gd name="connsiteY37" fmla="*/ 347724 h 450827"/>
                  <a:gd name="connsiteX38" fmla="*/ 110763 w 455886"/>
                  <a:gd name="connsiteY38" fmla="*/ 226280 h 450827"/>
                  <a:gd name="connsiteX39" fmla="*/ 232207 w 455886"/>
                  <a:gd name="connsiteY39" fmla="*/ 104646 h 450827"/>
                  <a:gd name="connsiteX40" fmla="*/ 353841 w 455886"/>
                  <a:gd name="connsiteY40" fmla="*/ 226090 h 450827"/>
                  <a:gd name="connsiteX41" fmla="*/ 353841 w 455886"/>
                  <a:gd name="connsiteY41" fmla="*/ 226280 h 450827"/>
                  <a:gd name="connsiteX42" fmla="*/ 232588 w 455886"/>
                  <a:gd name="connsiteY42" fmla="*/ 348105 h 450827"/>
                  <a:gd name="connsiteX43" fmla="*/ 232398 w 455886"/>
                  <a:gd name="connsiteY43" fmla="*/ 330103 h 450827"/>
                  <a:gd name="connsiteX44" fmla="*/ 336220 w 455886"/>
                  <a:gd name="connsiteY44" fmla="*/ 226280 h 450827"/>
                  <a:gd name="connsiteX45" fmla="*/ 232398 w 455886"/>
                  <a:gd name="connsiteY45" fmla="*/ 122458 h 450827"/>
                  <a:gd name="connsiteX46" fmla="*/ 128575 w 455886"/>
                  <a:gd name="connsiteY46" fmla="*/ 226280 h 450827"/>
                  <a:gd name="connsiteX47" fmla="*/ 231150 w 455886"/>
                  <a:gd name="connsiteY47" fmla="*/ 330387 h 450827"/>
                  <a:gd name="connsiteX48" fmla="*/ 232588 w 455886"/>
                  <a:gd name="connsiteY48" fmla="*/ 330388 h 450827"/>
                  <a:gd name="connsiteX49" fmla="*/ 303835 w 455886"/>
                  <a:gd name="connsiteY49" fmla="*/ 268381 h 450827"/>
                  <a:gd name="connsiteX50" fmla="*/ 301511 w 455886"/>
                  <a:gd name="connsiteY50" fmla="*/ 256894 h 450827"/>
                  <a:gd name="connsiteX51" fmla="*/ 300978 w 455886"/>
                  <a:gd name="connsiteY51" fmla="*/ 256570 h 450827"/>
                  <a:gd name="connsiteX52" fmla="*/ 241161 w 455886"/>
                  <a:gd name="connsiteY52" fmla="*/ 222280 h 450827"/>
                  <a:gd name="connsiteX53" fmla="*/ 241161 w 455886"/>
                  <a:gd name="connsiteY53" fmla="*/ 148270 h 450827"/>
                  <a:gd name="connsiteX54" fmla="*/ 232398 w 455886"/>
                  <a:gd name="connsiteY54" fmla="*/ 137507 h 450827"/>
                  <a:gd name="connsiteX55" fmla="*/ 223539 w 455886"/>
                  <a:gd name="connsiteY55" fmla="*/ 146174 h 450827"/>
                  <a:gd name="connsiteX56" fmla="*/ 223539 w 455886"/>
                  <a:gd name="connsiteY56" fmla="*/ 146270 h 450827"/>
                  <a:gd name="connsiteX57" fmla="*/ 223539 w 455886"/>
                  <a:gd name="connsiteY57" fmla="*/ 226661 h 450827"/>
                  <a:gd name="connsiteX58" fmla="*/ 228493 w 455886"/>
                  <a:gd name="connsiteY58" fmla="*/ 234472 h 450827"/>
                  <a:gd name="connsiteX59" fmla="*/ 292120 w 455886"/>
                  <a:gd name="connsiteY59" fmla="*/ 271714 h 450827"/>
                  <a:gd name="connsiteX60" fmla="*/ 303511 w 455886"/>
                  <a:gd name="connsiteY60" fmla="*/ 269614 h 450827"/>
                  <a:gd name="connsiteX61" fmla="*/ 304026 w 455886"/>
                  <a:gd name="connsiteY61" fmla="*/ 268762 h 45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5886" h="450827">
                    <a:moveTo>
                      <a:pt x="455854" y="225613"/>
                    </a:moveTo>
                    <a:cubicBezTo>
                      <a:pt x="455864" y="250185"/>
                      <a:pt x="451901" y="274596"/>
                      <a:pt x="444138" y="297908"/>
                    </a:cubicBezTo>
                    <a:cubicBezTo>
                      <a:pt x="442910" y="301693"/>
                      <a:pt x="439243" y="304139"/>
                      <a:pt x="435280" y="303814"/>
                    </a:cubicBezTo>
                    <a:cubicBezTo>
                      <a:pt x="434232" y="303939"/>
                      <a:pt x="433185" y="303590"/>
                      <a:pt x="432423" y="302861"/>
                    </a:cubicBezTo>
                    <a:cubicBezTo>
                      <a:pt x="427412" y="301271"/>
                      <a:pt x="424631" y="295917"/>
                      <a:pt x="426222" y="290903"/>
                    </a:cubicBezTo>
                    <a:cubicBezTo>
                      <a:pt x="426308" y="290630"/>
                      <a:pt x="426403" y="290361"/>
                      <a:pt x="426517" y="290098"/>
                    </a:cubicBezTo>
                    <a:cubicBezTo>
                      <a:pt x="433509" y="268983"/>
                      <a:pt x="437138" y="246902"/>
                      <a:pt x="437280" y="224661"/>
                    </a:cubicBezTo>
                    <a:cubicBezTo>
                      <a:pt x="437195" y="110666"/>
                      <a:pt x="344707" y="18326"/>
                      <a:pt x="230712" y="18417"/>
                    </a:cubicBezTo>
                    <a:cubicBezTo>
                      <a:pt x="148616" y="18482"/>
                      <a:pt x="74369" y="67187"/>
                      <a:pt x="41612" y="142460"/>
                    </a:cubicBezTo>
                    <a:lnTo>
                      <a:pt x="91332" y="132935"/>
                    </a:lnTo>
                    <a:cubicBezTo>
                      <a:pt x="96800" y="131857"/>
                      <a:pt x="102115" y="135417"/>
                      <a:pt x="103191" y="140888"/>
                    </a:cubicBezTo>
                    <a:cubicBezTo>
                      <a:pt x="104267" y="146360"/>
                      <a:pt x="100705" y="151669"/>
                      <a:pt x="95238" y="152747"/>
                    </a:cubicBezTo>
                    <a:lnTo>
                      <a:pt x="15990" y="167701"/>
                    </a:lnTo>
                    <a:lnTo>
                      <a:pt x="369" y="86263"/>
                    </a:lnTo>
                    <a:cubicBezTo>
                      <a:pt x="-1041" y="81853"/>
                      <a:pt x="1388" y="77136"/>
                      <a:pt x="5798" y="75726"/>
                    </a:cubicBezTo>
                    <a:cubicBezTo>
                      <a:pt x="6265" y="75577"/>
                      <a:pt x="6741" y="75470"/>
                      <a:pt x="7227" y="75404"/>
                    </a:cubicBezTo>
                    <a:cubicBezTo>
                      <a:pt x="12332" y="74142"/>
                      <a:pt x="17495" y="77259"/>
                      <a:pt x="18761" y="82365"/>
                    </a:cubicBezTo>
                    <a:cubicBezTo>
                      <a:pt x="18838" y="82676"/>
                      <a:pt x="18895" y="82992"/>
                      <a:pt x="18943" y="83310"/>
                    </a:cubicBezTo>
                    <a:lnTo>
                      <a:pt x="27229" y="126458"/>
                    </a:lnTo>
                    <a:cubicBezTo>
                      <a:pt x="82122" y="14462"/>
                      <a:pt x="217415" y="-31827"/>
                      <a:pt x="329419" y="23069"/>
                    </a:cubicBezTo>
                    <a:cubicBezTo>
                      <a:pt x="406781" y="60993"/>
                      <a:pt x="455835" y="139639"/>
                      <a:pt x="455854" y="225804"/>
                    </a:cubicBezTo>
                    <a:close/>
                    <a:moveTo>
                      <a:pt x="322504" y="354296"/>
                    </a:moveTo>
                    <a:cubicBezTo>
                      <a:pt x="322504" y="359557"/>
                      <a:pt x="326771" y="363821"/>
                      <a:pt x="332029" y="363821"/>
                    </a:cubicBezTo>
                    <a:lnTo>
                      <a:pt x="383464" y="363821"/>
                    </a:lnTo>
                    <a:cubicBezTo>
                      <a:pt x="305997" y="448520"/>
                      <a:pt x="174533" y="454382"/>
                      <a:pt x="89828" y="376912"/>
                    </a:cubicBezTo>
                    <a:cubicBezTo>
                      <a:pt x="47289" y="338002"/>
                      <a:pt x="22819" y="283168"/>
                      <a:pt x="22276" y="225518"/>
                    </a:cubicBezTo>
                    <a:cubicBezTo>
                      <a:pt x="22276" y="220074"/>
                      <a:pt x="17866" y="215660"/>
                      <a:pt x="12418" y="215660"/>
                    </a:cubicBezTo>
                    <a:cubicBezTo>
                      <a:pt x="6969" y="215660"/>
                      <a:pt x="2560" y="220074"/>
                      <a:pt x="2560" y="225518"/>
                    </a:cubicBezTo>
                    <a:cubicBezTo>
                      <a:pt x="3921" y="351290"/>
                      <a:pt x="106982" y="452144"/>
                      <a:pt x="232750" y="450782"/>
                    </a:cubicBezTo>
                    <a:cubicBezTo>
                      <a:pt x="293444" y="450125"/>
                      <a:pt x="351365" y="425268"/>
                      <a:pt x="393656" y="381728"/>
                    </a:cubicBezTo>
                    <a:lnTo>
                      <a:pt x="393656" y="425638"/>
                    </a:lnTo>
                    <a:cubicBezTo>
                      <a:pt x="393656" y="430899"/>
                      <a:pt x="397923" y="435163"/>
                      <a:pt x="403181" y="435163"/>
                    </a:cubicBezTo>
                    <a:cubicBezTo>
                      <a:pt x="408439" y="435163"/>
                      <a:pt x="412706" y="430899"/>
                      <a:pt x="412706" y="425638"/>
                    </a:cubicBezTo>
                    <a:lnTo>
                      <a:pt x="412706" y="344962"/>
                    </a:lnTo>
                    <a:lnTo>
                      <a:pt x="332410" y="344962"/>
                    </a:lnTo>
                    <a:cubicBezTo>
                      <a:pt x="327152" y="344855"/>
                      <a:pt x="322799" y="349033"/>
                      <a:pt x="322695" y="354292"/>
                    </a:cubicBezTo>
                    <a:cubicBezTo>
                      <a:pt x="322695" y="354421"/>
                      <a:pt x="322695" y="354549"/>
                      <a:pt x="322695" y="354677"/>
                    </a:cubicBezTo>
                    <a:close/>
                    <a:moveTo>
                      <a:pt x="232398" y="347724"/>
                    </a:moveTo>
                    <a:cubicBezTo>
                      <a:pt x="165275" y="347776"/>
                      <a:pt x="110821" y="293404"/>
                      <a:pt x="110763" y="226280"/>
                    </a:cubicBezTo>
                    <a:cubicBezTo>
                      <a:pt x="110706" y="159156"/>
                      <a:pt x="165085" y="104698"/>
                      <a:pt x="232207" y="104646"/>
                    </a:cubicBezTo>
                    <a:cubicBezTo>
                      <a:pt x="299330" y="104593"/>
                      <a:pt x="353784" y="158966"/>
                      <a:pt x="353841" y="226090"/>
                    </a:cubicBezTo>
                    <a:cubicBezTo>
                      <a:pt x="353841" y="226153"/>
                      <a:pt x="353841" y="226216"/>
                      <a:pt x="353841" y="226280"/>
                    </a:cubicBezTo>
                    <a:cubicBezTo>
                      <a:pt x="353689" y="293275"/>
                      <a:pt x="299578" y="347634"/>
                      <a:pt x="232588" y="348105"/>
                    </a:cubicBezTo>
                    <a:close/>
                    <a:moveTo>
                      <a:pt x="232398" y="330103"/>
                    </a:moveTo>
                    <a:cubicBezTo>
                      <a:pt x="289738" y="330103"/>
                      <a:pt x="336220" y="283620"/>
                      <a:pt x="336220" y="226280"/>
                    </a:cubicBezTo>
                    <a:cubicBezTo>
                      <a:pt x="336220" y="168941"/>
                      <a:pt x="289738" y="122458"/>
                      <a:pt x="232398" y="122458"/>
                    </a:cubicBezTo>
                    <a:cubicBezTo>
                      <a:pt x="175057" y="122458"/>
                      <a:pt x="128575" y="168941"/>
                      <a:pt x="128575" y="226280"/>
                    </a:cubicBezTo>
                    <a:cubicBezTo>
                      <a:pt x="128156" y="283355"/>
                      <a:pt x="174076" y="329965"/>
                      <a:pt x="231150" y="330387"/>
                    </a:cubicBezTo>
                    <a:cubicBezTo>
                      <a:pt x="231636" y="330391"/>
                      <a:pt x="232112" y="330391"/>
                      <a:pt x="232588" y="330388"/>
                    </a:cubicBezTo>
                    <a:close/>
                    <a:moveTo>
                      <a:pt x="303835" y="268381"/>
                    </a:moveTo>
                    <a:cubicBezTo>
                      <a:pt x="306369" y="264567"/>
                      <a:pt x="305321" y="259424"/>
                      <a:pt x="301511" y="256894"/>
                    </a:cubicBezTo>
                    <a:cubicBezTo>
                      <a:pt x="301340" y="256779"/>
                      <a:pt x="301159" y="256672"/>
                      <a:pt x="300978" y="256570"/>
                    </a:cubicBezTo>
                    <a:lnTo>
                      <a:pt x="241161" y="222280"/>
                    </a:lnTo>
                    <a:lnTo>
                      <a:pt x="241161" y="148270"/>
                    </a:lnTo>
                    <a:cubicBezTo>
                      <a:pt x="241161" y="141412"/>
                      <a:pt x="237255" y="137507"/>
                      <a:pt x="232398" y="137507"/>
                    </a:cubicBezTo>
                    <a:cubicBezTo>
                      <a:pt x="227559" y="137455"/>
                      <a:pt x="223597" y="141335"/>
                      <a:pt x="223539" y="146174"/>
                    </a:cubicBezTo>
                    <a:cubicBezTo>
                      <a:pt x="223539" y="146206"/>
                      <a:pt x="223539" y="146238"/>
                      <a:pt x="223539" y="146270"/>
                    </a:cubicBezTo>
                    <a:lnTo>
                      <a:pt x="223539" y="226661"/>
                    </a:lnTo>
                    <a:cubicBezTo>
                      <a:pt x="223844" y="229907"/>
                      <a:pt x="225683" y="232810"/>
                      <a:pt x="228493" y="234472"/>
                    </a:cubicBezTo>
                    <a:lnTo>
                      <a:pt x="292120" y="271714"/>
                    </a:lnTo>
                    <a:cubicBezTo>
                      <a:pt x="295844" y="274280"/>
                      <a:pt x="300949" y="273340"/>
                      <a:pt x="303511" y="269614"/>
                    </a:cubicBezTo>
                    <a:cubicBezTo>
                      <a:pt x="303702" y="269341"/>
                      <a:pt x="303873" y="269056"/>
                      <a:pt x="304026" y="268762"/>
                    </a:cubicBezTo>
                    <a:close/>
                  </a:path>
                </a:pathLst>
              </a:custGeom>
              <a:solidFill>
                <a:srgbClr val="0019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grpSp>
      </p:grpSp>
      <p:grpSp>
        <p:nvGrpSpPr>
          <p:cNvPr id="5" name="Group 4">
            <a:extLst>
              <a:ext uri="{FF2B5EF4-FFF2-40B4-BE49-F238E27FC236}">
                <a16:creationId xmlns:a16="http://schemas.microsoft.com/office/drawing/2014/main" id="{94873321-AFB3-EF9C-F32C-761E965E33E5}"/>
              </a:ext>
            </a:extLst>
          </p:cNvPr>
          <p:cNvGrpSpPr>
            <a:grpSpLocks noChangeAspect="1"/>
          </p:cNvGrpSpPr>
          <p:nvPr/>
        </p:nvGrpSpPr>
        <p:grpSpPr>
          <a:xfrm>
            <a:off x="7330976" y="1438460"/>
            <a:ext cx="1368000" cy="1368000"/>
            <a:chOff x="6864399" y="1438460"/>
            <a:chExt cx="1620000" cy="1620000"/>
          </a:xfrm>
        </p:grpSpPr>
        <p:sp>
          <p:nvSpPr>
            <p:cNvPr id="80" name="Oval 79">
              <a:extLst>
                <a:ext uri="{FF2B5EF4-FFF2-40B4-BE49-F238E27FC236}">
                  <a16:creationId xmlns:a16="http://schemas.microsoft.com/office/drawing/2014/main" id="{52AA1551-B165-E67D-2C84-EB04957D50F4}"/>
                </a:ext>
              </a:extLst>
            </p:cNvPr>
            <p:cNvSpPr>
              <a:spLocks noChangeAspect="1"/>
            </p:cNvSpPr>
            <p:nvPr/>
          </p:nvSpPr>
          <p:spPr>
            <a:xfrm>
              <a:off x="6864399" y="1438460"/>
              <a:ext cx="1620000"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3B97DE"/>
                  </a:solidFill>
                  <a:effectLst/>
                  <a:uLnTx/>
                  <a:uFillTx/>
                  <a:latin typeface="Apis For Office"/>
                  <a:ea typeface="+mn-ea"/>
                  <a:cs typeface="+mn-cs"/>
                </a:rPr>
                <a:t>20%</a:t>
              </a:r>
              <a:br>
                <a:rPr kumimoji="0" lang="en-US" sz="1200" b="1" i="0" u="none" strike="noStrike" kern="1200" cap="none" spc="0" normalizeH="0" baseline="0" noProof="0">
                  <a:ln>
                    <a:noFill/>
                  </a:ln>
                  <a:solidFill>
                    <a:srgbClr val="3B97DE"/>
                  </a:solidFill>
                  <a:effectLst/>
                  <a:uLnTx/>
                  <a:uFillTx/>
                  <a:latin typeface="Apis For Office"/>
                  <a:ea typeface="+mn-ea"/>
                  <a:cs typeface="+mn-cs"/>
                </a:rPr>
              </a:br>
              <a:r>
                <a:rPr kumimoji="0" lang="en-US" sz="1200" b="0" i="0" u="none" strike="noStrike" kern="1200" cap="none" spc="0" normalizeH="0" baseline="0" noProof="0">
                  <a:ln>
                    <a:noFill/>
                  </a:ln>
                  <a:solidFill>
                    <a:srgbClr val="001965"/>
                  </a:solidFill>
                  <a:effectLst/>
                  <a:uLnTx/>
                  <a:uFillTx/>
                  <a:latin typeface="Apis For Office"/>
                  <a:ea typeface="+mn-ea"/>
                  <a:cs typeface="+mn-cs"/>
                </a:rPr>
                <a:t>reduction in </a:t>
              </a:r>
              <a:br>
                <a:rPr kumimoji="0" lang="en-US" sz="1200" b="0" i="0" u="none" strike="noStrike" kern="1200" cap="none" spc="0" normalizeH="0" baseline="0" noProof="0">
                  <a:ln>
                    <a:noFill/>
                  </a:ln>
                  <a:solidFill>
                    <a:srgbClr val="001965"/>
                  </a:solidFill>
                  <a:effectLst/>
                  <a:uLnTx/>
                  <a:uFillTx/>
                  <a:latin typeface="Apis For Office"/>
                  <a:ea typeface="+mn-ea"/>
                  <a:cs typeface="+mn-cs"/>
                </a:rPr>
              </a:br>
              <a:r>
                <a:rPr kumimoji="0" lang="en-US" sz="1200" b="0" i="0" u="none" strike="noStrike" kern="1200" cap="none" spc="0" normalizeH="0" baseline="0" noProof="0">
                  <a:ln>
                    <a:noFill/>
                  </a:ln>
                  <a:solidFill>
                    <a:srgbClr val="001965"/>
                  </a:solidFill>
                  <a:effectLst/>
                  <a:uLnTx/>
                  <a:uFillTx/>
                  <a:latin typeface="Apis For Office"/>
                  <a:ea typeface="+mn-ea"/>
                  <a:cs typeface="+mn-cs"/>
                </a:rPr>
                <a:t>risk of MACE*</a:t>
              </a:r>
              <a:endParaRPr kumimoji="0" lang="en-US" sz="16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1" name="Arc 80">
              <a:extLst>
                <a:ext uri="{FF2B5EF4-FFF2-40B4-BE49-F238E27FC236}">
                  <a16:creationId xmlns:a16="http://schemas.microsoft.com/office/drawing/2014/main" id="{4CF94D2D-611C-0956-07A6-EA45BC87465B}"/>
                </a:ext>
              </a:extLst>
            </p:cNvPr>
            <p:cNvSpPr>
              <a:spLocks noChangeAspect="1"/>
            </p:cNvSpPr>
            <p:nvPr/>
          </p:nvSpPr>
          <p:spPr>
            <a:xfrm>
              <a:off x="6864399" y="1438460"/>
              <a:ext cx="1620000" cy="1620000"/>
            </a:xfrm>
            <a:prstGeom prst="arc">
              <a:avLst>
                <a:gd name="adj1" fmla="val 16334087"/>
                <a:gd name="adj2" fmla="val 20465458"/>
              </a:avLst>
            </a:prstGeom>
            <a:ln w="41275" cap="rnd">
              <a:solidFill>
                <a:schemeClr val="accent5"/>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82" name="Arc 81">
              <a:extLst>
                <a:ext uri="{FF2B5EF4-FFF2-40B4-BE49-F238E27FC236}">
                  <a16:creationId xmlns:a16="http://schemas.microsoft.com/office/drawing/2014/main" id="{F3289312-430A-4ACC-26FC-CF96D40A2ADA}"/>
                </a:ext>
              </a:extLst>
            </p:cNvPr>
            <p:cNvSpPr>
              <a:spLocks noChangeAspect="1"/>
            </p:cNvSpPr>
            <p:nvPr/>
          </p:nvSpPr>
          <p:spPr>
            <a:xfrm>
              <a:off x="6864399" y="1438460"/>
              <a:ext cx="1620000" cy="1620000"/>
            </a:xfrm>
            <a:prstGeom prst="arc">
              <a:avLst>
                <a:gd name="adj1" fmla="val 20664934"/>
                <a:gd name="adj2" fmla="val 16043621"/>
              </a:avLst>
            </a:prstGeom>
            <a:ln w="41275" cap="rnd">
              <a:solidFill>
                <a:srgbClr val="D4D7DC"/>
              </a:solidFill>
              <a:roun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is For Office"/>
                <a:ea typeface="+mn-ea"/>
                <a:cs typeface="+mn-cs"/>
              </a:endParaRPr>
            </a:p>
          </p:txBody>
        </p:sp>
      </p:grpSp>
    </p:spTree>
    <p:extLst>
      <p:ext uri="{BB962C8B-B14F-4D97-AF65-F5344CB8AC3E}">
        <p14:creationId xmlns:p14="http://schemas.microsoft.com/office/powerpoint/2010/main" val="21203182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020340EC-C357-F659-AF73-0CBAAF91BD17}"/>
              </a:ext>
            </a:extLst>
          </p:cNvPr>
          <p:cNvSpPr>
            <a:spLocks noGrp="1"/>
          </p:cNvSpPr>
          <p:nvPr>
            <p:ph type="ctrTitle" idx="4294967295"/>
            <p:custDataLst>
              <p:tags r:id="rId4"/>
            </p:custDataLst>
          </p:nvPr>
        </p:nvSpPr>
        <p:spPr>
          <a:xfrm>
            <a:off x="3997127" y="773328"/>
            <a:ext cx="6406851" cy="3105000"/>
          </a:xfrm>
        </p:spPr>
        <p:txBody>
          <a:bodyPr/>
          <a:lstStyle/>
          <a:p>
            <a:r>
              <a:rPr lang="en-GB" noProof="0" dirty="0"/>
              <a:t>SEMALEAN study</a:t>
            </a:r>
          </a:p>
        </p:txBody>
      </p:sp>
      <p:sp>
        <p:nvSpPr>
          <p:cNvPr id="3" name="Date Placeholder 2">
            <a:extLst>
              <a:ext uri="{FF2B5EF4-FFF2-40B4-BE49-F238E27FC236}">
                <a16:creationId xmlns:a16="http://schemas.microsoft.com/office/drawing/2014/main" id="{43FF7D07-244D-4AD8-A533-938BDBF811F4}"/>
              </a:ext>
            </a:extLst>
          </p:cNvPr>
          <p:cNvSpPr>
            <a:spLocks noGrp="1"/>
          </p:cNvSpPr>
          <p:nvPr>
            <p:ph type="dt" sz="half" idx="4294967295"/>
            <p:custDataLst>
              <p:tags r:id="rId5"/>
            </p:custDataLst>
          </p:nvPr>
        </p:nvSpPr>
        <p:spPr>
          <a:xfrm>
            <a:off x="647999" y="6055882"/>
            <a:ext cx="1920001" cy="154800"/>
          </a:xfrm>
        </p:spPr>
        <p:txBody>
          <a:bodyPr/>
          <a:lstStyle/>
          <a:p>
            <a:endParaRPr lang="en-GB" noProof="0" dirty="0"/>
          </a:p>
        </p:txBody>
      </p:sp>
      <p:sp>
        <p:nvSpPr>
          <p:cNvPr id="19" name="Text Placeholder 18">
            <a:extLst>
              <a:ext uri="{FF2B5EF4-FFF2-40B4-BE49-F238E27FC236}">
                <a16:creationId xmlns:a16="http://schemas.microsoft.com/office/drawing/2014/main" id="{9012AEFD-BA5D-7BE5-9FDD-01F3B3B68139}"/>
              </a:ext>
            </a:extLst>
          </p:cNvPr>
          <p:cNvSpPr>
            <a:spLocks noGrp="1"/>
          </p:cNvSpPr>
          <p:nvPr>
            <p:ph type="body" sz="quarter" idx="4294967295"/>
            <p:custDataLst>
              <p:tags r:id="rId6"/>
            </p:custDataLst>
          </p:nvPr>
        </p:nvSpPr>
        <p:spPr>
          <a:xfrm>
            <a:off x="647999" y="3753000"/>
            <a:ext cx="10313784" cy="1309148"/>
          </a:xfrm>
        </p:spPr>
        <p:txBody>
          <a:bodyPr/>
          <a:lstStyle/>
          <a:p>
            <a:pPr marL="0" indent="0">
              <a:buNone/>
            </a:pPr>
            <a:r>
              <a:rPr lang="en-US" sz="3200" dirty="0">
                <a:solidFill>
                  <a:srgbClr val="001965"/>
                </a:solidFill>
              </a:rPr>
              <a:t>Impact of </a:t>
            </a:r>
            <a:r>
              <a:rPr lang="en-US" sz="3200" dirty="0" err="1">
                <a:solidFill>
                  <a:srgbClr val="001965"/>
                </a:solidFill>
              </a:rPr>
              <a:t>Semaglutide</a:t>
            </a:r>
            <a:r>
              <a:rPr lang="en-US" sz="3200" dirty="0">
                <a:solidFill>
                  <a:srgbClr val="001965"/>
                </a:solidFill>
              </a:rPr>
              <a:t> on fat mass, lean mass and muscle function in patients with obesity</a:t>
            </a:r>
            <a:endParaRPr lang="en-GB" sz="3200" noProof="0" dirty="0">
              <a:solidFill>
                <a:srgbClr val="001965"/>
              </a:solidFill>
            </a:endParaRPr>
          </a:p>
        </p:txBody>
      </p:sp>
      <p:sp>
        <p:nvSpPr>
          <p:cNvPr id="8" name="Footer Placeholder 7">
            <a:extLst>
              <a:ext uri="{FF2B5EF4-FFF2-40B4-BE49-F238E27FC236}">
                <a16:creationId xmlns:a16="http://schemas.microsoft.com/office/drawing/2014/main" id="{D19C0A48-D5CB-48FD-BD17-ED27110C6D7C}"/>
              </a:ext>
            </a:extLst>
          </p:cNvPr>
          <p:cNvSpPr>
            <a:spLocks noGrp="1"/>
          </p:cNvSpPr>
          <p:nvPr>
            <p:ph type="ftr" sz="quarter" idx="11"/>
            <p:custDataLst>
              <p:tags r:id="rId7"/>
            </p:custDataLst>
          </p:nvPr>
        </p:nvSpPr>
        <p:spPr>
          <a:xfrm>
            <a:off x="0" y="6876000"/>
            <a:ext cx="0" cy="0"/>
          </a:xfrm>
          <a:prstGeom prst="rect">
            <a:avLst/>
          </a:prstGeom>
        </p:spPr>
        <p:txBody>
          <a:bodyPr vert="horz" lIns="0" tIns="0" rIns="0" bIns="0" rtlCol="0" anchor="t"/>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dirty="0"/>
          </a:p>
        </p:txBody>
      </p:sp>
      <p:sp>
        <p:nvSpPr>
          <p:cNvPr id="9" name="Slide Number Placeholder 8">
            <a:extLst>
              <a:ext uri="{FF2B5EF4-FFF2-40B4-BE49-F238E27FC236}">
                <a16:creationId xmlns:a16="http://schemas.microsoft.com/office/drawing/2014/main" id="{A7A4B6A3-2F32-4E08-8977-44A2E775F659}"/>
              </a:ext>
            </a:extLst>
          </p:cNvPr>
          <p:cNvSpPr>
            <a:spLocks noGrp="1"/>
          </p:cNvSpPr>
          <p:nvPr>
            <p:ph type="sldNum" sz="quarter" idx="4"/>
            <p:custDataLst>
              <p:tags r:id="rId8"/>
            </p:custDataLst>
          </p:nvPr>
        </p:nvSpPr>
        <p:spPr>
          <a:xfrm>
            <a:off x="0" y="6876000"/>
            <a:ext cx="0" cy="0"/>
          </a:xfrm>
          <a:prstGeom prst="rect">
            <a:avLst/>
          </a:prstGeom>
        </p:spPr>
        <p:txBody>
          <a:bodyPr vert="horz" lIns="0" tIns="0" rIns="0" bIns="0" rtlCol="0" anchor="b"/>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32</a:t>
            </a:fld>
            <a:endParaRPr lang="en-GB" noProof="0" dirty="0"/>
          </a:p>
        </p:txBody>
      </p:sp>
    </p:spTree>
    <p:custDataLst>
      <p:custData r:id="rId1"/>
      <p:custData r:id="rId2"/>
      <p:tags r:id="rId3"/>
    </p:custDataLst>
    <p:extLst>
      <p:ext uri="{BB962C8B-B14F-4D97-AF65-F5344CB8AC3E}">
        <p14:creationId xmlns:p14="http://schemas.microsoft.com/office/powerpoint/2010/main" val="35985110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69CA5-E22E-488A-BC7E-9F76BA6C1768}"/>
              </a:ext>
            </a:extLst>
          </p:cNvPr>
          <p:cNvSpPr>
            <a:spLocks noGrp="1"/>
          </p:cNvSpPr>
          <p:nvPr>
            <p:ph type="title"/>
          </p:nvPr>
        </p:nvSpPr>
        <p:spPr>
          <a:xfrm>
            <a:off x="648000" y="648000"/>
            <a:ext cx="10896000" cy="1296000"/>
          </a:xfrm>
        </p:spPr>
        <p:txBody>
          <a:bodyPr/>
          <a:lstStyle/>
          <a:p>
            <a:r>
              <a:rPr lang="en-GB" dirty="0"/>
              <a:t>Trial design</a:t>
            </a:r>
            <a:br>
              <a:rPr lang="en-GB" dirty="0"/>
            </a:br>
            <a:r>
              <a:rPr lang="en-GB" sz="2000" dirty="0">
                <a:solidFill>
                  <a:schemeClr val="accent5"/>
                </a:solidFill>
              </a:rPr>
              <a:t>SEMALEAN: prospective, longitudinal, real-world cohort</a:t>
            </a:r>
            <a:br>
              <a:rPr lang="en-GB" sz="2000" dirty="0">
                <a:solidFill>
                  <a:schemeClr val="accent5"/>
                </a:solidFill>
              </a:rPr>
            </a:br>
            <a:endParaRPr lang="en-GB" dirty="0">
              <a:solidFill>
                <a:schemeClr val="accent5"/>
              </a:solidFill>
            </a:endParaRPr>
          </a:p>
        </p:txBody>
      </p:sp>
      <p:sp>
        <p:nvSpPr>
          <p:cNvPr id="6" name="Text Placeholder 5">
            <a:extLst>
              <a:ext uri="{FF2B5EF4-FFF2-40B4-BE49-F238E27FC236}">
                <a16:creationId xmlns:a16="http://schemas.microsoft.com/office/drawing/2014/main" id="{1B6B8950-F14A-4CB4-AA55-444F18D05F45}"/>
              </a:ext>
            </a:extLst>
          </p:cNvPr>
          <p:cNvSpPr>
            <a:spLocks noGrp="1"/>
          </p:cNvSpPr>
          <p:nvPr>
            <p:ph type="body" sz="quarter" idx="13"/>
          </p:nvPr>
        </p:nvSpPr>
        <p:spPr>
          <a:xfrm>
            <a:off x="648000" y="6210835"/>
            <a:ext cx="10896000" cy="323165"/>
          </a:xfrm>
        </p:spPr>
        <p:txBody>
          <a:bodyPr wrap="square">
            <a:spAutoFit/>
          </a:bodyPr>
          <a:lstStyle/>
          <a:p>
            <a:br>
              <a:rPr lang="en-GB" dirty="0"/>
            </a:br>
            <a:r>
              <a:rPr lang="en-GB" dirty="0"/>
              <a:t>BMI, body mass index; OW, once-weekly; </a:t>
            </a:r>
            <a:r>
              <a:rPr lang="en-GB" dirty="0" err="1"/>
              <a:t>s.c.</a:t>
            </a:r>
            <a:r>
              <a:rPr lang="en-GB" dirty="0"/>
              <a:t>, subcutaneous;</a:t>
            </a:r>
            <a:br>
              <a:rPr lang="en-US" dirty="0"/>
            </a:br>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endParaRPr lang="en-GB" dirty="0"/>
          </a:p>
        </p:txBody>
      </p:sp>
      <p:grpSp>
        <p:nvGrpSpPr>
          <p:cNvPr id="4" name="Group 3">
            <a:extLst>
              <a:ext uri="{FF2B5EF4-FFF2-40B4-BE49-F238E27FC236}">
                <a16:creationId xmlns:a16="http://schemas.microsoft.com/office/drawing/2014/main" id="{DA9A528C-6E9C-8398-85FA-BE37BB6F5D5F}"/>
              </a:ext>
            </a:extLst>
          </p:cNvPr>
          <p:cNvGrpSpPr/>
          <p:nvPr/>
        </p:nvGrpSpPr>
        <p:grpSpPr>
          <a:xfrm>
            <a:off x="976261" y="1699429"/>
            <a:ext cx="10239478" cy="4162428"/>
            <a:chOff x="572087" y="1679477"/>
            <a:chExt cx="10408741" cy="4231236"/>
          </a:xfrm>
        </p:grpSpPr>
        <p:sp>
          <p:nvSpPr>
            <p:cNvPr id="9" name="TextBox 8">
              <a:extLst>
                <a:ext uri="{FF2B5EF4-FFF2-40B4-BE49-F238E27FC236}">
                  <a16:creationId xmlns:a16="http://schemas.microsoft.com/office/drawing/2014/main" id="{4F069C2E-753E-4453-BCDE-F17BBF36EF32}"/>
                </a:ext>
              </a:extLst>
            </p:cNvPr>
            <p:cNvSpPr txBox="1"/>
            <p:nvPr/>
          </p:nvSpPr>
          <p:spPr>
            <a:xfrm>
              <a:off x="3652896" y="3304182"/>
              <a:ext cx="765127" cy="610085"/>
            </a:xfrm>
            <a:prstGeom prst="rect">
              <a:avLst/>
            </a:prstGeom>
            <a:noFill/>
          </p:spPr>
          <p:txBody>
            <a:bodyPr wrap="square" rtlCol="0">
              <a:spAutoFit/>
            </a:bodyPr>
            <a:lstStyle/>
            <a:p>
              <a:pPr marL="0" marR="0" lvl="0" indent="0" algn="ctr" defTabSz="91365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M0</a:t>
              </a:r>
            </a:p>
            <a:p>
              <a:pPr marL="0" marR="0" lvl="0" indent="0" algn="ctr" defTabSz="913652" rtl="0" eaLnBrk="1" fontAlgn="auto" latinLnBrk="0" hangingPunct="1">
                <a:lnSpc>
                  <a:spcPct val="100000"/>
                </a:lnSpc>
                <a:spcBef>
                  <a:spcPts val="0"/>
                </a:spcBef>
                <a:spcAft>
                  <a:spcPts val="0"/>
                </a:spcAft>
                <a:buClrTx/>
                <a:buSzTx/>
                <a:buFontTx/>
                <a:buNone/>
                <a:tabLst/>
                <a:defRPr/>
              </a:pPr>
              <a:r>
                <a:rPr lang="en-GB" sz="11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Baseline</a:t>
              </a:r>
              <a:endPar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ctr" defTabSz="913652"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1" name="Group 10">
              <a:extLst>
                <a:ext uri="{FF2B5EF4-FFF2-40B4-BE49-F238E27FC236}">
                  <a16:creationId xmlns:a16="http://schemas.microsoft.com/office/drawing/2014/main" id="{2A7E8966-F327-4245-A8DE-05396269D1F2}"/>
                </a:ext>
              </a:extLst>
            </p:cNvPr>
            <p:cNvGrpSpPr/>
            <p:nvPr/>
          </p:nvGrpSpPr>
          <p:grpSpPr>
            <a:xfrm>
              <a:off x="4023457" y="3081062"/>
              <a:ext cx="6198746" cy="210035"/>
              <a:chOff x="950911" y="2752767"/>
              <a:chExt cx="6198746" cy="210035"/>
            </a:xfrm>
          </p:grpSpPr>
          <p:grpSp>
            <p:nvGrpSpPr>
              <p:cNvPr id="12" name="Group 11">
                <a:extLst>
                  <a:ext uri="{FF2B5EF4-FFF2-40B4-BE49-F238E27FC236}">
                    <a16:creationId xmlns:a16="http://schemas.microsoft.com/office/drawing/2014/main" id="{65231618-4621-4EA4-A63E-326F713975CA}"/>
                  </a:ext>
                </a:extLst>
              </p:cNvPr>
              <p:cNvGrpSpPr/>
              <p:nvPr/>
            </p:nvGrpSpPr>
            <p:grpSpPr>
              <a:xfrm>
                <a:off x="950911" y="2762751"/>
                <a:ext cx="6169079" cy="169715"/>
                <a:chOff x="214674" y="2047834"/>
                <a:chExt cx="6449090" cy="169715"/>
              </a:xfrm>
            </p:grpSpPr>
            <p:cxnSp>
              <p:nvCxnSpPr>
                <p:cNvPr id="17" name="Straight Connector 16">
                  <a:extLst>
                    <a:ext uri="{FF2B5EF4-FFF2-40B4-BE49-F238E27FC236}">
                      <a16:creationId xmlns:a16="http://schemas.microsoft.com/office/drawing/2014/main" id="{E59A9560-AFE0-435D-8900-1648144BA24D}"/>
                    </a:ext>
                  </a:extLst>
                </p:cNvPr>
                <p:cNvCxnSpPr>
                  <a:cxnSpLocks/>
                </p:cNvCxnSpPr>
                <p:nvPr/>
              </p:nvCxnSpPr>
              <p:spPr>
                <a:xfrm flipV="1">
                  <a:off x="214674" y="2134531"/>
                  <a:ext cx="6371823" cy="18256"/>
                </a:xfrm>
                <a:prstGeom prst="line">
                  <a:avLst/>
                </a:prstGeom>
                <a:ln w="19050">
                  <a:solidFill>
                    <a:srgbClr val="939AA7"/>
                  </a:solidFill>
                  <a:prstDash val="dash"/>
                </a:ln>
              </p:spPr>
              <p:style>
                <a:lnRef idx="1">
                  <a:schemeClr val="accent1"/>
                </a:lnRef>
                <a:fillRef idx="0">
                  <a:schemeClr val="accent1"/>
                </a:fillRef>
                <a:effectRef idx="0">
                  <a:schemeClr val="accent1"/>
                </a:effectRef>
                <a:fontRef idx="minor">
                  <a:schemeClr val="tx1"/>
                </a:fontRef>
              </p:style>
            </p:cxnSp>
            <p:sp>
              <p:nvSpPr>
                <p:cNvPr id="18" name="Isosceles Triangle 17">
                  <a:extLst>
                    <a:ext uri="{FF2B5EF4-FFF2-40B4-BE49-F238E27FC236}">
                      <a16:creationId xmlns:a16="http://schemas.microsoft.com/office/drawing/2014/main" id="{20E50C08-2AC5-4628-99D4-24675C54E887}"/>
                    </a:ext>
                  </a:extLst>
                </p:cNvPr>
                <p:cNvSpPr/>
                <p:nvPr/>
              </p:nvSpPr>
              <p:spPr>
                <a:xfrm rot="5400000">
                  <a:off x="6501638" y="2055423"/>
                  <a:ext cx="169715" cy="154537"/>
                </a:xfrm>
                <a:prstGeom prst="triangle">
                  <a:avLst/>
                </a:prstGeom>
                <a:solidFill>
                  <a:srgbClr val="939AA7"/>
                </a:solidFill>
                <a:ln w="9525">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52"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cxnSp>
            <p:nvCxnSpPr>
              <p:cNvPr id="13" name="Straight Connector 12">
                <a:extLst>
                  <a:ext uri="{FF2B5EF4-FFF2-40B4-BE49-F238E27FC236}">
                    <a16:creationId xmlns:a16="http://schemas.microsoft.com/office/drawing/2014/main" id="{E7C83AAB-D94F-4722-BD09-D7A58DD95E5B}"/>
                  </a:ext>
                </a:extLst>
              </p:cNvPr>
              <p:cNvCxnSpPr/>
              <p:nvPr/>
            </p:nvCxnSpPr>
            <p:spPr>
              <a:xfrm>
                <a:off x="4025362" y="2772607"/>
                <a:ext cx="0" cy="190195"/>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EC2608D-FA33-429B-81D7-4F5D35DDA4F9}"/>
                  </a:ext>
                </a:extLst>
              </p:cNvPr>
              <p:cNvCxnSpPr/>
              <p:nvPr/>
            </p:nvCxnSpPr>
            <p:spPr>
              <a:xfrm>
                <a:off x="7149657" y="2752767"/>
                <a:ext cx="0" cy="190195"/>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C87708B-4A52-40DB-94F5-27C2452F8E36}"/>
                  </a:ext>
                </a:extLst>
              </p:cNvPr>
              <p:cNvCxnSpPr/>
              <p:nvPr/>
            </p:nvCxnSpPr>
            <p:spPr>
              <a:xfrm>
                <a:off x="950913" y="2765696"/>
                <a:ext cx="0" cy="190195"/>
              </a:xfrm>
              <a:prstGeom prst="line">
                <a:avLst/>
              </a:prstGeom>
              <a:ln w="19050">
                <a:solidFill>
                  <a:srgbClr val="939AA7"/>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0D8E7927-B389-4970-AB8E-BB989F7A038C}"/>
                </a:ext>
              </a:extLst>
            </p:cNvPr>
            <p:cNvSpPr txBox="1"/>
            <p:nvPr/>
          </p:nvSpPr>
          <p:spPr>
            <a:xfrm>
              <a:off x="9386185" y="3288963"/>
              <a:ext cx="1594643" cy="265935"/>
            </a:xfrm>
            <a:prstGeom prst="rect">
              <a:avLst/>
            </a:prstGeom>
            <a:noFill/>
          </p:spPr>
          <p:txBody>
            <a:bodyPr wrap="square" rtlCol="0">
              <a:spAutoFit/>
            </a:bodyPr>
            <a:lstStyle/>
            <a:p>
              <a:pPr marL="0" marR="0" lvl="0" indent="0" algn="ctr" defTabSz="91365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M12</a:t>
              </a:r>
            </a:p>
          </p:txBody>
        </p:sp>
        <p:sp>
          <p:nvSpPr>
            <p:cNvPr id="21" name="TextBox 20">
              <a:extLst>
                <a:ext uri="{FF2B5EF4-FFF2-40B4-BE49-F238E27FC236}">
                  <a16:creationId xmlns:a16="http://schemas.microsoft.com/office/drawing/2014/main" id="{1DF669F7-9DED-466F-87D6-CAE8A59D0D0C}"/>
                </a:ext>
              </a:extLst>
            </p:cNvPr>
            <p:cNvSpPr txBox="1"/>
            <p:nvPr/>
          </p:nvSpPr>
          <p:spPr>
            <a:xfrm>
              <a:off x="9561747" y="3456573"/>
              <a:ext cx="1243519" cy="265935"/>
            </a:xfrm>
            <a:prstGeom prst="rect">
              <a:avLst/>
            </a:prstGeom>
            <a:noFill/>
          </p:spPr>
          <p:txBody>
            <a:bodyPr wrap="square" rtlCol="0">
              <a:spAutoFit/>
            </a:bodyPr>
            <a:lstStyle/>
            <a:p>
              <a:pPr marL="0" marR="0" lvl="0" indent="0" algn="ctr" defTabSz="91365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End of trial</a:t>
              </a:r>
              <a:endParaRPr kumimoji="0" lang="en-GB" sz="1100" b="0"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2" name="Rectangle 51">
              <a:extLst>
                <a:ext uri="{FF2B5EF4-FFF2-40B4-BE49-F238E27FC236}">
                  <a16:creationId xmlns:a16="http://schemas.microsoft.com/office/drawing/2014/main" id="{2749D047-4DB3-4079-A648-2C7B23F8F029}"/>
                </a:ext>
              </a:extLst>
            </p:cNvPr>
            <p:cNvSpPr/>
            <p:nvPr/>
          </p:nvSpPr>
          <p:spPr>
            <a:xfrm>
              <a:off x="3928825" y="1779872"/>
              <a:ext cx="2024467" cy="13807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52"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4" name="TextBox 53">
              <a:extLst>
                <a:ext uri="{FF2B5EF4-FFF2-40B4-BE49-F238E27FC236}">
                  <a16:creationId xmlns:a16="http://schemas.microsoft.com/office/drawing/2014/main" id="{20355418-718D-4B4D-A9DE-14CD7F9524A2}"/>
                </a:ext>
              </a:extLst>
            </p:cNvPr>
            <p:cNvSpPr txBox="1"/>
            <p:nvPr/>
          </p:nvSpPr>
          <p:spPr>
            <a:xfrm>
              <a:off x="5725163" y="3331080"/>
              <a:ext cx="3259317" cy="276999"/>
            </a:xfrm>
            <a:prstGeom prst="rect">
              <a:avLst/>
            </a:prstGeom>
            <a:noFill/>
          </p:spPr>
          <p:txBody>
            <a:bodyPr wrap="square" rtlCol="0">
              <a:spAutoFit/>
            </a:bodyPr>
            <a:lstStyle/>
            <a:p>
              <a:pPr marL="0" marR="0" lvl="0" indent="0" algn="l" defTabSz="91365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ensive behavioural therapy (IBT)</a:t>
              </a:r>
            </a:p>
          </p:txBody>
        </p:sp>
        <p:sp>
          <p:nvSpPr>
            <p:cNvPr id="61" name="TextBox 60">
              <a:extLst>
                <a:ext uri="{FF2B5EF4-FFF2-40B4-BE49-F238E27FC236}">
                  <a16:creationId xmlns:a16="http://schemas.microsoft.com/office/drawing/2014/main" id="{9CD85538-4786-42F8-9377-AF895358C1EF}"/>
                </a:ext>
              </a:extLst>
            </p:cNvPr>
            <p:cNvSpPr txBox="1"/>
            <p:nvPr/>
          </p:nvSpPr>
          <p:spPr>
            <a:xfrm>
              <a:off x="572087" y="1679477"/>
              <a:ext cx="2593686" cy="3287879"/>
            </a:xfrm>
            <a:prstGeom prst="rect">
              <a:avLst/>
            </a:prstGeom>
            <a:noFill/>
          </p:spPr>
          <p:txBody>
            <a:bodyPr wrap="square" lIns="0" tIns="0" rIns="0" bIns="0" rtlCol="0">
              <a:spAutoFit/>
            </a:bodyPr>
            <a:lstStyle/>
            <a:p>
              <a:pPr defTabSz="913652">
                <a:lnSpc>
                  <a:spcPct val="120000"/>
                </a:lnSpc>
              </a:pPr>
              <a:r>
                <a:rPr lang="en-GB" sz="1200" b="1" dirty="0">
                  <a:solidFill>
                    <a:schemeClr val="accent5"/>
                  </a:solidFill>
                </a:rPr>
                <a:t>Key inclusion criteria</a:t>
              </a:r>
              <a:endParaRPr lang="en-GB" sz="1200" baseline="30000" dirty="0">
                <a:solidFill>
                  <a:schemeClr val="accent5"/>
                </a:solidFill>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rade 3 of obesity, BMI: ≥</a:t>
              </a:r>
              <a:r>
                <a:rPr kumimoji="0" lang="en-GB" sz="12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0</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kg/m</a:t>
              </a:r>
              <a:r>
                <a:rPr kumimoji="0" lang="en-GB" sz="1200" b="0"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a:t>
              </a:r>
              <a:r>
                <a:rPr lang="en-GB"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nd ≥1 comorbidity</a:t>
              </a: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ocumented failure of </a:t>
              </a:r>
              <a:r>
                <a:rPr kumimoji="0" lang="en-GB"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lifestile</a:t>
              </a: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interventions</a:t>
              </a:r>
            </a:p>
            <a:p>
              <a:pPr marR="0" lvl="0" algn="l" defTabSz="913652" rtl="0" eaLnBrk="1" fontAlgn="auto" latinLnBrk="0" hangingPunct="1">
                <a:lnSpc>
                  <a:spcPct val="120000"/>
                </a:lnSpc>
                <a:spcBef>
                  <a:spcPts val="0"/>
                </a:spcBef>
                <a:spcAft>
                  <a:spcPts val="0"/>
                </a:spcAft>
                <a:buClrTx/>
                <a:buSzTx/>
                <a:tabLst/>
                <a:defRPr/>
              </a:pPr>
              <a:r>
                <a:rPr lang="en-GB" sz="1200" b="1" dirty="0">
                  <a:solidFill>
                    <a:schemeClr val="accent5"/>
                  </a:solidFill>
                </a:rPr>
                <a:t>Key exclusion criteria</a:t>
              </a:r>
            </a:p>
            <a:p>
              <a:pPr marL="171450" indent="-171450" defTabSz="913652">
                <a:lnSpc>
                  <a:spcPct val="120000"/>
                </a:lnSpc>
                <a:buFont typeface="Arial" panose="020B0604020202020204" pitchFamily="34" charset="0"/>
                <a:buChar char="•"/>
              </a:pPr>
              <a:r>
                <a:rPr lang="en-GB"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Active cancer</a:t>
              </a:r>
            </a:p>
            <a:p>
              <a:pPr marL="171450" indent="-171450" defTabSz="913652">
                <a:lnSpc>
                  <a:spcPct val="120000"/>
                </a:lnSpc>
                <a:buFont typeface="Arial" panose="020B0604020202020204" pitchFamily="34" charset="0"/>
                <a:buChar char="•"/>
              </a:pPr>
              <a:r>
                <a:rPr lang="en-GB"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History of pancreatitis</a:t>
              </a:r>
            </a:p>
            <a:p>
              <a:pPr marL="171450" indent="-171450" defTabSz="913652">
                <a:lnSpc>
                  <a:spcPct val="120000"/>
                </a:lnSpc>
                <a:buFont typeface="Arial" panose="020B0604020202020204" pitchFamily="34" charset="0"/>
                <a:buChar char="•"/>
              </a:pPr>
              <a:r>
                <a:rPr lang="en-GB"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Premature discontinuation of treatment before the 7</a:t>
              </a:r>
              <a:r>
                <a:rPr lang="en-GB" sz="12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th</a:t>
              </a:r>
              <a:r>
                <a:rPr lang="en-GB"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month</a:t>
              </a:r>
            </a:p>
            <a:p>
              <a:pPr marL="171450" indent="-171450" defTabSz="913652">
                <a:lnSpc>
                  <a:spcPct val="120000"/>
                </a:lnSpc>
                <a:buFont typeface="Arial" panose="020B0604020202020204" pitchFamily="34" charset="0"/>
                <a:buChar char="•"/>
              </a:pPr>
              <a:r>
                <a:rPr lang="en-GB"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Incomplete follow-up data</a:t>
              </a:r>
            </a:p>
            <a:p>
              <a:pPr defTabSz="913652">
                <a:lnSpc>
                  <a:spcPct val="120000"/>
                </a:lnSpc>
              </a:pPr>
              <a:endParaRPr lang="en-GB" sz="1200" b="1" dirty="0">
                <a:solidFill>
                  <a:schemeClr val="accent5"/>
                </a:solidFill>
              </a:endParaRPr>
            </a:p>
            <a:p>
              <a:pPr defTabSz="913652">
                <a:lnSpc>
                  <a:spcPct val="120000"/>
                </a:lnSpc>
              </a:pPr>
              <a:endParaRPr lang="en-GB" sz="1200" baseline="30000" dirty="0">
                <a:solidFill>
                  <a:schemeClr val="accent5"/>
                </a:solidFill>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 name="Rounded Rectangle 13">
              <a:extLst>
                <a:ext uri="{FF2B5EF4-FFF2-40B4-BE49-F238E27FC236}">
                  <a16:creationId xmlns:a16="http://schemas.microsoft.com/office/drawing/2014/main" id="{F05DDC02-E271-4E6B-8BA9-431CC9D00A80}"/>
                </a:ext>
              </a:extLst>
            </p:cNvPr>
            <p:cNvSpPr/>
            <p:nvPr/>
          </p:nvSpPr>
          <p:spPr>
            <a:xfrm>
              <a:off x="4023457" y="2187394"/>
              <a:ext cx="6225777" cy="637504"/>
            </a:xfrm>
            <a:prstGeom prst="rect">
              <a:avLst/>
            </a:prstGeom>
            <a:solidFill>
              <a:srgbClr val="6C318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55" tIns="45689" rIns="35969" bIns="45689" anchor="ctr">
              <a:normAutofit/>
            </a:bodyPr>
            <a:lstStyle/>
            <a:p>
              <a:pPr marL="0" marR="0" lvl="0" indent="0" algn="l" defTabSz="91365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 </a:t>
              </a:r>
              <a:r>
                <a:rPr kumimoji="0" lang="en-GB" sz="1200" b="1"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c.</a:t>
              </a:r>
              <a:r>
                <a:rPr kumimoji="0" lang="en-GB" sz="12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OW</a:t>
              </a:r>
              <a:r>
                <a:rPr kumimoji="0" lang="en-GB" sz="1200" b="1" i="0" u="none" strike="noStrike" kern="1200" cap="none" spc="0" normalizeH="0" baseline="3000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endParaRPr kumimoji="0" lang="en-GB" sz="12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3" name="Group 2">
              <a:extLst>
                <a:ext uri="{FF2B5EF4-FFF2-40B4-BE49-F238E27FC236}">
                  <a16:creationId xmlns:a16="http://schemas.microsoft.com/office/drawing/2014/main" id="{6D506A07-00C6-4032-988C-568625F92F69}"/>
                </a:ext>
              </a:extLst>
            </p:cNvPr>
            <p:cNvGrpSpPr/>
            <p:nvPr/>
          </p:nvGrpSpPr>
          <p:grpSpPr>
            <a:xfrm>
              <a:off x="606828" y="4572127"/>
              <a:ext cx="9642407" cy="1338586"/>
              <a:chOff x="640551" y="4952558"/>
              <a:chExt cx="9642407" cy="1338585"/>
            </a:xfrm>
          </p:grpSpPr>
          <p:sp>
            <p:nvSpPr>
              <p:cNvPr id="67" name="Rectangle 66">
                <a:extLst>
                  <a:ext uri="{FF2B5EF4-FFF2-40B4-BE49-F238E27FC236}">
                    <a16:creationId xmlns:a16="http://schemas.microsoft.com/office/drawing/2014/main" id="{C6A91281-E7BE-4EA7-AE23-29EF6A71EE04}"/>
                  </a:ext>
                </a:extLst>
              </p:cNvPr>
              <p:cNvSpPr/>
              <p:nvPr/>
            </p:nvSpPr>
            <p:spPr>
              <a:xfrm>
                <a:off x="640551" y="4952559"/>
                <a:ext cx="5964556" cy="1338584"/>
              </a:xfrm>
              <a:prstGeom prst="rect">
                <a:avLst/>
              </a:prstGeom>
              <a:solidFill>
                <a:srgbClr val="F0DCF4"/>
              </a:solidFill>
            </p:spPr>
            <p:txBody>
              <a:bodyPr wrap="square" lIns="108000" tIns="72000" rIns="72000" bIns="72000">
                <a:spAutoFit/>
              </a:bodyPr>
              <a:lstStyle/>
              <a:p>
                <a:pPr marL="0" marR="0" lvl="0" indent="0" algn="l" defTabSz="913652" rtl="0" eaLnBrk="1" fontAlgn="auto" latinLnBrk="0" hangingPunct="1">
                  <a:lnSpc>
                    <a:spcPct val="12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rial objectives</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I</a:t>
                </a:r>
                <a:r>
                  <a:rPr kumimoji="0" lang="en-US"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mpact</a:t>
                </a: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of </a:t>
                </a:r>
                <a:r>
                  <a:rPr kumimoji="0" lang="en-US"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a:t>
                </a: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2.4mg in </a:t>
                </a:r>
                <a:r>
                  <a:rPr kumimoji="0" lang="en-US"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wO</a:t>
                </a: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on lean mass, muscle </a:t>
                </a:r>
                <a:r>
                  <a:rPr kumimoji="0" lang="en-US"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function,and</a:t>
                </a: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metabolic adaptations</a:t>
                </a: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endParaRPr lang="en-US"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endParaRPr lang="en-US" sz="12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6" name="Rectangle 55">
                <a:extLst>
                  <a:ext uri="{FF2B5EF4-FFF2-40B4-BE49-F238E27FC236}">
                    <a16:creationId xmlns:a16="http://schemas.microsoft.com/office/drawing/2014/main" id="{EA30EF83-4C12-4ADA-AEC3-1B87202BB2E5}"/>
                  </a:ext>
                </a:extLst>
              </p:cNvPr>
              <p:cNvSpPr/>
              <p:nvPr/>
            </p:nvSpPr>
            <p:spPr>
              <a:xfrm>
                <a:off x="6867505" y="4952558"/>
                <a:ext cx="3415453" cy="1338585"/>
              </a:xfrm>
              <a:prstGeom prst="rect">
                <a:avLst/>
              </a:prstGeom>
              <a:solidFill>
                <a:srgbClr val="F0DCF4"/>
              </a:solidFill>
            </p:spPr>
            <p:txBody>
              <a:bodyPr wrap="none" lIns="108000" tIns="72000" rIns="72000" bIns="72000">
                <a:noAutofit/>
              </a:bodyPr>
              <a:lstStyle/>
              <a:p>
                <a:pPr marL="0" marR="0" lvl="0" indent="0" algn="l" defTabSz="913652" rtl="0" eaLnBrk="1" fontAlgn="auto" latinLnBrk="0" hangingPunct="1">
                  <a:lnSpc>
                    <a:spcPct val="12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ata Collections at M0, M7 and M12</a:t>
                </a: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ody weight, waist circumference</a:t>
                </a:r>
                <a:endParaRPr lang="en-US" sz="1200" noProof="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a:t>
                </a:r>
                <a:r>
                  <a:rPr kumimoji="0" lang="en-US"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dy</a:t>
                </a: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composition DXA</a:t>
                </a: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E</a:t>
                </a:r>
                <a:r>
                  <a:rPr kumimoji="0" lang="en-US" sz="12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ergy</a:t>
                </a: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expenditure</a:t>
                </a:r>
              </a:p>
              <a:p>
                <a:pPr marL="215989" marR="0" lvl="0" indent="-215989" algn="l" defTabSz="913652"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Muscle function</a:t>
                </a:r>
                <a:endPar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63" name="TextBox 62">
              <a:extLst>
                <a:ext uri="{FF2B5EF4-FFF2-40B4-BE49-F238E27FC236}">
                  <a16:creationId xmlns:a16="http://schemas.microsoft.com/office/drawing/2014/main" id="{038FC89B-F14C-4640-A9BD-BBFCD96F2EFD}"/>
                </a:ext>
              </a:extLst>
            </p:cNvPr>
            <p:cNvSpPr txBox="1"/>
            <p:nvPr/>
          </p:nvSpPr>
          <p:spPr>
            <a:xfrm>
              <a:off x="2838520" y="2460808"/>
              <a:ext cx="1444917" cy="302371"/>
            </a:xfrm>
            <a:prstGeom prst="rect">
              <a:avLst/>
            </a:prstGeom>
            <a:noFill/>
          </p:spPr>
          <p:txBody>
            <a:bodyPr wrap="square" rtlCol="0">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da-DK" sz="1333"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a:t>
              </a:r>
              <a:r>
                <a:rPr kumimoji="0" lang="en-GB" sz="1333"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 106</a:t>
              </a:r>
            </a:p>
          </p:txBody>
        </p:sp>
        <p:sp>
          <p:nvSpPr>
            <p:cNvPr id="62" name="TextBox 61">
              <a:extLst>
                <a:ext uri="{FF2B5EF4-FFF2-40B4-BE49-F238E27FC236}">
                  <a16:creationId xmlns:a16="http://schemas.microsoft.com/office/drawing/2014/main" id="{B763A3CB-6168-4271-977A-45AC4E4EBA00}"/>
                </a:ext>
              </a:extLst>
            </p:cNvPr>
            <p:cNvSpPr txBox="1"/>
            <p:nvPr/>
          </p:nvSpPr>
          <p:spPr>
            <a:xfrm>
              <a:off x="3109851" y="3294036"/>
              <a:ext cx="864387" cy="265935"/>
            </a:xfrm>
            <a:prstGeom prst="rect">
              <a:avLst/>
            </a:prstGeom>
            <a:noFill/>
          </p:spPr>
          <p:txBody>
            <a:bodyPr wrap="square" rtlCol="0">
              <a:spAutoFit/>
            </a:bodyPr>
            <a:lstStyle/>
            <a:p>
              <a:pPr marL="0" marR="0" lvl="0" indent="0" algn="ctr" defTabSz="913652"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Month</a:t>
              </a:r>
            </a:p>
          </p:txBody>
        </p:sp>
      </p:grpSp>
      <p:sp>
        <p:nvSpPr>
          <p:cNvPr id="5" name="TextBox 4">
            <a:extLst>
              <a:ext uri="{FF2B5EF4-FFF2-40B4-BE49-F238E27FC236}">
                <a16:creationId xmlns:a16="http://schemas.microsoft.com/office/drawing/2014/main" id="{A8F7FFC8-56A4-2044-565F-8F42BBA3F019}"/>
              </a:ext>
            </a:extLst>
          </p:cNvPr>
          <p:cNvSpPr txBox="1"/>
          <p:nvPr/>
        </p:nvSpPr>
        <p:spPr>
          <a:xfrm>
            <a:off x="6629291" y="3349756"/>
            <a:ext cx="892917" cy="430887"/>
          </a:xfrm>
          <a:prstGeom prst="rect">
            <a:avLst/>
          </a:prstGeom>
          <a:noFill/>
        </p:spPr>
        <p:txBody>
          <a:bodyPr wrap="square" rtlCol="0">
            <a:spAutoFit/>
          </a:bodyPr>
          <a:lstStyle/>
          <a:p>
            <a:pPr marL="0" marR="0" lvl="0" indent="0" algn="ctr" defTabSz="91365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M</a:t>
            </a:r>
            <a:r>
              <a:rPr lang="en-GB" sz="11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7</a:t>
            </a:r>
            <a:endPar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0" marR="0" lvl="0" indent="0" algn="ctr" defTabSz="913652"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Tree>
    <p:extLst>
      <p:ext uri="{BB962C8B-B14F-4D97-AF65-F5344CB8AC3E}">
        <p14:creationId xmlns:p14="http://schemas.microsoft.com/office/powerpoint/2010/main" val="3493167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33065-87C9-4543-9A98-11255CC5BCD9}"/>
              </a:ext>
            </a:extLst>
          </p:cNvPr>
          <p:cNvSpPr>
            <a:spLocks noGrp="1"/>
          </p:cNvSpPr>
          <p:nvPr>
            <p:ph type="title"/>
          </p:nvPr>
        </p:nvSpPr>
        <p:spPr>
          <a:xfrm>
            <a:off x="950326" y="442219"/>
            <a:ext cx="10896000" cy="1296000"/>
          </a:xfrm>
        </p:spPr>
        <p:txBody>
          <a:bodyPr anchor="t"/>
          <a:lstStyle/>
          <a:p>
            <a:pPr lvl="0"/>
            <a:r>
              <a:rPr lang="en-GB" dirty="0"/>
              <a:t>Baseline characteristics of trial participants </a:t>
            </a:r>
            <a:br>
              <a:rPr lang="en-GB" dirty="0"/>
            </a:br>
            <a:r>
              <a:rPr lang="en-GB" sz="2000" dirty="0">
                <a:solidFill>
                  <a:schemeClr val="accent5"/>
                </a:solidFill>
              </a:rPr>
              <a:t>N</a:t>
            </a:r>
            <a:r>
              <a:rPr lang="en-GB" sz="2000" noProof="0" dirty="0">
                <a:solidFill>
                  <a:schemeClr val="accent5"/>
                </a:solidFill>
              </a:rPr>
              <a:t>=106</a:t>
            </a:r>
            <a:endParaRPr lang="en-GB" sz="2000" dirty="0">
              <a:solidFill>
                <a:schemeClr val="accent5"/>
              </a:solidFill>
            </a:endParaRPr>
          </a:p>
        </p:txBody>
      </p:sp>
      <p:sp>
        <p:nvSpPr>
          <p:cNvPr id="19" name="Subtitle 4">
            <a:extLst>
              <a:ext uri="{FF2B5EF4-FFF2-40B4-BE49-F238E27FC236}">
                <a16:creationId xmlns:a16="http://schemas.microsoft.com/office/drawing/2014/main" id="{12FF6041-AD66-8202-7A59-09A9DE8E09DD}"/>
              </a:ext>
            </a:extLst>
          </p:cNvPr>
          <p:cNvSpPr txBox="1">
            <a:spLocks/>
          </p:cNvSpPr>
          <p:nvPr/>
        </p:nvSpPr>
        <p:spPr>
          <a:xfrm>
            <a:off x="572729" y="1112242"/>
            <a:ext cx="1537988" cy="352459"/>
          </a:xfrm>
          <a:prstGeom prst="rect">
            <a:avLst/>
          </a:prstGeom>
        </p:spPr>
        <p:txBody>
          <a:bodyPr vert="horz" lIns="0" tIns="0" rIns="0" bIns="0" rtlCol="0" anchor="t">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GB" sz="1800" b="0" i="0" u="none" strike="noStrike" kern="1200" cap="none" spc="0" normalizeH="0" baseline="0" noProof="0">
              <a:ln>
                <a:noFill/>
              </a:ln>
              <a:solidFill>
                <a:srgbClr val="2A918B"/>
              </a:solidFill>
              <a:effectLst/>
              <a:uLnTx/>
              <a:uFillTx/>
              <a:latin typeface="Apis For Office"/>
              <a:ea typeface="+mn-ea"/>
              <a:cs typeface="+mn-cs"/>
            </a:endParaRPr>
          </a:p>
        </p:txBody>
      </p:sp>
      <p:sp>
        <p:nvSpPr>
          <p:cNvPr id="7" name="Rectangle 6">
            <a:extLst>
              <a:ext uri="{FF2B5EF4-FFF2-40B4-BE49-F238E27FC236}">
                <a16:creationId xmlns:a16="http://schemas.microsoft.com/office/drawing/2014/main" id="{F85A1647-2FCB-A088-0619-BCF7D1B188B4}"/>
              </a:ext>
            </a:extLst>
          </p:cNvPr>
          <p:cNvSpPr/>
          <p:nvPr/>
        </p:nvSpPr>
        <p:spPr>
          <a:xfrm>
            <a:off x="3939228" y="2454376"/>
            <a:ext cx="4001814" cy="528000"/>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3B97DE"/>
              </a:solidFill>
              <a:effectLst/>
              <a:uLnTx/>
              <a:uFillTx/>
              <a:latin typeface="Apis For Office"/>
              <a:ea typeface="+mn-ea"/>
              <a:cs typeface="+mn-cs"/>
            </a:endParaRPr>
          </a:p>
        </p:txBody>
      </p:sp>
      <p:sp>
        <p:nvSpPr>
          <p:cNvPr id="83" name="TextBox 82">
            <a:extLst>
              <a:ext uri="{FF2B5EF4-FFF2-40B4-BE49-F238E27FC236}">
                <a16:creationId xmlns:a16="http://schemas.microsoft.com/office/drawing/2014/main" id="{08291B76-8337-3746-F298-E15A5A1AE572}"/>
              </a:ext>
            </a:extLst>
          </p:cNvPr>
          <p:cNvSpPr txBox="1"/>
          <p:nvPr/>
        </p:nvSpPr>
        <p:spPr>
          <a:xfrm>
            <a:off x="6618798" y="1117414"/>
            <a:ext cx="4348050" cy="401264"/>
          </a:xfrm>
          <a:prstGeom prst="rect">
            <a:avLst/>
          </a:prstGeom>
          <a:noFill/>
        </p:spPr>
        <p:txBody>
          <a:bodyPr wrap="square">
            <a:spAutoFit/>
          </a:bodyPr>
          <a:lstStyle/>
          <a:p>
            <a:pPr lvl="0">
              <a:lnSpc>
                <a:spcPct val="120000"/>
              </a:lnSpc>
              <a:defRPr/>
            </a:pPr>
            <a:r>
              <a:rPr lang="en-GB" b="1" dirty="0">
                <a:solidFill>
                  <a:srgbClr val="001965"/>
                </a:solidFill>
              </a:rPr>
              <a:t>Clinical characteristics</a:t>
            </a:r>
          </a:p>
        </p:txBody>
      </p:sp>
      <p:pic>
        <p:nvPicPr>
          <p:cNvPr id="85" name="Picture 84">
            <a:extLst>
              <a:ext uri="{FF2B5EF4-FFF2-40B4-BE49-F238E27FC236}">
                <a16:creationId xmlns:a16="http://schemas.microsoft.com/office/drawing/2014/main" id="{92D4AE92-F822-BE73-A42B-904183580EBE}"/>
              </a:ext>
            </a:extLst>
          </p:cNvPr>
          <p:cNvPicPr>
            <a:picLocks noChangeAspect="1"/>
          </p:cNvPicPr>
          <p:nvPr/>
        </p:nvPicPr>
        <p:blipFill>
          <a:blip r:embed="rId3"/>
          <a:stretch>
            <a:fillRect/>
          </a:stretch>
        </p:blipFill>
        <p:spPr>
          <a:xfrm>
            <a:off x="660907" y="1542672"/>
            <a:ext cx="3170716" cy="4279646"/>
          </a:xfrm>
          <a:prstGeom prst="rect">
            <a:avLst/>
          </a:prstGeom>
        </p:spPr>
      </p:pic>
      <p:sp>
        <p:nvSpPr>
          <p:cNvPr id="87" name="Text Placeholder 86">
            <a:extLst>
              <a:ext uri="{FF2B5EF4-FFF2-40B4-BE49-F238E27FC236}">
                <a16:creationId xmlns:a16="http://schemas.microsoft.com/office/drawing/2014/main" id="{13511819-C912-FED6-3624-05A3AF43C485}"/>
              </a:ext>
            </a:extLst>
          </p:cNvPr>
          <p:cNvSpPr>
            <a:spLocks noGrp="1"/>
          </p:cNvSpPr>
          <p:nvPr>
            <p:ph type="body" sz="quarter" idx="13"/>
          </p:nvPr>
        </p:nvSpPr>
        <p:spPr>
          <a:xfrm>
            <a:off x="56441" y="6497210"/>
            <a:ext cx="10896301" cy="324000"/>
          </a:xfrm>
        </p:spPr>
        <p:txBody>
          <a:bodyPr/>
          <a:lstStyle/>
          <a:p>
            <a:br>
              <a:rPr lang="en-GB" dirty="0"/>
            </a:br>
            <a:r>
              <a:rPr lang="en-GB" dirty="0"/>
              <a:t>BMI, body mass index; </a:t>
            </a:r>
            <a:br>
              <a:rPr lang="en-US" dirty="0"/>
            </a:br>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endParaRPr lang="en-GB" dirty="0"/>
          </a:p>
          <a:p>
            <a:endParaRPr lang="it-IT" dirty="0"/>
          </a:p>
        </p:txBody>
      </p:sp>
      <p:sp>
        <p:nvSpPr>
          <p:cNvPr id="88" name="Rectangle: Rounded Corners 87">
            <a:extLst>
              <a:ext uri="{FF2B5EF4-FFF2-40B4-BE49-F238E27FC236}">
                <a16:creationId xmlns:a16="http://schemas.microsoft.com/office/drawing/2014/main" id="{53AD9FAC-59A1-9C96-D6EF-A07925B5D383}"/>
              </a:ext>
            </a:extLst>
          </p:cNvPr>
          <p:cNvSpPr/>
          <p:nvPr/>
        </p:nvSpPr>
        <p:spPr>
          <a:xfrm>
            <a:off x="505880" y="1471548"/>
            <a:ext cx="3363236" cy="4589611"/>
          </a:xfrm>
          <a:prstGeom prst="roundRect">
            <a:avLst>
              <a:gd name="adj" fmla="val 878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cxnSp>
        <p:nvCxnSpPr>
          <p:cNvPr id="90" name="Straight Arrow Connector 89">
            <a:extLst>
              <a:ext uri="{FF2B5EF4-FFF2-40B4-BE49-F238E27FC236}">
                <a16:creationId xmlns:a16="http://schemas.microsoft.com/office/drawing/2014/main" id="{9784ACA4-BB23-C8E4-3161-9D128CBA719D}"/>
              </a:ext>
            </a:extLst>
          </p:cNvPr>
          <p:cNvCxnSpPr>
            <a:cxnSpLocks/>
          </p:cNvCxnSpPr>
          <p:nvPr/>
        </p:nvCxnSpPr>
        <p:spPr>
          <a:xfrm>
            <a:off x="25334" y="2515911"/>
            <a:ext cx="63557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6D0961E5-A4D9-4D35-E22C-0B6E25DEBBB4}"/>
              </a:ext>
            </a:extLst>
          </p:cNvPr>
          <p:cNvGrpSpPr/>
          <p:nvPr/>
        </p:nvGrpSpPr>
        <p:grpSpPr>
          <a:xfrm>
            <a:off x="3591832" y="2200965"/>
            <a:ext cx="1968000" cy="807482"/>
            <a:chOff x="2720605" y="1915345"/>
            <a:chExt cx="1968000" cy="807482"/>
          </a:xfrm>
        </p:grpSpPr>
        <p:sp>
          <p:nvSpPr>
            <p:cNvPr id="101" name="Rounded Rectangle 5">
              <a:extLst>
                <a:ext uri="{FF2B5EF4-FFF2-40B4-BE49-F238E27FC236}">
                  <a16:creationId xmlns:a16="http://schemas.microsoft.com/office/drawing/2014/main" id="{95010760-2C4C-89DA-14CB-4BA9380335B0}"/>
                </a:ext>
              </a:extLst>
            </p:cNvPr>
            <p:cNvSpPr/>
            <p:nvPr/>
          </p:nvSpPr>
          <p:spPr>
            <a:xfrm>
              <a:off x="3109435" y="1915345"/>
              <a:ext cx="1115271"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mn-cs"/>
                </a:rPr>
                <a:t>Mean BMI</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02" name="Rounded Rectangle 11">
              <a:extLst>
                <a:ext uri="{FF2B5EF4-FFF2-40B4-BE49-F238E27FC236}">
                  <a16:creationId xmlns:a16="http://schemas.microsoft.com/office/drawing/2014/main" id="{EA84D700-D79C-90ED-321A-B9DE77AEB698}"/>
                </a:ext>
              </a:extLst>
            </p:cNvPr>
            <p:cNvSpPr/>
            <p:nvPr/>
          </p:nvSpPr>
          <p:spPr>
            <a:xfrm>
              <a:off x="2720605" y="2194827"/>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46.3 kg/m</a:t>
              </a:r>
              <a:r>
                <a:rPr kumimoji="0" lang="en-GB" sz="1400" b="1" i="0" u="none" strike="noStrike" kern="1200" cap="none" spc="0" normalizeH="0" baseline="30000" noProof="0" dirty="0">
                  <a:ln>
                    <a:noFill/>
                  </a:ln>
                  <a:solidFill>
                    <a:srgbClr val="001965"/>
                  </a:solidFill>
                  <a:effectLst/>
                  <a:uLnTx/>
                  <a:uFillTx/>
                  <a:latin typeface="Apis For Office"/>
                  <a:ea typeface="+mn-ea"/>
                  <a:cs typeface="+mn-cs"/>
                </a:rPr>
                <a:t>2</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grpSp>
      <p:cxnSp>
        <p:nvCxnSpPr>
          <p:cNvPr id="109" name="Straight Connector 108">
            <a:extLst>
              <a:ext uri="{FF2B5EF4-FFF2-40B4-BE49-F238E27FC236}">
                <a16:creationId xmlns:a16="http://schemas.microsoft.com/office/drawing/2014/main" id="{B9AFB404-996E-143D-D214-D427E600D0F0}"/>
              </a:ext>
            </a:extLst>
          </p:cNvPr>
          <p:cNvCxnSpPr>
            <a:cxnSpLocks/>
          </p:cNvCxnSpPr>
          <p:nvPr/>
        </p:nvCxnSpPr>
        <p:spPr>
          <a:xfrm flipH="1">
            <a:off x="8021866" y="1542672"/>
            <a:ext cx="13688" cy="3038037"/>
          </a:xfrm>
          <a:prstGeom prst="line">
            <a:avLst/>
          </a:prstGeom>
          <a:ln w="381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2" name="Rounded Rectangle 5">
            <a:extLst>
              <a:ext uri="{FF2B5EF4-FFF2-40B4-BE49-F238E27FC236}">
                <a16:creationId xmlns:a16="http://schemas.microsoft.com/office/drawing/2014/main" id="{FF13525C-49B0-630D-9A43-41FA647325F5}"/>
              </a:ext>
            </a:extLst>
          </p:cNvPr>
          <p:cNvSpPr/>
          <p:nvPr/>
        </p:nvSpPr>
        <p:spPr>
          <a:xfrm>
            <a:off x="5200801" y="2200965"/>
            <a:ext cx="1163540"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mn-cs"/>
              </a:rPr>
              <a:t>Mean Body Weight</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pic>
        <p:nvPicPr>
          <p:cNvPr id="113" name="Picture 112">
            <a:extLst>
              <a:ext uri="{FF2B5EF4-FFF2-40B4-BE49-F238E27FC236}">
                <a16:creationId xmlns:a16="http://schemas.microsoft.com/office/drawing/2014/main" id="{753A7939-91D7-DC54-F935-A964D577FC5C}"/>
              </a:ext>
            </a:extLst>
          </p:cNvPr>
          <p:cNvPicPr>
            <a:picLocks noChangeAspect="1"/>
          </p:cNvPicPr>
          <p:nvPr/>
        </p:nvPicPr>
        <p:blipFill>
          <a:blip r:embed="rId4"/>
          <a:stretch>
            <a:fillRect/>
          </a:stretch>
        </p:blipFill>
        <p:spPr>
          <a:xfrm>
            <a:off x="4278734" y="1873551"/>
            <a:ext cx="500580" cy="275319"/>
          </a:xfrm>
          <a:prstGeom prst="rect">
            <a:avLst/>
          </a:prstGeom>
        </p:spPr>
      </p:pic>
      <p:sp>
        <p:nvSpPr>
          <p:cNvPr id="115" name="TextBox 114">
            <a:extLst>
              <a:ext uri="{FF2B5EF4-FFF2-40B4-BE49-F238E27FC236}">
                <a16:creationId xmlns:a16="http://schemas.microsoft.com/office/drawing/2014/main" id="{08367926-9FD7-6192-0E06-BFE312360D07}"/>
              </a:ext>
            </a:extLst>
          </p:cNvPr>
          <p:cNvSpPr txBox="1"/>
          <p:nvPr/>
        </p:nvSpPr>
        <p:spPr>
          <a:xfrm>
            <a:off x="5120245" y="1416074"/>
            <a:ext cx="1524882" cy="401264"/>
          </a:xfrm>
          <a:prstGeom prst="rect">
            <a:avLst/>
          </a:prstGeom>
          <a:noFill/>
        </p:spPr>
        <p:txBody>
          <a:bodyPr wrap="square">
            <a:spAutoFit/>
          </a:bodyPr>
          <a:lstStyle/>
          <a:p>
            <a:pPr lvl="0" algn="ctr">
              <a:lnSpc>
                <a:spcPct val="120000"/>
              </a:lnSpc>
              <a:defRPr/>
            </a:pPr>
            <a:r>
              <a:rPr lang="en-GB" b="1" dirty="0">
                <a:solidFill>
                  <a:srgbClr val="001965"/>
                </a:solidFill>
              </a:rPr>
              <a:t>SEMALEAN</a:t>
            </a:r>
          </a:p>
        </p:txBody>
      </p:sp>
      <p:sp>
        <p:nvSpPr>
          <p:cNvPr id="116" name="TextBox 115">
            <a:extLst>
              <a:ext uri="{FF2B5EF4-FFF2-40B4-BE49-F238E27FC236}">
                <a16:creationId xmlns:a16="http://schemas.microsoft.com/office/drawing/2014/main" id="{98EE9125-43F3-ADC3-5521-D5F25C922CD5}"/>
              </a:ext>
            </a:extLst>
          </p:cNvPr>
          <p:cNvSpPr txBox="1"/>
          <p:nvPr/>
        </p:nvSpPr>
        <p:spPr>
          <a:xfrm>
            <a:off x="9540115" y="1443377"/>
            <a:ext cx="1524882" cy="401264"/>
          </a:xfrm>
          <a:prstGeom prst="rect">
            <a:avLst/>
          </a:prstGeom>
          <a:noFill/>
        </p:spPr>
        <p:txBody>
          <a:bodyPr wrap="square">
            <a:spAutoFit/>
          </a:bodyPr>
          <a:lstStyle/>
          <a:p>
            <a:pPr lvl="0" algn="ctr">
              <a:lnSpc>
                <a:spcPct val="120000"/>
              </a:lnSpc>
              <a:defRPr/>
            </a:pPr>
            <a:r>
              <a:rPr lang="en-GB" b="1" dirty="0">
                <a:solidFill>
                  <a:srgbClr val="001965"/>
                </a:solidFill>
              </a:rPr>
              <a:t>STEP 1</a:t>
            </a:r>
          </a:p>
        </p:txBody>
      </p:sp>
      <p:pic>
        <p:nvPicPr>
          <p:cNvPr id="130" name="Picture 129">
            <a:extLst>
              <a:ext uri="{FF2B5EF4-FFF2-40B4-BE49-F238E27FC236}">
                <a16:creationId xmlns:a16="http://schemas.microsoft.com/office/drawing/2014/main" id="{BC21F526-62FF-E427-47FF-7E56D3219CFF}"/>
              </a:ext>
            </a:extLst>
          </p:cNvPr>
          <p:cNvPicPr>
            <a:picLocks noChangeAspect="1"/>
          </p:cNvPicPr>
          <p:nvPr/>
        </p:nvPicPr>
        <p:blipFill>
          <a:blip r:embed="rId5"/>
          <a:stretch>
            <a:fillRect/>
          </a:stretch>
        </p:blipFill>
        <p:spPr>
          <a:xfrm>
            <a:off x="5652527" y="1829780"/>
            <a:ext cx="335694" cy="312382"/>
          </a:xfrm>
          <a:prstGeom prst="rect">
            <a:avLst/>
          </a:prstGeom>
        </p:spPr>
      </p:pic>
      <p:sp>
        <p:nvSpPr>
          <p:cNvPr id="131" name="Rounded Rectangle 11">
            <a:extLst>
              <a:ext uri="{FF2B5EF4-FFF2-40B4-BE49-F238E27FC236}">
                <a16:creationId xmlns:a16="http://schemas.microsoft.com/office/drawing/2014/main" id="{23C5DFD6-615E-07D3-9DD8-C4B71C235772}"/>
              </a:ext>
            </a:extLst>
          </p:cNvPr>
          <p:cNvSpPr/>
          <p:nvPr/>
        </p:nvSpPr>
        <p:spPr>
          <a:xfrm>
            <a:off x="4848163" y="2502227"/>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127.2 kg</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35" name="Rounded Rectangle 5">
            <a:extLst>
              <a:ext uri="{FF2B5EF4-FFF2-40B4-BE49-F238E27FC236}">
                <a16:creationId xmlns:a16="http://schemas.microsoft.com/office/drawing/2014/main" id="{BD0E67B5-D11C-FBE5-9DED-2F6AE53A24BC}"/>
              </a:ext>
            </a:extLst>
          </p:cNvPr>
          <p:cNvSpPr/>
          <p:nvPr/>
        </p:nvSpPr>
        <p:spPr>
          <a:xfrm>
            <a:off x="6462583" y="2215325"/>
            <a:ext cx="1430761"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mn-cs"/>
              </a:rPr>
              <a:t>Waist Circumference</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38" name="Rounded Rectangle 11">
            <a:extLst>
              <a:ext uri="{FF2B5EF4-FFF2-40B4-BE49-F238E27FC236}">
                <a16:creationId xmlns:a16="http://schemas.microsoft.com/office/drawing/2014/main" id="{9F192E16-B50C-E5F7-23AC-2C44281A2576}"/>
              </a:ext>
            </a:extLst>
          </p:cNvPr>
          <p:cNvSpPr/>
          <p:nvPr/>
        </p:nvSpPr>
        <p:spPr>
          <a:xfrm>
            <a:off x="6172267" y="2487079"/>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130.9 cm</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cxnSp>
        <p:nvCxnSpPr>
          <p:cNvPr id="141" name="Straight Arrow Connector 140">
            <a:extLst>
              <a:ext uri="{FF2B5EF4-FFF2-40B4-BE49-F238E27FC236}">
                <a16:creationId xmlns:a16="http://schemas.microsoft.com/office/drawing/2014/main" id="{7982EF0F-64BA-A0B2-D5E9-A181302DFE88}"/>
              </a:ext>
            </a:extLst>
          </p:cNvPr>
          <p:cNvCxnSpPr>
            <a:cxnSpLocks/>
          </p:cNvCxnSpPr>
          <p:nvPr/>
        </p:nvCxnSpPr>
        <p:spPr>
          <a:xfrm>
            <a:off x="25334" y="2859902"/>
            <a:ext cx="63557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E6222293-00A1-DC2D-A6F4-F8ABE2158E4D}"/>
              </a:ext>
            </a:extLst>
          </p:cNvPr>
          <p:cNvCxnSpPr>
            <a:cxnSpLocks/>
          </p:cNvCxnSpPr>
          <p:nvPr/>
        </p:nvCxnSpPr>
        <p:spPr>
          <a:xfrm>
            <a:off x="25334" y="3050942"/>
            <a:ext cx="63557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3" name="Graphic 27">
            <a:extLst>
              <a:ext uri="{FF2B5EF4-FFF2-40B4-BE49-F238E27FC236}">
                <a16:creationId xmlns:a16="http://schemas.microsoft.com/office/drawing/2014/main" id="{D6800C0B-AF9B-F138-5F89-94AD36236A66}"/>
              </a:ext>
            </a:extLst>
          </p:cNvPr>
          <p:cNvSpPr>
            <a:spLocks noChangeAspect="1"/>
          </p:cNvSpPr>
          <p:nvPr/>
        </p:nvSpPr>
        <p:spPr>
          <a:xfrm>
            <a:off x="6914312" y="1896456"/>
            <a:ext cx="527302" cy="230182"/>
          </a:xfrm>
          <a:custGeom>
            <a:avLst/>
            <a:gdLst>
              <a:gd name="connsiteX0" fmla="*/ 334962 w 475868"/>
              <a:gd name="connsiteY0" fmla="*/ 97504 h 208025"/>
              <a:gd name="connsiteX1" fmla="*/ 334962 w 475868"/>
              <a:gd name="connsiteY1" fmla="*/ 54451 h 208025"/>
              <a:gd name="connsiteX2" fmla="*/ 334962 w 475868"/>
              <a:gd name="connsiteY2" fmla="*/ 54451 h 208025"/>
              <a:gd name="connsiteX3" fmla="*/ 334962 w 475868"/>
              <a:gd name="connsiteY3" fmla="*/ 53117 h 208025"/>
              <a:gd name="connsiteX4" fmla="*/ 167418 w 475868"/>
              <a:gd name="connsiteY4" fmla="*/ -32 h 208025"/>
              <a:gd name="connsiteX5" fmla="*/ -32 w 475868"/>
              <a:gd name="connsiteY5" fmla="*/ 53022 h 208025"/>
              <a:gd name="connsiteX6" fmla="*/ -32 w 475868"/>
              <a:gd name="connsiteY6" fmla="*/ 53022 h 208025"/>
              <a:gd name="connsiteX7" fmla="*/ -32 w 475868"/>
              <a:gd name="connsiteY7" fmla="*/ 70643 h 208025"/>
              <a:gd name="connsiteX8" fmla="*/ -32 w 475868"/>
              <a:gd name="connsiteY8" fmla="*/ 70643 h 208025"/>
              <a:gd name="connsiteX9" fmla="*/ -32 w 475868"/>
              <a:gd name="connsiteY9" fmla="*/ 154749 h 208025"/>
              <a:gd name="connsiteX10" fmla="*/ 95980 w 475868"/>
              <a:gd name="connsiteY10" fmla="*/ 203231 h 208025"/>
              <a:gd name="connsiteX11" fmla="*/ 95980 w 475868"/>
              <a:gd name="connsiteY11" fmla="*/ 204184 h 208025"/>
              <a:gd name="connsiteX12" fmla="*/ 102362 w 475868"/>
              <a:gd name="connsiteY12" fmla="*/ 204850 h 208025"/>
              <a:gd name="connsiteX13" fmla="*/ 127603 w 475868"/>
              <a:gd name="connsiteY13" fmla="*/ 206660 h 208025"/>
              <a:gd name="connsiteX14" fmla="*/ 135509 w 475868"/>
              <a:gd name="connsiteY14" fmla="*/ 207422 h 208025"/>
              <a:gd name="connsiteX15" fmla="*/ 161512 w 475868"/>
              <a:gd name="connsiteY15" fmla="*/ 207994 h 208025"/>
              <a:gd name="connsiteX16" fmla="*/ 475837 w 475868"/>
              <a:gd name="connsiteY16" fmla="*/ 207994 h 208025"/>
              <a:gd name="connsiteX17" fmla="*/ 475837 w 475868"/>
              <a:gd name="connsiteY17" fmla="*/ 97504 h 208025"/>
              <a:gd name="connsiteX18" fmla="*/ 261048 w 475868"/>
              <a:gd name="connsiteY18" fmla="*/ 97504 h 208025"/>
              <a:gd name="connsiteX19" fmla="*/ 320770 w 475868"/>
              <a:gd name="connsiteY19" fmla="*/ 74834 h 208025"/>
              <a:gd name="connsiteX20" fmla="*/ 320770 w 475868"/>
              <a:gd name="connsiteY20" fmla="*/ 97504 h 208025"/>
              <a:gd name="connsiteX21" fmla="*/ 167418 w 475868"/>
              <a:gd name="connsiteY21" fmla="*/ 14255 h 208025"/>
              <a:gd name="connsiteX22" fmla="*/ 320770 w 475868"/>
              <a:gd name="connsiteY22" fmla="*/ 53308 h 208025"/>
              <a:gd name="connsiteX23" fmla="*/ 167418 w 475868"/>
              <a:gd name="connsiteY23" fmla="*/ 92455 h 208025"/>
              <a:gd name="connsiteX24" fmla="*/ 14065 w 475868"/>
              <a:gd name="connsiteY24" fmla="*/ 53308 h 208025"/>
              <a:gd name="connsiteX25" fmla="*/ 167418 w 475868"/>
              <a:gd name="connsiteY25" fmla="*/ 14255 h 208025"/>
              <a:gd name="connsiteX26" fmla="*/ 461645 w 475868"/>
              <a:gd name="connsiteY26" fmla="*/ 194278 h 208025"/>
              <a:gd name="connsiteX27" fmla="*/ 437070 w 475868"/>
              <a:gd name="connsiteY27" fmla="*/ 194278 h 208025"/>
              <a:gd name="connsiteX28" fmla="*/ 437070 w 475868"/>
              <a:gd name="connsiteY28" fmla="*/ 159892 h 208025"/>
              <a:gd name="connsiteX29" fmla="*/ 430370 w 475868"/>
              <a:gd name="connsiteY29" fmla="*/ 151282 h 208025"/>
              <a:gd name="connsiteX30" fmla="*/ 429641 w 475868"/>
              <a:gd name="connsiteY30" fmla="*/ 151225 h 208025"/>
              <a:gd name="connsiteX31" fmla="*/ 429641 w 475868"/>
              <a:gd name="connsiteY31" fmla="*/ 151225 h 208025"/>
              <a:gd name="connsiteX32" fmla="*/ 422072 w 475868"/>
              <a:gd name="connsiteY32" fmla="*/ 159273 h 208025"/>
              <a:gd name="connsiteX33" fmla="*/ 422116 w 475868"/>
              <a:gd name="connsiteY33" fmla="*/ 159892 h 208025"/>
              <a:gd name="connsiteX34" fmla="*/ 422116 w 475868"/>
              <a:gd name="connsiteY34" fmla="*/ 194278 h 208025"/>
              <a:gd name="connsiteX35" fmla="*/ 404304 w 475868"/>
              <a:gd name="connsiteY35" fmla="*/ 194278 h 208025"/>
              <a:gd name="connsiteX36" fmla="*/ 404304 w 475868"/>
              <a:gd name="connsiteY36" fmla="*/ 146653 h 208025"/>
              <a:gd name="connsiteX37" fmla="*/ 397298 w 475868"/>
              <a:gd name="connsiteY37" fmla="*/ 138118 h 208025"/>
              <a:gd name="connsiteX38" fmla="*/ 396780 w 475868"/>
              <a:gd name="connsiteY38" fmla="*/ 138080 h 208025"/>
              <a:gd name="connsiteX39" fmla="*/ 396780 w 475868"/>
              <a:gd name="connsiteY39" fmla="*/ 138080 h 208025"/>
              <a:gd name="connsiteX40" fmla="*/ 389309 w 475868"/>
              <a:gd name="connsiteY40" fmla="*/ 146215 h 208025"/>
              <a:gd name="connsiteX41" fmla="*/ 389350 w 475868"/>
              <a:gd name="connsiteY41" fmla="*/ 146748 h 208025"/>
              <a:gd name="connsiteX42" fmla="*/ 389350 w 475868"/>
              <a:gd name="connsiteY42" fmla="*/ 194373 h 208025"/>
              <a:gd name="connsiteX43" fmla="*/ 371634 w 475868"/>
              <a:gd name="connsiteY43" fmla="*/ 194373 h 208025"/>
              <a:gd name="connsiteX44" fmla="*/ 371634 w 475868"/>
              <a:gd name="connsiteY44" fmla="*/ 159892 h 208025"/>
              <a:gd name="connsiteX45" fmla="*/ 364825 w 475868"/>
              <a:gd name="connsiteY45" fmla="*/ 151368 h 208025"/>
              <a:gd name="connsiteX46" fmla="*/ 364109 w 475868"/>
              <a:gd name="connsiteY46" fmla="*/ 151320 h 208025"/>
              <a:gd name="connsiteX47" fmla="*/ 356638 w 475868"/>
              <a:gd name="connsiteY47" fmla="*/ 159454 h 208025"/>
              <a:gd name="connsiteX48" fmla="*/ 356679 w 475868"/>
              <a:gd name="connsiteY48" fmla="*/ 159988 h 208025"/>
              <a:gd name="connsiteX49" fmla="*/ 356679 w 475868"/>
              <a:gd name="connsiteY49" fmla="*/ 194373 h 208025"/>
              <a:gd name="connsiteX50" fmla="*/ 338868 w 475868"/>
              <a:gd name="connsiteY50" fmla="*/ 194373 h 208025"/>
              <a:gd name="connsiteX51" fmla="*/ 338868 w 475868"/>
              <a:gd name="connsiteY51" fmla="*/ 146748 h 208025"/>
              <a:gd name="connsiteX52" fmla="*/ 332235 w 475868"/>
              <a:gd name="connsiteY52" fmla="*/ 138423 h 208025"/>
              <a:gd name="connsiteX53" fmla="*/ 323913 w 475868"/>
              <a:gd name="connsiteY53" fmla="*/ 145062 h 208025"/>
              <a:gd name="connsiteX54" fmla="*/ 323913 w 475868"/>
              <a:gd name="connsiteY54" fmla="*/ 146748 h 208025"/>
              <a:gd name="connsiteX55" fmla="*/ 323913 w 475868"/>
              <a:gd name="connsiteY55" fmla="*/ 194373 h 208025"/>
              <a:gd name="connsiteX56" fmla="*/ 306102 w 475868"/>
              <a:gd name="connsiteY56" fmla="*/ 194373 h 208025"/>
              <a:gd name="connsiteX57" fmla="*/ 306102 w 475868"/>
              <a:gd name="connsiteY57" fmla="*/ 160083 h 208025"/>
              <a:gd name="connsiteX58" fmla="*/ 302292 w 475868"/>
              <a:gd name="connsiteY58" fmla="*/ 152368 h 208025"/>
              <a:gd name="connsiteX59" fmla="*/ 298672 w 475868"/>
              <a:gd name="connsiteY59" fmla="*/ 150272 h 208025"/>
              <a:gd name="connsiteX60" fmla="*/ 295053 w 475868"/>
              <a:gd name="connsiteY60" fmla="*/ 152272 h 208025"/>
              <a:gd name="connsiteX61" fmla="*/ 291147 w 475868"/>
              <a:gd name="connsiteY61" fmla="*/ 159988 h 208025"/>
              <a:gd name="connsiteX62" fmla="*/ 291147 w 475868"/>
              <a:gd name="connsiteY62" fmla="*/ 194373 h 208025"/>
              <a:gd name="connsiteX63" fmla="*/ 273431 w 475868"/>
              <a:gd name="connsiteY63" fmla="*/ 194373 h 208025"/>
              <a:gd name="connsiteX64" fmla="*/ 273431 w 475868"/>
              <a:gd name="connsiteY64" fmla="*/ 146748 h 208025"/>
              <a:gd name="connsiteX65" fmla="*/ 266533 w 475868"/>
              <a:gd name="connsiteY65" fmla="*/ 138118 h 208025"/>
              <a:gd name="connsiteX66" fmla="*/ 266001 w 475868"/>
              <a:gd name="connsiteY66" fmla="*/ 138080 h 208025"/>
              <a:gd name="connsiteX67" fmla="*/ 258360 w 475868"/>
              <a:gd name="connsiteY67" fmla="*/ 146424 h 208025"/>
              <a:gd name="connsiteX68" fmla="*/ 258381 w 475868"/>
              <a:gd name="connsiteY68" fmla="*/ 146748 h 208025"/>
              <a:gd name="connsiteX69" fmla="*/ 258381 w 475868"/>
              <a:gd name="connsiteY69" fmla="*/ 194373 h 208025"/>
              <a:gd name="connsiteX70" fmla="*/ 240760 w 475868"/>
              <a:gd name="connsiteY70" fmla="*/ 194373 h 208025"/>
              <a:gd name="connsiteX71" fmla="*/ 240760 w 475868"/>
              <a:gd name="connsiteY71" fmla="*/ 159988 h 208025"/>
              <a:gd name="connsiteX72" fmla="*/ 233858 w 475868"/>
              <a:gd name="connsiteY72" fmla="*/ 151368 h 208025"/>
              <a:gd name="connsiteX73" fmla="*/ 233235 w 475868"/>
              <a:gd name="connsiteY73" fmla="*/ 151320 h 208025"/>
              <a:gd name="connsiteX74" fmla="*/ 233235 w 475868"/>
              <a:gd name="connsiteY74" fmla="*/ 151320 h 208025"/>
              <a:gd name="connsiteX75" fmla="*/ 225750 w 475868"/>
              <a:gd name="connsiteY75" fmla="*/ 159254 h 208025"/>
              <a:gd name="connsiteX76" fmla="*/ 225806 w 475868"/>
              <a:gd name="connsiteY76" fmla="*/ 159988 h 208025"/>
              <a:gd name="connsiteX77" fmla="*/ 225806 w 475868"/>
              <a:gd name="connsiteY77" fmla="*/ 194373 h 208025"/>
              <a:gd name="connsiteX78" fmla="*/ 207994 w 475868"/>
              <a:gd name="connsiteY78" fmla="*/ 194373 h 208025"/>
              <a:gd name="connsiteX79" fmla="*/ 207994 w 475868"/>
              <a:gd name="connsiteY79" fmla="*/ 146748 h 208025"/>
              <a:gd name="connsiteX80" fmla="*/ 200987 w 475868"/>
              <a:gd name="connsiteY80" fmla="*/ 138214 h 208025"/>
              <a:gd name="connsiteX81" fmla="*/ 200469 w 475868"/>
              <a:gd name="connsiteY81" fmla="*/ 138175 h 208025"/>
              <a:gd name="connsiteX82" fmla="*/ 200469 w 475868"/>
              <a:gd name="connsiteY82" fmla="*/ 138175 h 208025"/>
              <a:gd name="connsiteX83" fmla="*/ 192999 w 475868"/>
              <a:gd name="connsiteY83" fmla="*/ 146310 h 208025"/>
              <a:gd name="connsiteX84" fmla="*/ 193040 w 475868"/>
              <a:gd name="connsiteY84" fmla="*/ 146843 h 208025"/>
              <a:gd name="connsiteX85" fmla="*/ 193040 w 475868"/>
              <a:gd name="connsiteY85" fmla="*/ 194468 h 208025"/>
              <a:gd name="connsiteX86" fmla="*/ 175228 w 475868"/>
              <a:gd name="connsiteY86" fmla="*/ 194468 h 208025"/>
              <a:gd name="connsiteX87" fmla="*/ 175228 w 475868"/>
              <a:gd name="connsiteY87" fmla="*/ 160083 h 208025"/>
              <a:gd name="connsiteX88" fmla="*/ 168528 w 475868"/>
              <a:gd name="connsiteY88" fmla="*/ 151472 h 208025"/>
              <a:gd name="connsiteX89" fmla="*/ 167799 w 475868"/>
              <a:gd name="connsiteY89" fmla="*/ 151415 h 208025"/>
              <a:gd name="connsiteX90" fmla="*/ 167799 w 475868"/>
              <a:gd name="connsiteY90" fmla="*/ 151415 h 208025"/>
              <a:gd name="connsiteX91" fmla="*/ 160230 w 475868"/>
              <a:gd name="connsiteY91" fmla="*/ 159464 h 208025"/>
              <a:gd name="connsiteX92" fmla="*/ 160274 w 475868"/>
              <a:gd name="connsiteY92" fmla="*/ 160083 h 208025"/>
              <a:gd name="connsiteX93" fmla="*/ 160274 w 475868"/>
              <a:gd name="connsiteY93" fmla="*/ 194468 h 208025"/>
              <a:gd name="connsiteX94" fmla="*/ 142462 w 475868"/>
              <a:gd name="connsiteY94" fmla="*/ 194468 h 208025"/>
              <a:gd name="connsiteX95" fmla="*/ 142462 w 475868"/>
              <a:gd name="connsiteY95" fmla="*/ 146843 h 208025"/>
              <a:gd name="connsiteX96" fmla="*/ 136138 w 475868"/>
              <a:gd name="connsiteY96" fmla="*/ 138118 h 208025"/>
              <a:gd name="connsiteX97" fmla="*/ 127413 w 475868"/>
              <a:gd name="connsiteY97" fmla="*/ 144443 h 208025"/>
              <a:gd name="connsiteX98" fmla="*/ 127413 w 475868"/>
              <a:gd name="connsiteY98" fmla="*/ 146843 h 208025"/>
              <a:gd name="connsiteX99" fmla="*/ 127413 w 475868"/>
              <a:gd name="connsiteY99" fmla="*/ 193135 h 208025"/>
              <a:gd name="connsiteX100" fmla="*/ 110268 w 475868"/>
              <a:gd name="connsiteY100" fmla="*/ 191611 h 208025"/>
              <a:gd name="connsiteX101" fmla="*/ 110268 w 475868"/>
              <a:gd name="connsiteY101" fmla="*/ 159702 h 208025"/>
              <a:gd name="connsiteX102" fmla="*/ 103635 w 475868"/>
              <a:gd name="connsiteY102" fmla="*/ 151377 h 208025"/>
              <a:gd name="connsiteX103" fmla="*/ 95313 w 475868"/>
              <a:gd name="connsiteY103" fmla="*/ 158016 h 208025"/>
              <a:gd name="connsiteX104" fmla="*/ 95313 w 475868"/>
              <a:gd name="connsiteY104" fmla="*/ 159702 h 208025"/>
              <a:gd name="connsiteX105" fmla="*/ 95313 w 475868"/>
              <a:gd name="connsiteY105" fmla="*/ 188944 h 208025"/>
              <a:gd name="connsiteX106" fmla="*/ 14160 w 475868"/>
              <a:gd name="connsiteY106" fmla="*/ 155035 h 208025"/>
              <a:gd name="connsiteX107" fmla="*/ 14160 w 475868"/>
              <a:gd name="connsiteY107" fmla="*/ 82168 h 208025"/>
              <a:gd name="connsiteX108" fmla="*/ 14160 w 475868"/>
              <a:gd name="connsiteY108" fmla="*/ 82168 h 208025"/>
              <a:gd name="connsiteX109" fmla="*/ 19780 w 475868"/>
              <a:gd name="connsiteY109" fmla="*/ 85312 h 208025"/>
              <a:gd name="connsiteX110" fmla="*/ 21590 w 475868"/>
              <a:gd name="connsiteY110" fmla="*/ 86264 h 208025"/>
              <a:gd name="connsiteX111" fmla="*/ 28543 w 475868"/>
              <a:gd name="connsiteY111" fmla="*/ 89503 h 208025"/>
              <a:gd name="connsiteX112" fmla="*/ 30734 w 475868"/>
              <a:gd name="connsiteY112" fmla="*/ 90455 h 208025"/>
              <a:gd name="connsiteX113" fmla="*/ 36449 w 475868"/>
              <a:gd name="connsiteY113" fmla="*/ 92646 h 208025"/>
              <a:gd name="connsiteX114" fmla="*/ 37401 w 475868"/>
              <a:gd name="connsiteY114" fmla="*/ 92646 h 208025"/>
              <a:gd name="connsiteX115" fmla="*/ 37401 w 475868"/>
              <a:gd name="connsiteY115" fmla="*/ 92646 h 208025"/>
              <a:gd name="connsiteX116" fmla="*/ 39211 w 475868"/>
              <a:gd name="connsiteY116" fmla="*/ 93313 h 208025"/>
              <a:gd name="connsiteX117" fmla="*/ 39211 w 475868"/>
              <a:gd name="connsiteY117" fmla="*/ 93313 h 208025"/>
              <a:gd name="connsiteX118" fmla="*/ 43116 w 475868"/>
              <a:gd name="connsiteY118" fmla="*/ 94551 h 208025"/>
              <a:gd name="connsiteX119" fmla="*/ 47879 w 475868"/>
              <a:gd name="connsiteY119" fmla="*/ 96075 h 208025"/>
              <a:gd name="connsiteX120" fmla="*/ 56451 w 475868"/>
              <a:gd name="connsiteY120" fmla="*/ 98456 h 208025"/>
              <a:gd name="connsiteX121" fmla="*/ 58452 w 475868"/>
              <a:gd name="connsiteY121" fmla="*/ 99028 h 208025"/>
              <a:gd name="connsiteX122" fmla="*/ 67405 w 475868"/>
              <a:gd name="connsiteY122" fmla="*/ 101123 h 208025"/>
              <a:gd name="connsiteX123" fmla="*/ 68358 w 475868"/>
              <a:gd name="connsiteY123" fmla="*/ 101123 h 208025"/>
              <a:gd name="connsiteX124" fmla="*/ 78740 w 475868"/>
              <a:gd name="connsiteY124" fmla="*/ 103123 h 208025"/>
              <a:gd name="connsiteX125" fmla="*/ 79692 w 475868"/>
              <a:gd name="connsiteY125" fmla="*/ 103123 h 208025"/>
              <a:gd name="connsiteX126" fmla="*/ 84836 w 475868"/>
              <a:gd name="connsiteY126" fmla="*/ 104076 h 208025"/>
              <a:gd name="connsiteX127" fmla="*/ 90646 w 475868"/>
              <a:gd name="connsiteY127" fmla="*/ 105028 h 208025"/>
              <a:gd name="connsiteX128" fmla="*/ 101886 w 475868"/>
              <a:gd name="connsiteY128" fmla="*/ 106648 h 208025"/>
              <a:gd name="connsiteX129" fmla="*/ 103600 w 475868"/>
              <a:gd name="connsiteY129" fmla="*/ 106648 h 208025"/>
              <a:gd name="connsiteX130" fmla="*/ 114459 w 475868"/>
              <a:gd name="connsiteY130" fmla="*/ 107886 h 208025"/>
              <a:gd name="connsiteX131" fmla="*/ 128841 w 475868"/>
              <a:gd name="connsiteY131" fmla="*/ 109124 h 208025"/>
              <a:gd name="connsiteX132" fmla="*/ 139605 w 475868"/>
              <a:gd name="connsiteY132" fmla="*/ 109791 h 208025"/>
              <a:gd name="connsiteX133" fmla="*/ 141510 w 475868"/>
              <a:gd name="connsiteY133" fmla="*/ 109791 h 208025"/>
              <a:gd name="connsiteX134" fmla="*/ 148939 w 475868"/>
              <a:gd name="connsiteY134" fmla="*/ 109791 h 208025"/>
              <a:gd name="connsiteX135" fmla="*/ 155035 w 475868"/>
              <a:gd name="connsiteY135" fmla="*/ 109791 h 208025"/>
              <a:gd name="connsiteX136" fmla="*/ 166656 w 475868"/>
              <a:gd name="connsiteY136" fmla="*/ 109791 h 208025"/>
              <a:gd name="connsiteX137" fmla="*/ 461645 w 475868"/>
              <a:gd name="connsiteY137" fmla="*/ 109791 h 208025"/>
              <a:gd name="connsiteX138" fmla="*/ 167418 w 475868"/>
              <a:gd name="connsiteY138" fmla="*/ 80930 h 208025"/>
              <a:gd name="connsiteX139" fmla="*/ 227520 w 475868"/>
              <a:gd name="connsiteY139" fmla="*/ 52355 h 208025"/>
              <a:gd name="connsiteX140" fmla="*/ 167513 w 475868"/>
              <a:gd name="connsiteY140" fmla="*/ 24542 h 208025"/>
              <a:gd name="connsiteX141" fmla="*/ 107410 w 475868"/>
              <a:gd name="connsiteY141" fmla="*/ 52355 h 208025"/>
              <a:gd name="connsiteX142" fmla="*/ 167418 w 475868"/>
              <a:gd name="connsiteY142" fmla="*/ 80930 h 208025"/>
              <a:gd name="connsiteX143" fmla="*/ 167418 w 475868"/>
              <a:gd name="connsiteY143" fmla="*/ 39115 h 208025"/>
              <a:gd name="connsiteX144" fmla="*/ 201517 w 475868"/>
              <a:gd name="connsiteY144" fmla="*/ 43878 h 208025"/>
              <a:gd name="connsiteX145" fmla="*/ 213328 w 475868"/>
              <a:gd name="connsiteY145" fmla="*/ 52736 h 208025"/>
              <a:gd name="connsiteX146" fmla="*/ 167322 w 475868"/>
              <a:gd name="connsiteY146" fmla="*/ 66738 h 208025"/>
              <a:gd name="connsiteX147" fmla="*/ 121507 w 475868"/>
              <a:gd name="connsiteY147" fmla="*/ 52736 h 208025"/>
              <a:gd name="connsiteX148" fmla="*/ 167418 w 475868"/>
              <a:gd name="connsiteY148" fmla="*/ 39496 h 20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75868" h="208025">
                <a:moveTo>
                  <a:pt x="334962" y="97504"/>
                </a:moveTo>
                <a:lnTo>
                  <a:pt x="334962" y="54451"/>
                </a:lnTo>
                <a:lnTo>
                  <a:pt x="334962" y="54451"/>
                </a:lnTo>
                <a:cubicBezTo>
                  <a:pt x="335016" y="54012"/>
                  <a:pt x="335016" y="53555"/>
                  <a:pt x="334962" y="53117"/>
                </a:cubicBezTo>
                <a:cubicBezTo>
                  <a:pt x="334962" y="23304"/>
                  <a:pt x="261334" y="-32"/>
                  <a:pt x="167418" y="-32"/>
                </a:cubicBezTo>
                <a:cubicBezTo>
                  <a:pt x="73501" y="-32"/>
                  <a:pt x="159" y="23780"/>
                  <a:pt x="-32" y="53022"/>
                </a:cubicBezTo>
                <a:lnTo>
                  <a:pt x="-32" y="53022"/>
                </a:lnTo>
                <a:lnTo>
                  <a:pt x="-32" y="70643"/>
                </a:lnTo>
                <a:lnTo>
                  <a:pt x="-32" y="70643"/>
                </a:lnTo>
                <a:lnTo>
                  <a:pt x="-32" y="154749"/>
                </a:lnTo>
                <a:cubicBezTo>
                  <a:pt x="-32" y="180276"/>
                  <a:pt x="48641" y="196373"/>
                  <a:pt x="95980" y="203231"/>
                </a:cubicBezTo>
                <a:lnTo>
                  <a:pt x="95980" y="204184"/>
                </a:lnTo>
                <a:lnTo>
                  <a:pt x="102362" y="204850"/>
                </a:lnTo>
                <a:cubicBezTo>
                  <a:pt x="108648" y="205517"/>
                  <a:pt x="119126" y="206184"/>
                  <a:pt x="127603" y="206660"/>
                </a:cubicBezTo>
                <a:lnTo>
                  <a:pt x="135509" y="207422"/>
                </a:lnTo>
                <a:cubicBezTo>
                  <a:pt x="142081" y="207422"/>
                  <a:pt x="153035" y="207422"/>
                  <a:pt x="161512" y="207994"/>
                </a:cubicBezTo>
                <a:lnTo>
                  <a:pt x="475837" y="207994"/>
                </a:lnTo>
                <a:lnTo>
                  <a:pt x="475837" y="97504"/>
                </a:lnTo>
                <a:close/>
                <a:moveTo>
                  <a:pt x="261048" y="97504"/>
                </a:moveTo>
                <a:cubicBezTo>
                  <a:pt x="282263" y="93989"/>
                  <a:pt x="302566" y="86283"/>
                  <a:pt x="320770" y="74834"/>
                </a:cubicBezTo>
                <a:lnTo>
                  <a:pt x="320770" y="97504"/>
                </a:lnTo>
                <a:close/>
                <a:moveTo>
                  <a:pt x="167418" y="14255"/>
                </a:moveTo>
                <a:cubicBezTo>
                  <a:pt x="268097" y="14255"/>
                  <a:pt x="320770" y="39687"/>
                  <a:pt x="320770" y="53308"/>
                </a:cubicBezTo>
                <a:cubicBezTo>
                  <a:pt x="320770" y="66928"/>
                  <a:pt x="268097" y="92455"/>
                  <a:pt x="167418" y="92455"/>
                </a:cubicBezTo>
                <a:cubicBezTo>
                  <a:pt x="66738" y="92455"/>
                  <a:pt x="14065" y="66928"/>
                  <a:pt x="14065" y="53308"/>
                </a:cubicBezTo>
                <a:cubicBezTo>
                  <a:pt x="14065" y="39687"/>
                  <a:pt x="66738" y="14255"/>
                  <a:pt x="167418" y="14255"/>
                </a:cubicBezTo>
                <a:close/>
                <a:moveTo>
                  <a:pt x="461645" y="194278"/>
                </a:moveTo>
                <a:lnTo>
                  <a:pt x="437070" y="194278"/>
                </a:lnTo>
                <a:lnTo>
                  <a:pt x="437070" y="159892"/>
                </a:lnTo>
                <a:cubicBezTo>
                  <a:pt x="437598" y="155663"/>
                  <a:pt x="434599" y="151806"/>
                  <a:pt x="430370" y="151282"/>
                </a:cubicBezTo>
                <a:cubicBezTo>
                  <a:pt x="430129" y="151253"/>
                  <a:pt x="429885" y="151234"/>
                  <a:pt x="429641" y="151225"/>
                </a:cubicBezTo>
                <a:lnTo>
                  <a:pt x="429641" y="151225"/>
                </a:lnTo>
                <a:cubicBezTo>
                  <a:pt x="425329" y="151358"/>
                  <a:pt x="421941" y="154959"/>
                  <a:pt x="422072" y="159273"/>
                </a:cubicBezTo>
                <a:cubicBezTo>
                  <a:pt x="422078" y="159473"/>
                  <a:pt x="422093" y="159683"/>
                  <a:pt x="422116" y="159892"/>
                </a:cubicBezTo>
                <a:lnTo>
                  <a:pt x="422116" y="194278"/>
                </a:lnTo>
                <a:lnTo>
                  <a:pt x="404304" y="194278"/>
                </a:lnTo>
                <a:lnTo>
                  <a:pt x="404304" y="146653"/>
                </a:lnTo>
                <a:cubicBezTo>
                  <a:pt x="404727" y="142357"/>
                  <a:pt x="401591" y="138537"/>
                  <a:pt x="397298" y="138118"/>
                </a:cubicBezTo>
                <a:cubicBezTo>
                  <a:pt x="397125" y="138099"/>
                  <a:pt x="396953" y="138090"/>
                  <a:pt x="396780" y="138080"/>
                </a:cubicBezTo>
                <a:lnTo>
                  <a:pt x="396780" y="138080"/>
                </a:lnTo>
                <a:cubicBezTo>
                  <a:pt x="392470" y="138261"/>
                  <a:pt x="389125" y="141909"/>
                  <a:pt x="389309" y="146215"/>
                </a:cubicBezTo>
                <a:cubicBezTo>
                  <a:pt x="389317" y="146396"/>
                  <a:pt x="389330" y="146567"/>
                  <a:pt x="389350" y="146748"/>
                </a:cubicBezTo>
                <a:lnTo>
                  <a:pt x="389350" y="194373"/>
                </a:lnTo>
                <a:lnTo>
                  <a:pt x="371634" y="194373"/>
                </a:lnTo>
                <a:lnTo>
                  <a:pt x="371634" y="159892"/>
                </a:lnTo>
                <a:cubicBezTo>
                  <a:pt x="372108" y="155654"/>
                  <a:pt x="369059" y="151844"/>
                  <a:pt x="364825" y="151368"/>
                </a:cubicBezTo>
                <a:cubicBezTo>
                  <a:pt x="364587" y="151339"/>
                  <a:pt x="364348" y="151320"/>
                  <a:pt x="364109" y="151320"/>
                </a:cubicBezTo>
                <a:cubicBezTo>
                  <a:pt x="359799" y="151501"/>
                  <a:pt x="356455" y="155149"/>
                  <a:pt x="356638" y="159454"/>
                </a:cubicBezTo>
                <a:cubicBezTo>
                  <a:pt x="356646" y="159635"/>
                  <a:pt x="356659" y="159807"/>
                  <a:pt x="356679" y="159988"/>
                </a:cubicBezTo>
                <a:lnTo>
                  <a:pt x="356679" y="194373"/>
                </a:lnTo>
                <a:lnTo>
                  <a:pt x="338868" y="194373"/>
                </a:lnTo>
                <a:lnTo>
                  <a:pt x="338868" y="146748"/>
                </a:lnTo>
                <a:cubicBezTo>
                  <a:pt x="339334" y="142614"/>
                  <a:pt x="336365" y="138890"/>
                  <a:pt x="332235" y="138423"/>
                </a:cubicBezTo>
                <a:cubicBezTo>
                  <a:pt x="328106" y="137956"/>
                  <a:pt x="324380" y="140928"/>
                  <a:pt x="323913" y="145062"/>
                </a:cubicBezTo>
                <a:cubicBezTo>
                  <a:pt x="323850" y="145614"/>
                  <a:pt x="323850" y="146186"/>
                  <a:pt x="323913" y="146748"/>
                </a:cubicBezTo>
                <a:lnTo>
                  <a:pt x="323913" y="194373"/>
                </a:lnTo>
                <a:lnTo>
                  <a:pt x="306102" y="194373"/>
                </a:lnTo>
                <a:lnTo>
                  <a:pt x="306102" y="160083"/>
                </a:lnTo>
                <a:cubicBezTo>
                  <a:pt x="306490" y="156978"/>
                  <a:pt x="304991" y="153949"/>
                  <a:pt x="302292" y="152368"/>
                </a:cubicBezTo>
                <a:lnTo>
                  <a:pt x="298672" y="150272"/>
                </a:lnTo>
                <a:lnTo>
                  <a:pt x="295053" y="152272"/>
                </a:lnTo>
                <a:cubicBezTo>
                  <a:pt x="292406" y="153911"/>
                  <a:pt x="290898" y="156883"/>
                  <a:pt x="291147" y="159988"/>
                </a:cubicBezTo>
                <a:lnTo>
                  <a:pt x="291147" y="194373"/>
                </a:lnTo>
                <a:lnTo>
                  <a:pt x="273431" y="194373"/>
                </a:lnTo>
                <a:lnTo>
                  <a:pt x="273431" y="146748"/>
                </a:lnTo>
                <a:cubicBezTo>
                  <a:pt x="273908" y="142462"/>
                  <a:pt x="270820" y="138595"/>
                  <a:pt x="266533" y="138118"/>
                </a:cubicBezTo>
                <a:cubicBezTo>
                  <a:pt x="266356" y="138099"/>
                  <a:pt x="266178" y="138090"/>
                  <a:pt x="266001" y="138080"/>
                </a:cubicBezTo>
                <a:cubicBezTo>
                  <a:pt x="261586" y="138271"/>
                  <a:pt x="258166" y="142014"/>
                  <a:pt x="258360" y="146424"/>
                </a:cubicBezTo>
                <a:cubicBezTo>
                  <a:pt x="258365" y="146529"/>
                  <a:pt x="258372" y="146643"/>
                  <a:pt x="258381" y="146748"/>
                </a:cubicBezTo>
                <a:lnTo>
                  <a:pt x="258381" y="194373"/>
                </a:lnTo>
                <a:lnTo>
                  <a:pt x="240760" y="194373"/>
                </a:lnTo>
                <a:lnTo>
                  <a:pt x="240760" y="159988"/>
                </a:lnTo>
                <a:cubicBezTo>
                  <a:pt x="241235" y="155701"/>
                  <a:pt x="238145" y="151844"/>
                  <a:pt x="233858" y="151368"/>
                </a:cubicBezTo>
                <a:cubicBezTo>
                  <a:pt x="233652" y="151339"/>
                  <a:pt x="233443" y="151330"/>
                  <a:pt x="233235" y="151320"/>
                </a:cubicBezTo>
                <a:lnTo>
                  <a:pt x="233235" y="151320"/>
                </a:lnTo>
                <a:cubicBezTo>
                  <a:pt x="228976" y="151444"/>
                  <a:pt x="225625" y="154997"/>
                  <a:pt x="225750" y="159254"/>
                </a:cubicBezTo>
                <a:cubicBezTo>
                  <a:pt x="225757" y="159502"/>
                  <a:pt x="225775" y="159749"/>
                  <a:pt x="225806" y="159988"/>
                </a:cubicBezTo>
                <a:lnTo>
                  <a:pt x="225806" y="194373"/>
                </a:lnTo>
                <a:lnTo>
                  <a:pt x="207994" y="194373"/>
                </a:lnTo>
                <a:lnTo>
                  <a:pt x="207994" y="146748"/>
                </a:lnTo>
                <a:cubicBezTo>
                  <a:pt x="208417" y="142452"/>
                  <a:pt x="205280" y="138633"/>
                  <a:pt x="200987" y="138214"/>
                </a:cubicBezTo>
                <a:cubicBezTo>
                  <a:pt x="200815" y="138194"/>
                  <a:pt x="200643" y="138185"/>
                  <a:pt x="200469" y="138175"/>
                </a:cubicBezTo>
                <a:lnTo>
                  <a:pt x="200469" y="138175"/>
                </a:lnTo>
                <a:cubicBezTo>
                  <a:pt x="196159" y="138356"/>
                  <a:pt x="192815" y="142005"/>
                  <a:pt x="192999" y="146310"/>
                </a:cubicBezTo>
                <a:cubicBezTo>
                  <a:pt x="193007" y="146491"/>
                  <a:pt x="193020" y="146662"/>
                  <a:pt x="193040" y="146843"/>
                </a:cubicBezTo>
                <a:lnTo>
                  <a:pt x="193040" y="194468"/>
                </a:lnTo>
                <a:lnTo>
                  <a:pt x="175228" y="194468"/>
                </a:lnTo>
                <a:lnTo>
                  <a:pt x="175228" y="160083"/>
                </a:lnTo>
                <a:cubicBezTo>
                  <a:pt x="175756" y="155854"/>
                  <a:pt x="172756" y="151996"/>
                  <a:pt x="168528" y="151472"/>
                </a:cubicBezTo>
                <a:cubicBezTo>
                  <a:pt x="168286" y="151444"/>
                  <a:pt x="168042" y="151425"/>
                  <a:pt x="167799" y="151415"/>
                </a:cubicBezTo>
                <a:lnTo>
                  <a:pt x="167799" y="151415"/>
                </a:lnTo>
                <a:cubicBezTo>
                  <a:pt x="163487" y="151549"/>
                  <a:pt x="160099" y="155149"/>
                  <a:pt x="160230" y="159464"/>
                </a:cubicBezTo>
                <a:cubicBezTo>
                  <a:pt x="160237" y="159664"/>
                  <a:pt x="160251" y="159873"/>
                  <a:pt x="160274" y="160083"/>
                </a:cubicBezTo>
                <a:lnTo>
                  <a:pt x="160274" y="194468"/>
                </a:lnTo>
                <a:lnTo>
                  <a:pt x="142462" y="194468"/>
                </a:lnTo>
                <a:lnTo>
                  <a:pt x="142462" y="146843"/>
                </a:lnTo>
                <a:cubicBezTo>
                  <a:pt x="143125" y="142690"/>
                  <a:pt x="140294" y="138785"/>
                  <a:pt x="136138" y="138118"/>
                </a:cubicBezTo>
                <a:cubicBezTo>
                  <a:pt x="131983" y="137452"/>
                  <a:pt x="128076" y="140290"/>
                  <a:pt x="127413" y="144443"/>
                </a:cubicBezTo>
                <a:cubicBezTo>
                  <a:pt x="127286" y="145234"/>
                  <a:pt x="127286" y="146043"/>
                  <a:pt x="127413" y="146843"/>
                </a:cubicBezTo>
                <a:lnTo>
                  <a:pt x="127413" y="193135"/>
                </a:lnTo>
                <a:lnTo>
                  <a:pt x="110268" y="191611"/>
                </a:lnTo>
                <a:lnTo>
                  <a:pt x="110268" y="159702"/>
                </a:lnTo>
                <a:cubicBezTo>
                  <a:pt x="110734" y="155568"/>
                  <a:pt x="107765" y="151844"/>
                  <a:pt x="103635" y="151377"/>
                </a:cubicBezTo>
                <a:cubicBezTo>
                  <a:pt x="99506" y="150910"/>
                  <a:pt x="95780" y="153882"/>
                  <a:pt x="95313" y="158016"/>
                </a:cubicBezTo>
                <a:cubicBezTo>
                  <a:pt x="95250" y="158568"/>
                  <a:pt x="95250" y="159140"/>
                  <a:pt x="95313" y="159702"/>
                </a:cubicBezTo>
                <a:lnTo>
                  <a:pt x="95313" y="188944"/>
                </a:lnTo>
                <a:cubicBezTo>
                  <a:pt x="39973" y="180562"/>
                  <a:pt x="14160" y="163988"/>
                  <a:pt x="14160" y="155035"/>
                </a:cubicBezTo>
                <a:lnTo>
                  <a:pt x="14160" y="82168"/>
                </a:lnTo>
                <a:lnTo>
                  <a:pt x="14160" y="82168"/>
                </a:lnTo>
                <a:cubicBezTo>
                  <a:pt x="15932" y="83388"/>
                  <a:pt x="17813" y="84435"/>
                  <a:pt x="19780" y="85312"/>
                </a:cubicBezTo>
                <a:lnTo>
                  <a:pt x="21590" y="86264"/>
                </a:lnTo>
                <a:cubicBezTo>
                  <a:pt x="23781" y="87312"/>
                  <a:pt x="26067" y="88455"/>
                  <a:pt x="28543" y="89503"/>
                </a:cubicBezTo>
                <a:lnTo>
                  <a:pt x="30734" y="90455"/>
                </a:lnTo>
                <a:cubicBezTo>
                  <a:pt x="32544" y="91122"/>
                  <a:pt x="34449" y="91979"/>
                  <a:pt x="36449" y="92646"/>
                </a:cubicBezTo>
                <a:lnTo>
                  <a:pt x="37401" y="92646"/>
                </a:lnTo>
                <a:lnTo>
                  <a:pt x="37401" y="92646"/>
                </a:lnTo>
                <a:lnTo>
                  <a:pt x="39211" y="93313"/>
                </a:lnTo>
                <a:lnTo>
                  <a:pt x="39211" y="93313"/>
                </a:lnTo>
                <a:lnTo>
                  <a:pt x="43116" y="94551"/>
                </a:lnTo>
                <a:lnTo>
                  <a:pt x="47879" y="96075"/>
                </a:lnTo>
                <a:lnTo>
                  <a:pt x="56451" y="98456"/>
                </a:lnTo>
                <a:lnTo>
                  <a:pt x="58452" y="99028"/>
                </a:lnTo>
                <a:lnTo>
                  <a:pt x="67405" y="101123"/>
                </a:lnTo>
                <a:lnTo>
                  <a:pt x="68358" y="101123"/>
                </a:lnTo>
                <a:lnTo>
                  <a:pt x="78740" y="103123"/>
                </a:lnTo>
                <a:lnTo>
                  <a:pt x="79692" y="103123"/>
                </a:lnTo>
                <a:lnTo>
                  <a:pt x="84836" y="104076"/>
                </a:lnTo>
                <a:lnTo>
                  <a:pt x="90646" y="105028"/>
                </a:lnTo>
                <a:lnTo>
                  <a:pt x="101886" y="106648"/>
                </a:lnTo>
                <a:lnTo>
                  <a:pt x="103600" y="106648"/>
                </a:lnTo>
                <a:lnTo>
                  <a:pt x="114459" y="107886"/>
                </a:lnTo>
                <a:lnTo>
                  <a:pt x="128841" y="109124"/>
                </a:lnTo>
                <a:lnTo>
                  <a:pt x="139605" y="109791"/>
                </a:lnTo>
                <a:lnTo>
                  <a:pt x="141510" y="109791"/>
                </a:lnTo>
                <a:cubicBezTo>
                  <a:pt x="143986" y="109791"/>
                  <a:pt x="146463" y="109791"/>
                  <a:pt x="148939" y="109791"/>
                </a:cubicBezTo>
                <a:lnTo>
                  <a:pt x="155035" y="109791"/>
                </a:lnTo>
                <a:lnTo>
                  <a:pt x="166656" y="109791"/>
                </a:lnTo>
                <a:lnTo>
                  <a:pt x="461645" y="109791"/>
                </a:lnTo>
                <a:close/>
                <a:moveTo>
                  <a:pt x="167418" y="80930"/>
                </a:moveTo>
                <a:cubicBezTo>
                  <a:pt x="195135" y="80930"/>
                  <a:pt x="227520" y="73501"/>
                  <a:pt x="227520" y="52355"/>
                </a:cubicBezTo>
                <a:cubicBezTo>
                  <a:pt x="227520" y="31210"/>
                  <a:pt x="195231" y="24542"/>
                  <a:pt x="167513" y="24542"/>
                </a:cubicBezTo>
                <a:cubicBezTo>
                  <a:pt x="139795" y="24542"/>
                  <a:pt x="107410" y="31876"/>
                  <a:pt x="107410" y="52355"/>
                </a:cubicBezTo>
                <a:cubicBezTo>
                  <a:pt x="107410" y="72834"/>
                  <a:pt x="139795" y="80930"/>
                  <a:pt x="167418" y="80930"/>
                </a:cubicBezTo>
                <a:close/>
                <a:moveTo>
                  <a:pt x="167418" y="39115"/>
                </a:moveTo>
                <a:cubicBezTo>
                  <a:pt x="178964" y="38906"/>
                  <a:pt x="190470" y="40516"/>
                  <a:pt x="201517" y="43878"/>
                </a:cubicBezTo>
                <a:cubicBezTo>
                  <a:pt x="208756" y="46450"/>
                  <a:pt x="213328" y="49783"/>
                  <a:pt x="213328" y="52736"/>
                </a:cubicBezTo>
                <a:cubicBezTo>
                  <a:pt x="213328" y="58642"/>
                  <a:pt x="195802" y="66738"/>
                  <a:pt x="167322" y="66738"/>
                </a:cubicBezTo>
                <a:cubicBezTo>
                  <a:pt x="138843" y="66738"/>
                  <a:pt x="121507" y="58642"/>
                  <a:pt x="121507" y="52736"/>
                </a:cubicBezTo>
                <a:cubicBezTo>
                  <a:pt x="121507" y="46831"/>
                  <a:pt x="140462" y="39496"/>
                  <a:pt x="167418" y="39496"/>
                </a:cubicBezTo>
                <a:close/>
              </a:path>
            </a:pathLst>
          </a:custGeom>
          <a:solidFill>
            <a:srgbClr val="222760"/>
          </a:solidFill>
          <a:ln w="9525" cap="flat">
            <a:noFill/>
            <a:prstDash val="solid"/>
            <a:miter/>
          </a:ln>
        </p:spPr>
        <p:txBody>
          <a:bodyPr rtlCol="0" anchor="ctr"/>
          <a:lstStyle/>
          <a:p>
            <a:pPr defTabSz="906912">
              <a:defRPr/>
            </a:pPr>
            <a:endParaRPr lang="en-GB" sz="1092">
              <a:solidFill>
                <a:srgbClr val="000000"/>
              </a:solidFill>
              <a:cs typeface="Arial" panose="020B0604020202020204" pitchFamily="34" charset="0"/>
            </a:endParaRPr>
          </a:p>
        </p:txBody>
      </p:sp>
      <p:sp>
        <p:nvSpPr>
          <p:cNvPr id="161" name="Rectangle 160">
            <a:extLst>
              <a:ext uri="{FF2B5EF4-FFF2-40B4-BE49-F238E27FC236}">
                <a16:creationId xmlns:a16="http://schemas.microsoft.com/office/drawing/2014/main" id="{4298CFE8-1678-5396-B575-F6F2B4341C5D}"/>
              </a:ext>
            </a:extLst>
          </p:cNvPr>
          <p:cNvSpPr/>
          <p:nvPr/>
        </p:nvSpPr>
        <p:spPr>
          <a:xfrm>
            <a:off x="8089911" y="2449159"/>
            <a:ext cx="4021293" cy="528000"/>
          </a:xfrm>
          <a:prstGeom prst="rect">
            <a:avLst/>
          </a:prstGeom>
          <a:solidFill>
            <a:srgbClr val="E5F1F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defTabSz="914286"/>
            <a:endParaRPr lang="en-US" b="1">
              <a:solidFill>
                <a:srgbClr val="3B97DE"/>
              </a:solidFill>
              <a:latin typeface="Apis For Office"/>
            </a:endParaRPr>
          </a:p>
        </p:txBody>
      </p:sp>
      <p:grpSp>
        <p:nvGrpSpPr>
          <p:cNvPr id="162" name="Group 161">
            <a:extLst>
              <a:ext uri="{FF2B5EF4-FFF2-40B4-BE49-F238E27FC236}">
                <a16:creationId xmlns:a16="http://schemas.microsoft.com/office/drawing/2014/main" id="{E4C3F1A0-19B5-DFC1-055B-FA042679E05E}"/>
              </a:ext>
            </a:extLst>
          </p:cNvPr>
          <p:cNvGrpSpPr/>
          <p:nvPr/>
        </p:nvGrpSpPr>
        <p:grpSpPr>
          <a:xfrm>
            <a:off x="7742517" y="2213983"/>
            <a:ext cx="1968000" cy="807482"/>
            <a:chOff x="2720605" y="1915345"/>
            <a:chExt cx="1968000" cy="807482"/>
          </a:xfrm>
        </p:grpSpPr>
        <p:sp>
          <p:nvSpPr>
            <p:cNvPr id="163" name="Rounded Rectangle 5">
              <a:extLst>
                <a:ext uri="{FF2B5EF4-FFF2-40B4-BE49-F238E27FC236}">
                  <a16:creationId xmlns:a16="http://schemas.microsoft.com/office/drawing/2014/main" id="{D0B8E858-878F-EE29-3D10-1250EFDF3524}"/>
                </a:ext>
              </a:extLst>
            </p:cNvPr>
            <p:cNvSpPr/>
            <p:nvPr/>
          </p:nvSpPr>
          <p:spPr>
            <a:xfrm>
              <a:off x="3109435" y="1915345"/>
              <a:ext cx="1115271" cy="401263"/>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86"/>
              <a:r>
                <a:rPr lang="en-GB" sz="1400" dirty="0">
                  <a:solidFill>
                    <a:srgbClr val="001965"/>
                  </a:solidFill>
                  <a:latin typeface="Apis For Office"/>
                </a:rPr>
                <a:t>Mean BMI</a:t>
              </a:r>
              <a:endParaRPr lang="en-US" sz="1400" dirty="0">
                <a:solidFill>
                  <a:srgbClr val="001965"/>
                </a:solidFill>
                <a:latin typeface="Apis For Office"/>
              </a:endParaRPr>
            </a:p>
          </p:txBody>
        </p:sp>
        <p:sp>
          <p:nvSpPr>
            <p:cNvPr id="164" name="Rounded Rectangle 11">
              <a:extLst>
                <a:ext uri="{FF2B5EF4-FFF2-40B4-BE49-F238E27FC236}">
                  <a16:creationId xmlns:a16="http://schemas.microsoft.com/office/drawing/2014/main" id="{5104F2FC-633A-F378-92AD-9C2DE09FD20D}"/>
                </a:ext>
              </a:extLst>
            </p:cNvPr>
            <p:cNvSpPr/>
            <p:nvPr/>
          </p:nvSpPr>
          <p:spPr>
            <a:xfrm>
              <a:off x="2720605" y="2194827"/>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37.8 kg/m</a:t>
              </a:r>
              <a:r>
                <a:rPr kumimoji="0" lang="en-GB" sz="1400" b="1" i="0" u="none" strike="noStrike" kern="1200" cap="none" spc="0" normalizeH="0" baseline="30000" noProof="0" dirty="0">
                  <a:ln>
                    <a:noFill/>
                  </a:ln>
                  <a:solidFill>
                    <a:srgbClr val="001965"/>
                  </a:solidFill>
                  <a:effectLst/>
                  <a:uLnTx/>
                  <a:uFillTx/>
                  <a:latin typeface="Apis For Office"/>
                  <a:ea typeface="+mn-ea"/>
                  <a:cs typeface="+mn-cs"/>
                </a:rPr>
                <a:t>2</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grpSp>
      <p:sp>
        <p:nvSpPr>
          <p:cNvPr id="165" name="Rounded Rectangle 5">
            <a:extLst>
              <a:ext uri="{FF2B5EF4-FFF2-40B4-BE49-F238E27FC236}">
                <a16:creationId xmlns:a16="http://schemas.microsoft.com/office/drawing/2014/main" id="{89A9A767-55AB-4C0C-B9D7-AF6F505BF5D3}"/>
              </a:ext>
            </a:extLst>
          </p:cNvPr>
          <p:cNvSpPr/>
          <p:nvPr/>
        </p:nvSpPr>
        <p:spPr>
          <a:xfrm>
            <a:off x="9351486" y="2213983"/>
            <a:ext cx="1163540" cy="401263"/>
          </a:xfrm>
          <a:prstGeom prst="rect">
            <a:avLst/>
          </a:prstGeom>
          <a:solidFill>
            <a:srgbClr val="B1D5F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mn-cs"/>
              </a:rPr>
              <a:t>Mean Body Weight</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pic>
        <p:nvPicPr>
          <p:cNvPr id="166" name="Picture 165">
            <a:extLst>
              <a:ext uri="{FF2B5EF4-FFF2-40B4-BE49-F238E27FC236}">
                <a16:creationId xmlns:a16="http://schemas.microsoft.com/office/drawing/2014/main" id="{1DD5F64E-2E47-D3C9-57FF-9E42A54603CB}"/>
              </a:ext>
            </a:extLst>
          </p:cNvPr>
          <p:cNvPicPr>
            <a:picLocks noChangeAspect="1"/>
          </p:cNvPicPr>
          <p:nvPr/>
        </p:nvPicPr>
        <p:blipFill>
          <a:blip r:embed="rId4"/>
          <a:stretch>
            <a:fillRect/>
          </a:stretch>
        </p:blipFill>
        <p:spPr>
          <a:xfrm>
            <a:off x="8429419" y="1886569"/>
            <a:ext cx="500580" cy="275319"/>
          </a:xfrm>
          <a:prstGeom prst="rect">
            <a:avLst/>
          </a:prstGeom>
        </p:spPr>
      </p:pic>
      <p:pic>
        <p:nvPicPr>
          <p:cNvPr id="168" name="Picture 167">
            <a:extLst>
              <a:ext uri="{FF2B5EF4-FFF2-40B4-BE49-F238E27FC236}">
                <a16:creationId xmlns:a16="http://schemas.microsoft.com/office/drawing/2014/main" id="{0399CEEE-9A12-3B3F-AA39-8F16C752A014}"/>
              </a:ext>
            </a:extLst>
          </p:cNvPr>
          <p:cNvPicPr>
            <a:picLocks noChangeAspect="1"/>
          </p:cNvPicPr>
          <p:nvPr/>
        </p:nvPicPr>
        <p:blipFill>
          <a:blip r:embed="rId5"/>
          <a:stretch>
            <a:fillRect/>
          </a:stretch>
        </p:blipFill>
        <p:spPr>
          <a:xfrm>
            <a:off x="9803212" y="1842798"/>
            <a:ext cx="335694" cy="312382"/>
          </a:xfrm>
          <a:prstGeom prst="rect">
            <a:avLst/>
          </a:prstGeom>
        </p:spPr>
      </p:pic>
      <p:sp>
        <p:nvSpPr>
          <p:cNvPr id="169" name="Rounded Rectangle 11">
            <a:extLst>
              <a:ext uri="{FF2B5EF4-FFF2-40B4-BE49-F238E27FC236}">
                <a16:creationId xmlns:a16="http://schemas.microsoft.com/office/drawing/2014/main" id="{F52C74E6-4AC4-FEF0-9341-FE6BD73EDCB7}"/>
              </a:ext>
            </a:extLst>
          </p:cNvPr>
          <p:cNvSpPr/>
          <p:nvPr/>
        </p:nvSpPr>
        <p:spPr>
          <a:xfrm>
            <a:off x="8998848" y="2515245"/>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105.4 kg</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70" name="Rounded Rectangle 5">
            <a:extLst>
              <a:ext uri="{FF2B5EF4-FFF2-40B4-BE49-F238E27FC236}">
                <a16:creationId xmlns:a16="http://schemas.microsoft.com/office/drawing/2014/main" id="{7EBEBDC1-1A1C-0129-AD92-883A0F040CB1}"/>
              </a:ext>
            </a:extLst>
          </p:cNvPr>
          <p:cNvSpPr/>
          <p:nvPr/>
        </p:nvSpPr>
        <p:spPr>
          <a:xfrm>
            <a:off x="10613268" y="2228343"/>
            <a:ext cx="1430761" cy="401263"/>
          </a:xfrm>
          <a:prstGeom prst="rect">
            <a:avLst/>
          </a:prstGeom>
          <a:solidFill>
            <a:srgbClr val="B1D5F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mn-cs"/>
              </a:rPr>
              <a:t>Waist Circumference</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71" name="Rounded Rectangle 11">
            <a:extLst>
              <a:ext uri="{FF2B5EF4-FFF2-40B4-BE49-F238E27FC236}">
                <a16:creationId xmlns:a16="http://schemas.microsoft.com/office/drawing/2014/main" id="{C0867304-F87F-D99E-9FBF-02D389D0428D}"/>
              </a:ext>
            </a:extLst>
          </p:cNvPr>
          <p:cNvSpPr/>
          <p:nvPr/>
        </p:nvSpPr>
        <p:spPr>
          <a:xfrm>
            <a:off x="10322952" y="2500097"/>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114.6 cm</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72" name="Graphic 27">
            <a:extLst>
              <a:ext uri="{FF2B5EF4-FFF2-40B4-BE49-F238E27FC236}">
                <a16:creationId xmlns:a16="http://schemas.microsoft.com/office/drawing/2014/main" id="{44039F32-8403-EBAD-41AE-79A536D1EF0D}"/>
              </a:ext>
            </a:extLst>
          </p:cNvPr>
          <p:cNvSpPr>
            <a:spLocks noChangeAspect="1"/>
          </p:cNvSpPr>
          <p:nvPr/>
        </p:nvSpPr>
        <p:spPr>
          <a:xfrm>
            <a:off x="11064997" y="1909474"/>
            <a:ext cx="527302" cy="230182"/>
          </a:xfrm>
          <a:custGeom>
            <a:avLst/>
            <a:gdLst>
              <a:gd name="connsiteX0" fmla="*/ 334962 w 475868"/>
              <a:gd name="connsiteY0" fmla="*/ 97504 h 208025"/>
              <a:gd name="connsiteX1" fmla="*/ 334962 w 475868"/>
              <a:gd name="connsiteY1" fmla="*/ 54451 h 208025"/>
              <a:gd name="connsiteX2" fmla="*/ 334962 w 475868"/>
              <a:gd name="connsiteY2" fmla="*/ 54451 h 208025"/>
              <a:gd name="connsiteX3" fmla="*/ 334962 w 475868"/>
              <a:gd name="connsiteY3" fmla="*/ 53117 h 208025"/>
              <a:gd name="connsiteX4" fmla="*/ 167418 w 475868"/>
              <a:gd name="connsiteY4" fmla="*/ -32 h 208025"/>
              <a:gd name="connsiteX5" fmla="*/ -32 w 475868"/>
              <a:gd name="connsiteY5" fmla="*/ 53022 h 208025"/>
              <a:gd name="connsiteX6" fmla="*/ -32 w 475868"/>
              <a:gd name="connsiteY6" fmla="*/ 53022 h 208025"/>
              <a:gd name="connsiteX7" fmla="*/ -32 w 475868"/>
              <a:gd name="connsiteY7" fmla="*/ 70643 h 208025"/>
              <a:gd name="connsiteX8" fmla="*/ -32 w 475868"/>
              <a:gd name="connsiteY8" fmla="*/ 70643 h 208025"/>
              <a:gd name="connsiteX9" fmla="*/ -32 w 475868"/>
              <a:gd name="connsiteY9" fmla="*/ 154749 h 208025"/>
              <a:gd name="connsiteX10" fmla="*/ 95980 w 475868"/>
              <a:gd name="connsiteY10" fmla="*/ 203231 h 208025"/>
              <a:gd name="connsiteX11" fmla="*/ 95980 w 475868"/>
              <a:gd name="connsiteY11" fmla="*/ 204184 h 208025"/>
              <a:gd name="connsiteX12" fmla="*/ 102362 w 475868"/>
              <a:gd name="connsiteY12" fmla="*/ 204850 h 208025"/>
              <a:gd name="connsiteX13" fmla="*/ 127603 w 475868"/>
              <a:gd name="connsiteY13" fmla="*/ 206660 h 208025"/>
              <a:gd name="connsiteX14" fmla="*/ 135509 w 475868"/>
              <a:gd name="connsiteY14" fmla="*/ 207422 h 208025"/>
              <a:gd name="connsiteX15" fmla="*/ 161512 w 475868"/>
              <a:gd name="connsiteY15" fmla="*/ 207994 h 208025"/>
              <a:gd name="connsiteX16" fmla="*/ 475837 w 475868"/>
              <a:gd name="connsiteY16" fmla="*/ 207994 h 208025"/>
              <a:gd name="connsiteX17" fmla="*/ 475837 w 475868"/>
              <a:gd name="connsiteY17" fmla="*/ 97504 h 208025"/>
              <a:gd name="connsiteX18" fmla="*/ 261048 w 475868"/>
              <a:gd name="connsiteY18" fmla="*/ 97504 h 208025"/>
              <a:gd name="connsiteX19" fmla="*/ 320770 w 475868"/>
              <a:gd name="connsiteY19" fmla="*/ 74834 h 208025"/>
              <a:gd name="connsiteX20" fmla="*/ 320770 w 475868"/>
              <a:gd name="connsiteY20" fmla="*/ 97504 h 208025"/>
              <a:gd name="connsiteX21" fmla="*/ 167418 w 475868"/>
              <a:gd name="connsiteY21" fmla="*/ 14255 h 208025"/>
              <a:gd name="connsiteX22" fmla="*/ 320770 w 475868"/>
              <a:gd name="connsiteY22" fmla="*/ 53308 h 208025"/>
              <a:gd name="connsiteX23" fmla="*/ 167418 w 475868"/>
              <a:gd name="connsiteY23" fmla="*/ 92455 h 208025"/>
              <a:gd name="connsiteX24" fmla="*/ 14065 w 475868"/>
              <a:gd name="connsiteY24" fmla="*/ 53308 h 208025"/>
              <a:gd name="connsiteX25" fmla="*/ 167418 w 475868"/>
              <a:gd name="connsiteY25" fmla="*/ 14255 h 208025"/>
              <a:gd name="connsiteX26" fmla="*/ 461645 w 475868"/>
              <a:gd name="connsiteY26" fmla="*/ 194278 h 208025"/>
              <a:gd name="connsiteX27" fmla="*/ 437070 w 475868"/>
              <a:gd name="connsiteY27" fmla="*/ 194278 h 208025"/>
              <a:gd name="connsiteX28" fmla="*/ 437070 w 475868"/>
              <a:gd name="connsiteY28" fmla="*/ 159892 h 208025"/>
              <a:gd name="connsiteX29" fmla="*/ 430370 w 475868"/>
              <a:gd name="connsiteY29" fmla="*/ 151282 h 208025"/>
              <a:gd name="connsiteX30" fmla="*/ 429641 w 475868"/>
              <a:gd name="connsiteY30" fmla="*/ 151225 h 208025"/>
              <a:gd name="connsiteX31" fmla="*/ 429641 w 475868"/>
              <a:gd name="connsiteY31" fmla="*/ 151225 h 208025"/>
              <a:gd name="connsiteX32" fmla="*/ 422072 w 475868"/>
              <a:gd name="connsiteY32" fmla="*/ 159273 h 208025"/>
              <a:gd name="connsiteX33" fmla="*/ 422116 w 475868"/>
              <a:gd name="connsiteY33" fmla="*/ 159892 h 208025"/>
              <a:gd name="connsiteX34" fmla="*/ 422116 w 475868"/>
              <a:gd name="connsiteY34" fmla="*/ 194278 h 208025"/>
              <a:gd name="connsiteX35" fmla="*/ 404304 w 475868"/>
              <a:gd name="connsiteY35" fmla="*/ 194278 h 208025"/>
              <a:gd name="connsiteX36" fmla="*/ 404304 w 475868"/>
              <a:gd name="connsiteY36" fmla="*/ 146653 h 208025"/>
              <a:gd name="connsiteX37" fmla="*/ 397298 w 475868"/>
              <a:gd name="connsiteY37" fmla="*/ 138118 h 208025"/>
              <a:gd name="connsiteX38" fmla="*/ 396780 w 475868"/>
              <a:gd name="connsiteY38" fmla="*/ 138080 h 208025"/>
              <a:gd name="connsiteX39" fmla="*/ 396780 w 475868"/>
              <a:gd name="connsiteY39" fmla="*/ 138080 h 208025"/>
              <a:gd name="connsiteX40" fmla="*/ 389309 w 475868"/>
              <a:gd name="connsiteY40" fmla="*/ 146215 h 208025"/>
              <a:gd name="connsiteX41" fmla="*/ 389350 w 475868"/>
              <a:gd name="connsiteY41" fmla="*/ 146748 h 208025"/>
              <a:gd name="connsiteX42" fmla="*/ 389350 w 475868"/>
              <a:gd name="connsiteY42" fmla="*/ 194373 h 208025"/>
              <a:gd name="connsiteX43" fmla="*/ 371634 w 475868"/>
              <a:gd name="connsiteY43" fmla="*/ 194373 h 208025"/>
              <a:gd name="connsiteX44" fmla="*/ 371634 w 475868"/>
              <a:gd name="connsiteY44" fmla="*/ 159892 h 208025"/>
              <a:gd name="connsiteX45" fmla="*/ 364825 w 475868"/>
              <a:gd name="connsiteY45" fmla="*/ 151368 h 208025"/>
              <a:gd name="connsiteX46" fmla="*/ 364109 w 475868"/>
              <a:gd name="connsiteY46" fmla="*/ 151320 h 208025"/>
              <a:gd name="connsiteX47" fmla="*/ 356638 w 475868"/>
              <a:gd name="connsiteY47" fmla="*/ 159454 h 208025"/>
              <a:gd name="connsiteX48" fmla="*/ 356679 w 475868"/>
              <a:gd name="connsiteY48" fmla="*/ 159988 h 208025"/>
              <a:gd name="connsiteX49" fmla="*/ 356679 w 475868"/>
              <a:gd name="connsiteY49" fmla="*/ 194373 h 208025"/>
              <a:gd name="connsiteX50" fmla="*/ 338868 w 475868"/>
              <a:gd name="connsiteY50" fmla="*/ 194373 h 208025"/>
              <a:gd name="connsiteX51" fmla="*/ 338868 w 475868"/>
              <a:gd name="connsiteY51" fmla="*/ 146748 h 208025"/>
              <a:gd name="connsiteX52" fmla="*/ 332235 w 475868"/>
              <a:gd name="connsiteY52" fmla="*/ 138423 h 208025"/>
              <a:gd name="connsiteX53" fmla="*/ 323913 w 475868"/>
              <a:gd name="connsiteY53" fmla="*/ 145062 h 208025"/>
              <a:gd name="connsiteX54" fmla="*/ 323913 w 475868"/>
              <a:gd name="connsiteY54" fmla="*/ 146748 h 208025"/>
              <a:gd name="connsiteX55" fmla="*/ 323913 w 475868"/>
              <a:gd name="connsiteY55" fmla="*/ 194373 h 208025"/>
              <a:gd name="connsiteX56" fmla="*/ 306102 w 475868"/>
              <a:gd name="connsiteY56" fmla="*/ 194373 h 208025"/>
              <a:gd name="connsiteX57" fmla="*/ 306102 w 475868"/>
              <a:gd name="connsiteY57" fmla="*/ 160083 h 208025"/>
              <a:gd name="connsiteX58" fmla="*/ 302292 w 475868"/>
              <a:gd name="connsiteY58" fmla="*/ 152368 h 208025"/>
              <a:gd name="connsiteX59" fmla="*/ 298672 w 475868"/>
              <a:gd name="connsiteY59" fmla="*/ 150272 h 208025"/>
              <a:gd name="connsiteX60" fmla="*/ 295053 w 475868"/>
              <a:gd name="connsiteY60" fmla="*/ 152272 h 208025"/>
              <a:gd name="connsiteX61" fmla="*/ 291147 w 475868"/>
              <a:gd name="connsiteY61" fmla="*/ 159988 h 208025"/>
              <a:gd name="connsiteX62" fmla="*/ 291147 w 475868"/>
              <a:gd name="connsiteY62" fmla="*/ 194373 h 208025"/>
              <a:gd name="connsiteX63" fmla="*/ 273431 w 475868"/>
              <a:gd name="connsiteY63" fmla="*/ 194373 h 208025"/>
              <a:gd name="connsiteX64" fmla="*/ 273431 w 475868"/>
              <a:gd name="connsiteY64" fmla="*/ 146748 h 208025"/>
              <a:gd name="connsiteX65" fmla="*/ 266533 w 475868"/>
              <a:gd name="connsiteY65" fmla="*/ 138118 h 208025"/>
              <a:gd name="connsiteX66" fmla="*/ 266001 w 475868"/>
              <a:gd name="connsiteY66" fmla="*/ 138080 h 208025"/>
              <a:gd name="connsiteX67" fmla="*/ 258360 w 475868"/>
              <a:gd name="connsiteY67" fmla="*/ 146424 h 208025"/>
              <a:gd name="connsiteX68" fmla="*/ 258381 w 475868"/>
              <a:gd name="connsiteY68" fmla="*/ 146748 h 208025"/>
              <a:gd name="connsiteX69" fmla="*/ 258381 w 475868"/>
              <a:gd name="connsiteY69" fmla="*/ 194373 h 208025"/>
              <a:gd name="connsiteX70" fmla="*/ 240760 w 475868"/>
              <a:gd name="connsiteY70" fmla="*/ 194373 h 208025"/>
              <a:gd name="connsiteX71" fmla="*/ 240760 w 475868"/>
              <a:gd name="connsiteY71" fmla="*/ 159988 h 208025"/>
              <a:gd name="connsiteX72" fmla="*/ 233858 w 475868"/>
              <a:gd name="connsiteY72" fmla="*/ 151368 h 208025"/>
              <a:gd name="connsiteX73" fmla="*/ 233235 w 475868"/>
              <a:gd name="connsiteY73" fmla="*/ 151320 h 208025"/>
              <a:gd name="connsiteX74" fmla="*/ 233235 w 475868"/>
              <a:gd name="connsiteY74" fmla="*/ 151320 h 208025"/>
              <a:gd name="connsiteX75" fmla="*/ 225750 w 475868"/>
              <a:gd name="connsiteY75" fmla="*/ 159254 h 208025"/>
              <a:gd name="connsiteX76" fmla="*/ 225806 w 475868"/>
              <a:gd name="connsiteY76" fmla="*/ 159988 h 208025"/>
              <a:gd name="connsiteX77" fmla="*/ 225806 w 475868"/>
              <a:gd name="connsiteY77" fmla="*/ 194373 h 208025"/>
              <a:gd name="connsiteX78" fmla="*/ 207994 w 475868"/>
              <a:gd name="connsiteY78" fmla="*/ 194373 h 208025"/>
              <a:gd name="connsiteX79" fmla="*/ 207994 w 475868"/>
              <a:gd name="connsiteY79" fmla="*/ 146748 h 208025"/>
              <a:gd name="connsiteX80" fmla="*/ 200987 w 475868"/>
              <a:gd name="connsiteY80" fmla="*/ 138214 h 208025"/>
              <a:gd name="connsiteX81" fmla="*/ 200469 w 475868"/>
              <a:gd name="connsiteY81" fmla="*/ 138175 h 208025"/>
              <a:gd name="connsiteX82" fmla="*/ 200469 w 475868"/>
              <a:gd name="connsiteY82" fmla="*/ 138175 h 208025"/>
              <a:gd name="connsiteX83" fmla="*/ 192999 w 475868"/>
              <a:gd name="connsiteY83" fmla="*/ 146310 h 208025"/>
              <a:gd name="connsiteX84" fmla="*/ 193040 w 475868"/>
              <a:gd name="connsiteY84" fmla="*/ 146843 h 208025"/>
              <a:gd name="connsiteX85" fmla="*/ 193040 w 475868"/>
              <a:gd name="connsiteY85" fmla="*/ 194468 h 208025"/>
              <a:gd name="connsiteX86" fmla="*/ 175228 w 475868"/>
              <a:gd name="connsiteY86" fmla="*/ 194468 h 208025"/>
              <a:gd name="connsiteX87" fmla="*/ 175228 w 475868"/>
              <a:gd name="connsiteY87" fmla="*/ 160083 h 208025"/>
              <a:gd name="connsiteX88" fmla="*/ 168528 w 475868"/>
              <a:gd name="connsiteY88" fmla="*/ 151472 h 208025"/>
              <a:gd name="connsiteX89" fmla="*/ 167799 w 475868"/>
              <a:gd name="connsiteY89" fmla="*/ 151415 h 208025"/>
              <a:gd name="connsiteX90" fmla="*/ 167799 w 475868"/>
              <a:gd name="connsiteY90" fmla="*/ 151415 h 208025"/>
              <a:gd name="connsiteX91" fmla="*/ 160230 w 475868"/>
              <a:gd name="connsiteY91" fmla="*/ 159464 h 208025"/>
              <a:gd name="connsiteX92" fmla="*/ 160274 w 475868"/>
              <a:gd name="connsiteY92" fmla="*/ 160083 h 208025"/>
              <a:gd name="connsiteX93" fmla="*/ 160274 w 475868"/>
              <a:gd name="connsiteY93" fmla="*/ 194468 h 208025"/>
              <a:gd name="connsiteX94" fmla="*/ 142462 w 475868"/>
              <a:gd name="connsiteY94" fmla="*/ 194468 h 208025"/>
              <a:gd name="connsiteX95" fmla="*/ 142462 w 475868"/>
              <a:gd name="connsiteY95" fmla="*/ 146843 h 208025"/>
              <a:gd name="connsiteX96" fmla="*/ 136138 w 475868"/>
              <a:gd name="connsiteY96" fmla="*/ 138118 h 208025"/>
              <a:gd name="connsiteX97" fmla="*/ 127413 w 475868"/>
              <a:gd name="connsiteY97" fmla="*/ 144443 h 208025"/>
              <a:gd name="connsiteX98" fmla="*/ 127413 w 475868"/>
              <a:gd name="connsiteY98" fmla="*/ 146843 h 208025"/>
              <a:gd name="connsiteX99" fmla="*/ 127413 w 475868"/>
              <a:gd name="connsiteY99" fmla="*/ 193135 h 208025"/>
              <a:gd name="connsiteX100" fmla="*/ 110268 w 475868"/>
              <a:gd name="connsiteY100" fmla="*/ 191611 h 208025"/>
              <a:gd name="connsiteX101" fmla="*/ 110268 w 475868"/>
              <a:gd name="connsiteY101" fmla="*/ 159702 h 208025"/>
              <a:gd name="connsiteX102" fmla="*/ 103635 w 475868"/>
              <a:gd name="connsiteY102" fmla="*/ 151377 h 208025"/>
              <a:gd name="connsiteX103" fmla="*/ 95313 w 475868"/>
              <a:gd name="connsiteY103" fmla="*/ 158016 h 208025"/>
              <a:gd name="connsiteX104" fmla="*/ 95313 w 475868"/>
              <a:gd name="connsiteY104" fmla="*/ 159702 h 208025"/>
              <a:gd name="connsiteX105" fmla="*/ 95313 w 475868"/>
              <a:gd name="connsiteY105" fmla="*/ 188944 h 208025"/>
              <a:gd name="connsiteX106" fmla="*/ 14160 w 475868"/>
              <a:gd name="connsiteY106" fmla="*/ 155035 h 208025"/>
              <a:gd name="connsiteX107" fmla="*/ 14160 w 475868"/>
              <a:gd name="connsiteY107" fmla="*/ 82168 h 208025"/>
              <a:gd name="connsiteX108" fmla="*/ 14160 w 475868"/>
              <a:gd name="connsiteY108" fmla="*/ 82168 h 208025"/>
              <a:gd name="connsiteX109" fmla="*/ 19780 w 475868"/>
              <a:gd name="connsiteY109" fmla="*/ 85312 h 208025"/>
              <a:gd name="connsiteX110" fmla="*/ 21590 w 475868"/>
              <a:gd name="connsiteY110" fmla="*/ 86264 h 208025"/>
              <a:gd name="connsiteX111" fmla="*/ 28543 w 475868"/>
              <a:gd name="connsiteY111" fmla="*/ 89503 h 208025"/>
              <a:gd name="connsiteX112" fmla="*/ 30734 w 475868"/>
              <a:gd name="connsiteY112" fmla="*/ 90455 h 208025"/>
              <a:gd name="connsiteX113" fmla="*/ 36449 w 475868"/>
              <a:gd name="connsiteY113" fmla="*/ 92646 h 208025"/>
              <a:gd name="connsiteX114" fmla="*/ 37401 w 475868"/>
              <a:gd name="connsiteY114" fmla="*/ 92646 h 208025"/>
              <a:gd name="connsiteX115" fmla="*/ 37401 w 475868"/>
              <a:gd name="connsiteY115" fmla="*/ 92646 h 208025"/>
              <a:gd name="connsiteX116" fmla="*/ 39211 w 475868"/>
              <a:gd name="connsiteY116" fmla="*/ 93313 h 208025"/>
              <a:gd name="connsiteX117" fmla="*/ 39211 w 475868"/>
              <a:gd name="connsiteY117" fmla="*/ 93313 h 208025"/>
              <a:gd name="connsiteX118" fmla="*/ 43116 w 475868"/>
              <a:gd name="connsiteY118" fmla="*/ 94551 h 208025"/>
              <a:gd name="connsiteX119" fmla="*/ 47879 w 475868"/>
              <a:gd name="connsiteY119" fmla="*/ 96075 h 208025"/>
              <a:gd name="connsiteX120" fmla="*/ 56451 w 475868"/>
              <a:gd name="connsiteY120" fmla="*/ 98456 h 208025"/>
              <a:gd name="connsiteX121" fmla="*/ 58452 w 475868"/>
              <a:gd name="connsiteY121" fmla="*/ 99028 h 208025"/>
              <a:gd name="connsiteX122" fmla="*/ 67405 w 475868"/>
              <a:gd name="connsiteY122" fmla="*/ 101123 h 208025"/>
              <a:gd name="connsiteX123" fmla="*/ 68358 w 475868"/>
              <a:gd name="connsiteY123" fmla="*/ 101123 h 208025"/>
              <a:gd name="connsiteX124" fmla="*/ 78740 w 475868"/>
              <a:gd name="connsiteY124" fmla="*/ 103123 h 208025"/>
              <a:gd name="connsiteX125" fmla="*/ 79692 w 475868"/>
              <a:gd name="connsiteY125" fmla="*/ 103123 h 208025"/>
              <a:gd name="connsiteX126" fmla="*/ 84836 w 475868"/>
              <a:gd name="connsiteY126" fmla="*/ 104076 h 208025"/>
              <a:gd name="connsiteX127" fmla="*/ 90646 w 475868"/>
              <a:gd name="connsiteY127" fmla="*/ 105028 h 208025"/>
              <a:gd name="connsiteX128" fmla="*/ 101886 w 475868"/>
              <a:gd name="connsiteY128" fmla="*/ 106648 h 208025"/>
              <a:gd name="connsiteX129" fmla="*/ 103600 w 475868"/>
              <a:gd name="connsiteY129" fmla="*/ 106648 h 208025"/>
              <a:gd name="connsiteX130" fmla="*/ 114459 w 475868"/>
              <a:gd name="connsiteY130" fmla="*/ 107886 h 208025"/>
              <a:gd name="connsiteX131" fmla="*/ 128841 w 475868"/>
              <a:gd name="connsiteY131" fmla="*/ 109124 h 208025"/>
              <a:gd name="connsiteX132" fmla="*/ 139605 w 475868"/>
              <a:gd name="connsiteY132" fmla="*/ 109791 h 208025"/>
              <a:gd name="connsiteX133" fmla="*/ 141510 w 475868"/>
              <a:gd name="connsiteY133" fmla="*/ 109791 h 208025"/>
              <a:gd name="connsiteX134" fmla="*/ 148939 w 475868"/>
              <a:gd name="connsiteY134" fmla="*/ 109791 h 208025"/>
              <a:gd name="connsiteX135" fmla="*/ 155035 w 475868"/>
              <a:gd name="connsiteY135" fmla="*/ 109791 h 208025"/>
              <a:gd name="connsiteX136" fmla="*/ 166656 w 475868"/>
              <a:gd name="connsiteY136" fmla="*/ 109791 h 208025"/>
              <a:gd name="connsiteX137" fmla="*/ 461645 w 475868"/>
              <a:gd name="connsiteY137" fmla="*/ 109791 h 208025"/>
              <a:gd name="connsiteX138" fmla="*/ 167418 w 475868"/>
              <a:gd name="connsiteY138" fmla="*/ 80930 h 208025"/>
              <a:gd name="connsiteX139" fmla="*/ 227520 w 475868"/>
              <a:gd name="connsiteY139" fmla="*/ 52355 h 208025"/>
              <a:gd name="connsiteX140" fmla="*/ 167513 w 475868"/>
              <a:gd name="connsiteY140" fmla="*/ 24542 h 208025"/>
              <a:gd name="connsiteX141" fmla="*/ 107410 w 475868"/>
              <a:gd name="connsiteY141" fmla="*/ 52355 h 208025"/>
              <a:gd name="connsiteX142" fmla="*/ 167418 w 475868"/>
              <a:gd name="connsiteY142" fmla="*/ 80930 h 208025"/>
              <a:gd name="connsiteX143" fmla="*/ 167418 w 475868"/>
              <a:gd name="connsiteY143" fmla="*/ 39115 h 208025"/>
              <a:gd name="connsiteX144" fmla="*/ 201517 w 475868"/>
              <a:gd name="connsiteY144" fmla="*/ 43878 h 208025"/>
              <a:gd name="connsiteX145" fmla="*/ 213328 w 475868"/>
              <a:gd name="connsiteY145" fmla="*/ 52736 h 208025"/>
              <a:gd name="connsiteX146" fmla="*/ 167322 w 475868"/>
              <a:gd name="connsiteY146" fmla="*/ 66738 h 208025"/>
              <a:gd name="connsiteX147" fmla="*/ 121507 w 475868"/>
              <a:gd name="connsiteY147" fmla="*/ 52736 h 208025"/>
              <a:gd name="connsiteX148" fmla="*/ 167418 w 475868"/>
              <a:gd name="connsiteY148" fmla="*/ 39496 h 20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75868" h="208025">
                <a:moveTo>
                  <a:pt x="334962" y="97504"/>
                </a:moveTo>
                <a:lnTo>
                  <a:pt x="334962" y="54451"/>
                </a:lnTo>
                <a:lnTo>
                  <a:pt x="334962" y="54451"/>
                </a:lnTo>
                <a:cubicBezTo>
                  <a:pt x="335016" y="54012"/>
                  <a:pt x="335016" y="53555"/>
                  <a:pt x="334962" y="53117"/>
                </a:cubicBezTo>
                <a:cubicBezTo>
                  <a:pt x="334962" y="23304"/>
                  <a:pt x="261334" y="-32"/>
                  <a:pt x="167418" y="-32"/>
                </a:cubicBezTo>
                <a:cubicBezTo>
                  <a:pt x="73501" y="-32"/>
                  <a:pt x="159" y="23780"/>
                  <a:pt x="-32" y="53022"/>
                </a:cubicBezTo>
                <a:lnTo>
                  <a:pt x="-32" y="53022"/>
                </a:lnTo>
                <a:lnTo>
                  <a:pt x="-32" y="70643"/>
                </a:lnTo>
                <a:lnTo>
                  <a:pt x="-32" y="70643"/>
                </a:lnTo>
                <a:lnTo>
                  <a:pt x="-32" y="154749"/>
                </a:lnTo>
                <a:cubicBezTo>
                  <a:pt x="-32" y="180276"/>
                  <a:pt x="48641" y="196373"/>
                  <a:pt x="95980" y="203231"/>
                </a:cubicBezTo>
                <a:lnTo>
                  <a:pt x="95980" y="204184"/>
                </a:lnTo>
                <a:lnTo>
                  <a:pt x="102362" y="204850"/>
                </a:lnTo>
                <a:cubicBezTo>
                  <a:pt x="108648" y="205517"/>
                  <a:pt x="119126" y="206184"/>
                  <a:pt x="127603" y="206660"/>
                </a:cubicBezTo>
                <a:lnTo>
                  <a:pt x="135509" y="207422"/>
                </a:lnTo>
                <a:cubicBezTo>
                  <a:pt x="142081" y="207422"/>
                  <a:pt x="153035" y="207422"/>
                  <a:pt x="161512" y="207994"/>
                </a:cubicBezTo>
                <a:lnTo>
                  <a:pt x="475837" y="207994"/>
                </a:lnTo>
                <a:lnTo>
                  <a:pt x="475837" y="97504"/>
                </a:lnTo>
                <a:close/>
                <a:moveTo>
                  <a:pt x="261048" y="97504"/>
                </a:moveTo>
                <a:cubicBezTo>
                  <a:pt x="282263" y="93989"/>
                  <a:pt x="302566" y="86283"/>
                  <a:pt x="320770" y="74834"/>
                </a:cubicBezTo>
                <a:lnTo>
                  <a:pt x="320770" y="97504"/>
                </a:lnTo>
                <a:close/>
                <a:moveTo>
                  <a:pt x="167418" y="14255"/>
                </a:moveTo>
                <a:cubicBezTo>
                  <a:pt x="268097" y="14255"/>
                  <a:pt x="320770" y="39687"/>
                  <a:pt x="320770" y="53308"/>
                </a:cubicBezTo>
                <a:cubicBezTo>
                  <a:pt x="320770" y="66928"/>
                  <a:pt x="268097" y="92455"/>
                  <a:pt x="167418" y="92455"/>
                </a:cubicBezTo>
                <a:cubicBezTo>
                  <a:pt x="66738" y="92455"/>
                  <a:pt x="14065" y="66928"/>
                  <a:pt x="14065" y="53308"/>
                </a:cubicBezTo>
                <a:cubicBezTo>
                  <a:pt x="14065" y="39687"/>
                  <a:pt x="66738" y="14255"/>
                  <a:pt x="167418" y="14255"/>
                </a:cubicBezTo>
                <a:close/>
                <a:moveTo>
                  <a:pt x="461645" y="194278"/>
                </a:moveTo>
                <a:lnTo>
                  <a:pt x="437070" y="194278"/>
                </a:lnTo>
                <a:lnTo>
                  <a:pt x="437070" y="159892"/>
                </a:lnTo>
                <a:cubicBezTo>
                  <a:pt x="437598" y="155663"/>
                  <a:pt x="434599" y="151806"/>
                  <a:pt x="430370" y="151282"/>
                </a:cubicBezTo>
                <a:cubicBezTo>
                  <a:pt x="430129" y="151253"/>
                  <a:pt x="429885" y="151234"/>
                  <a:pt x="429641" y="151225"/>
                </a:cubicBezTo>
                <a:lnTo>
                  <a:pt x="429641" y="151225"/>
                </a:lnTo>
                <a:cubicBezTo>
                  <a:pt x="425329" y="151358"/>
                  <a:pt x="421941" y="154959"/>
                  <a:pt x="422072" y="159273"/>
                </a:cubicBezTo>
                <a:cubicBezTo>
                  <a:pt x="422078" y="159473"/>
                  <a:pt x="422093" y="159683"/>
                  <a:pt x="422116" y="159892"/>
                </a:cubicBezTo>
                <a:lnTo>
                  <a:pt x="422116" y="194278"/>
                </a:lnTo>
                <a:lnTo>
                  <a:pt x="404304" y="194278"/>
                </a:lnTo>
                <a:lnTo>
                  <a:pt x="404304" y="146653"/>
                </a:lnTo>
                <a:cubicBezTo>
                  <a:pt x="404727" y="142357"/>
                  <a:pt x="401591" y="138537"/>
                  <a:pt x="397298" y="138118"/>
                </a:cubicBezTo>
                <a:cubicBezTo>
                  <a:pt x="397125" y="138099"/>
                  <a:pt x="396953" y="138090"/>
                  <a:pt x="396780" y="138080"/>
                </a:cubicBezTo>
                <a:lnTo>
                  <a:pt x="396780" y="138080"/>
                </a:lnTo>
                <a:cubicBezTo>
                  <a:pt x="392470" y="138261"/>
                  <a:pt x="389125" y="141909"/>
                  <a:pt x="389309" y="146215"/>
                </a:cubicBezTo>
                <a:cubicBezTo>
                  <a:pt x="389317" y="146396"/>
                  <a:pt x="389330" y="146567"/>
                  <a:pt x="389350" y="146748"/>
                </a:cubicBezTo>
                <a:lnTo>
                  <a:pt x="389350" y="194373"/>
                </a:lnTo>
                <a:lnTo>
                  <a:pt x="371634" y="194373"/>
                </a:lnTo>
                <a:lnTo>
                  <a:pt x="371634" y="159892"/>
                </a:lnTo>
                <a:cubicBezTo>
                  <a:pt x="372108" y="155654"/>
                  <a:pt x="369059" y="151844"/>
                  <a:pt x="364825" y="151368"/>
                </a:cubicBezTo>
                <a:cubicBezTo>
                  <a:pt x="364587" y="151339"/>
                  <a:pt x="364348" y="151320"/>
                  <a:pt x="364109" y="151320"/>
                </a:cubicBezTo>
                <a:cubicBezTo>
                  <a:pt x="359799" y="151501"/>
                  <a:pt x="356455" y="155149"/>
                  <a:pt x="356638" y="159454"/>
                </a:cubicBezTo>
                <a:cubicBezTo>
                  <a:pt x="356646" y="159635"/>
                  <a:pt x="356659" y="159807"/>
                  <a:pt x="356679" y="159988"/>
                </a:cubicBezTo>
                <a:lnTo>
                  <a:pt x="356679" y="194373"/>
                </a:lnTo>
                <a:lnTo>
                  <a:pt x="338868" y="194373"/>
                </a:lnTo>
                <a:lnTo>
                  <a:pt x="338868" y="146748"/>
                </a:lnTo>
                <a:cubicBezTo>
                  <a:pt x="339334" y="142614"/>
                  <a:pt x="336365" y="138890"/>
                  <a:pt x="332235" y="138423"/>
                </a:cubicBezTo>
                <a:cubicBezTo>
                  <a:pt x="328106" y="137956"/>
                  <a:pt x="324380" y="140928"/>
                  <a:pt x="323913" y="145062"/>
                </a:cubicBezTo>
                <a:cubicBezTo>
                  <a:pt x="323850" y="145614"/>
                  <a:pt x="323850" y="146186"/>
                  <a:pt x="323913" y="146748"/>
                </a:cubicBezTo>
                <a:lnTo>
                  <a:pt x="323913" y="194373"/>
                </a:lnTo>
                <a:lnTo>
                  <a:pt x="306102" y="194373"/>
                </a:lnTo>
                <a:lnTo>
                  <a:pt x="306102" y="160083"/>
                </a:lnTo>
                <a:cubicBezTo>
                  <a:pt x="306490" y="156978"/>
                  <a:pt x="304991" y="153949"/>
                  <a:pt x="302292" y="152368"/>
                </a:cubicBezTo>
                <a:lnTo>
                  <a:pt x="298672" y="150272"/>
                </a:lnTo>
                <a:lnTo>
                  <a:pt x="295053" y="152272"/>
                </a:lnTo>
                <a:cubicBezTo>
                  <a:pt x="292406" y="153911"/>
                  <a:pt x="290898" y="156883"/>
                  <a:pt x="291147" y="159988"/>
                </a:cubicBezTo>
                <a:lnTo>
                  <a:pt x="291147" y="194373"/>
                </a:lnTo>
                <a:lnTo>
                  <a:pt x="273431" y="194373"/>
                </a:lnTo>
                <a:lnTo>
                  <a:pt x="273431" y="146748"/>
                </a:lnTo>
                <a:cubicBezTo>
                  <a:pt x="273908" y="142462"/>
                  <a:pt x="270820" y="138595"/>
                  <a:pt x="266533" y="138118"/>
                </a:cubicBezTo>
                <a:cubicBezTo>
                  <a:pt x="266356" y="138099"/>
                  <a:pt x="266178" y="138090"/>
                  <a:pt x="266001" y="138080"/>
                </a:cubicBezTo>
                <a:cubicBezTo>
                  <a:pt x="261586" y="138271"/>
                  <a:pt x="258166" y="142014"/>
                  <a:pt x="258360" y="146424"/>
                </a:cubicBezTo>
                <a:cubicBezTo>
                  <a:pt x="258365" y="146529"/>
                  <a:pt x="258372" y="146643"/>
                  <a:pt x="258381" y="146748"/>
                </a:cubicBezTo>
                <a:lnTo>
                  <a:pt x="258381" y="194373"/>
                </a:lnTo>
                <a:lnTo>
                  <a:pt x="240760" y="194373"/>
                </a:lnTo>
                <a:lnTo>
                  <a:pt x="240760" y="159988"/>
                </a:lnTo>
                <a:cubicBezTo>
                  <a:pt x="241235" y="155701"/>
                  <a:pt x="238145" y="151844"/>
                  <a:pt x="233858" y="151368"/>
                </a:cubicBezTo>
                <a:cubicBezTo>
                  <a:pt x="233652" y="151339"/>
                  <a:pt x="233443" y="151330"/>
                  <a:pt x="233235" y="151320"/>
                </a:cubicBezTo>
                <a:lnTo>
                  <a:pt x="233235" y="151320"/>
                </a:lnTo>
                <a:cubicBezTo>
                  <a:pt x="228976" y="151444"/>
                  <a:pt x="225625" y="154997"/>
                  <a:pt x="225750" y="159254"/>
                </a:cubicBezTo>
                <a:cubicBezTo>
                  <a:pt x="225757" y="159502"/>
                  <a:pt x="225775" y="159749"/>
                  <a:pt x="225806" y="159988"/>
                </a:cubicBezTo>
                <a:lnTo>
                  <a:pt x="225806" y="194373"/>
                </a:lnTo>
                <a:lnTo>
                  <a:pt x="207994" y="194373"/>
                </a:lnTo>
                <a:lnTo>
                  <a:pt x="207994" y="146748"/>
                </a:lnTo>
                <a:cubicBezTo>
                  <a:pt x="208417" y="142452"/>
                  <a:pt x="205280" y="138633"/>
                  <a:pt x="200987" y="138214"/>
                </a:cubicBezTo>
                <a:cubicBezTo>
                  <a:pt x="200815" y="138194"/>
                  <a:pt x="200643" y="138185"/>
                  <a:pt x="200469" y="138175"/>
                </a:cubicBezTo>
                <a:lnTo>
                  <a:pt x="200469" y="138175"/>
                </a:lnTo>
                <a:cubicBezTo>
                  <a:pt x="196159" y="138356"/>
                  <a:pt x="192815" y="142005"/>
                  <a:pt x="192999" y="146310"/>
                </a:cubicBezTo>
                <a:cubicBezTo>
                  <a:pt x="193007" y="146491"/>
                  <a:pt x="193020" y="146662"/>
                  <a:pt x="193040" y="146843"/>
                </a:cubicBezTo>
                <a:lnTo>
                  <a:pt x="193040" y="194468"/>
                </a:lnTo>
                <a:lnTo>
                  <a:pt x="175228" y="194468"/>
                </a:lnTo>
                <a:lnTo>
                  <a:pt x="175228" y="160083"/>
                </a:lnTo>
                <a:cubicBezTo>
                  <a:pt x="175756" y="155854"/>
                  <a:pt x="172756" y="151996"/>
                  <a:pt x="168528" y="151472"/>
                </a:cubicBezTo>
                <a:cubicBezTo>
                  <a:pt x="168286" y="151444"/>
                  <a:pt x="168042" y="151425"/>
                  <a:pt x="167799" y="151415"/>
                </a:cubicBezTo>
                <a:lnTo>
                  <a:pt x="167799" y="151415"/>
                </a:lnTo>
                <a:cubicBezTo>
                  <a:pt x="163487" y="151549"/>
                  <a:pt x="160099" y="155149"/>
                  <a:pt x="160230" y="159464"/>
                </a:cubicBezTo>
                <a:cubicBezTo>
                  <a:pt x="160237" y="159664"/>
                  <a:pt x="160251" y="159873"/>
                  <a:pt x="160274" y="160083"/>
                </a:cubicBezTo>
                <a:lnTo>
                  <a:pt x="160274" y="194468"/>
                </a:lnTo>
                <a:lnTo>
                  <a:pt x="142462" y="194468"/>
                </a:lnTo>
                <a:lnTo>
                  <a:pt x="142462" y="146843"/>
                </a:lnTo>
                <a:cubicBezTo>
                  <a:pt x="143125" y="142690"/>
                  <a:pt x="140294" y="138785"/>
                  <a:pt x="136138" y="138118"/>
                </a:cubicBezTo>
                <a:cubicBezTo>
                  <a:pt x="131983" y="137452"/>
                  <a:pt x="128076" y="140290"/>
                  <a:pt x="127413" y="144443"/>
                </a:cubicBezTo>
                <a:cubicBezTo>
                  <a:pt x="127286" y="145234"/>
                  <a:pt x="127286" y="146043"/>
                  <a:pt x="127413" y="146843"/>
                </a:cubicBezTo>
                <a:lnTo>
                  <a:pt x="127413" y="193135"/>
                </a:lnTo>
                <a:lnTo>
                  <a:pt x="110268" y="191611"/>
                </a:lnTo>
                <a:lnTo>
                  <a:pt x="110268" y="159702"/>
                </a:lnTo>
                <a:cubicBezTo>
                  <a:pt x="110734" y="155568"/>
                  <a:pt x="107765" y="151844"/>
                  <a:pt x="103635" y="151377"/>
                </a:cubicBezTo>
                <a:cubicBezTo>
                  <a:pt x="99506" y="150910"/>
                  <a:pt x="95780" y="153882"/>
                  <a:pt x="95313" y="158016"/>
                </a:cubicBezTo>
                <a:cubicBezTo>
                  <a:pt x="95250" y="158568"/>
                  <a:pt x="95250" y="159140"/>
                  <a:pt x="95313" y="159702"/>
                </a:cubicBezTo>
                <a:lnTo>
                  <a:pt x="95313" y="188944"/>
                </a:lnTo>
                <a:cubicBezTo>
                  <a:pt x="39973" y="180562"/>
                  <a:pt x="14160" y="163988"/>
                  <a:pt x="14160" y="155035"/>
                </a:cubicBezTo>
                <a:lnTo>
                  <a:pt x="14160" y="82168"/>
                </a:lnTo>
                <a:lnTo>
                  <a:pt x="14160" y="82168"/>
                </a:lnTo>
                <a:cubicBezTo>
                  <a:pt x="15932" y="83388"/>
                  <a:pt x="17813" y="84435"/>
                  <a:pt x="19780" y="85312"/>
                </a:cubicBezTo>
                <a:lnTo>
                  <a:pt x="21590" y="86264"/>
                </a:lnTo>
                <a:cubicBezTo>
                  <a:pt x="23781" y="87312"/>
                  <a:pt x="26067" y="88455"/>
                  <a:pt x="28543" y="89503"/>
                </a:cubicBezTo>
                <a:lnTo>
                  <a:pt x="30734" y="90455"/>
                </a:lnTo>
                <a:cubicBezTo>
                  <a:pt x="32544" y="91122"/>
                  <a:pt x="34449" y="91979"/>
                  <a:pt x="36449" y="92646"/>
                </a:cubicBezTo>
                <a:lnTo>
                  <a:pt x="37401" y="92646"/>
                </a:lnTo>
                <a:lnTo>
                  <a:pt x="37401" y="92646"/>
                </a:lnTo>
                <a:lnTo>
                  <a:pt x="39211" y="93313"/>
                </a:lnTo>
                <a:lnTo>
                  <a:pt x="39211" y="93313"/>
                </a:lnTo>
                <a:lnTo>
                  <a:pt x="43116" y="94551"/>
                </a:lnTo>
                <a:lnTo>
                  <a:pt x="47879" y="96075"/>
                </a:lnTo>
                <a:lnTo>
                  <a:pt x="56451" y="98456"/>
                </a:lnTo>
                <a:lnTo>
                  <a:pt x="58452" y="99028"/>
                </a:lnTo>
                <a:lnTo>
                  <a:pt x="67405" y="101123"/>
                </a:lnTo>
                <a:lnTo>
                  <a:pt x="68358" y="101123"/>
                </a:lnTo>
                <a:lnTo>
                  <a:pt x="78740" y="103123"/>
                </a:lnTo>
                <a:lnTo>
                  <a:pt x="79692" y="103123"/>
                </a:lnTo>
                <a:lnTo>
                  <a:pt x="84836" y="104076"/>
                </a:lnTo>
                <a:lnTo>
                  <a:pt x="90646" y="105028"/>
                </a:lnTo>
                <a:lnTo>
                  <a:pt x="101886" y="106648"/>
                </a:lnTo>
                <a:lnTo>
                  <a:pt x="103600" y="106648"/>
                </a:lnTo>
                <a:lnTo>
                  <a:pt x="114459" y="107886"/>
                </a:lnTo>
                <a:lnTo>
                  <a:pt x="128841" y="109124"/>
                </a:lnTo>
                <a:lnTo>
                  <a:pt x="139605" y="109791"/>
                </a:lnTo>
                <a:lnTo>
                  <a:pt x="141510" y="109791"/>
                </a:lnTo>
                <a:cubicBezTo>
                  <a:pt x="143986" y="109791"/>
                  <a:pt x="146463" y="109791"/>
                  <a:pt x="148939" y="109791"/>
                </a:cubicBezTo>
                <a:lnTo>
                  <a:pt x="155035" y="109791"/>
                </a:lnTo>
                <a:lnTo>
                  <a:pt x="166656" y="109791"/>
                </a:lnTo>
                <a:lnTo>
                  <a:pt x="461645" y="109791"/>
                </a:lnTo>
                <a:close/>
                <a:moveTo>
                  <a:pt x="167418" y="80930"/>
                </a:moveTo>
                <a:cubicBezTo>
                  <a:pt x="195135" y="80930"/>
                  <a:pt x="227520" y="73501"/>
                  <a:pt x="227520" y="52355"/>
                </a:cubicBezTo>
                <a:cubicBezTo>
                  <a:pt x="227520" y="31210"/>
                  <a:pt x="195231" y="24542"/>
                  <a:pt x="167513" y="24542"/>
                </a:cubicBezTo>
                <a:cubicBezTo>
                  <a:pt x="139795" y="24542"/>
                  <a:pt x="107410" y="31876"/>
                  <a:pt x="107410" y="52355"/>
                </a:cubicBezTo>
                <a:cubicBezTo>
                  <a:pt x="107410" y="72834"/>
                  <a:pt x="139795" y="80930"/>
                  <a:pt x="167418" y="80930"/>
                </a:cubicBezTo>
                <a:close/>
                <a:moveTo>
                  <a:pt x="167418" y="39115"/>
                </a:moveTo>
                <a:cubicBezTo>
                  <a:pt x="178964" y="38906"/>
                  <a:pt x="190470" y="40516"/>
                  <a:pt x="201517" y="43878"/>
                </a:cubicBezTo>
                <a:cubicBezTo>
                  <a:pt x="208756" y="46450"/>
                  <a:pt x="213328" y="49783"/>
                  <a:pt x="213328" y="52736"/>
                </a:cubicBezTo>
                <a:cubicBezTo>
                  <a:pt x="213328" y="58642"/>
                  <a:pt x="195802" y="66738"/>
                  <a:pt x="167322" y="66738"/>
                </a:cubicBezTo>
                <a:cubicBezTo>
                  <a:pt x="138843" y="66738"/>
                  <a:pt x="121507" y="58642"/>
                  <a:pt x="121507" y="52736"/>
                </a:cubicBezTo>
                <a:cubicBezTo>
                  <a:pt x="121507" y="46831"/>
                  <a:pt x="140462" y="39496"/>
                  <a:pt x="167418" y="39496"/>
                </a:cubicBezTo>
                <a:close/>
              </a:path>
            </a:pathLst>
          </a:custGeom>
          <a:solidFill>
            <a:srgbClr val="222760"/>
          </a:solidFill>
          <a:ln w="9525" cap="flat">
            <a:noFill/>
            <a:prstDash val="solid"/>
            <a:miter/>
          </a:ln>
        </p:spPr>
        <p:txBody>
          <a:bodyPr rtlCol="0" anchor="ctr"/>
          <a:lstStyle/>
          <a:p>
            <a:pPr defTabSz="906912">
              <a:defRPr/>
            </a:pPr>
            <a:endParaRPr lang="en-GB" sz="1092">
              <a:solidFill>
                <a:srgbClr val="000000"/>
              </a:solidFill>
              <a:cs typeface="Arial" panose="020B0604020202020204" pitchFamily="34" charset="0"/>
            </a:endParaRPr>
          </a:p>
        </p:txBody>
      </p:sp>
      <p:sp>
        <p:nvSpPr>
          <p:cNvPr id="174" name="TextBox 173">
            <a:extLst>
              <a:ext uri="{FF2B5EF4-FFF2-40B4-BE49-F238E27FC236}">
                <a16:creationId xmlns:a16="http://schemas.microsoft.com/office/drawing/2014/main" id="{1F2690FE-56FE-CC6E-24E5-B406E2B7A8C6}"/>
              </a:ext>
            </a:extLst>
          </p:cNvPr>
          <p:cNvSpPr txBox="1"/>
          <p:nvPr/>
        </p:nvSpPr>
        <p:spPr>
          <a:xfrm>
            <a:off x="4703015" y="-683504"/>
            <a:ext cx="1524882" cy="401264"/>
          </a:xfrm>
          <a:prstGeom prst="rect">
            <a:avLst/>
          </a:prstGeom>
          <a:noFill/>
        </p:spPr>
        <p:txBody>
          <a:bodyPr wrap="square">
            <a:spAutoFit/>
          </a:bodyPr>
          <a:lstStyle/>
          <a:p>
            <a:pPr lvl="0" algn="ctr">
              <a:lnSpc>
                <a:spcPct val="120000"/>
              </a:lnSpc>
              <a:defRPr/>
            </a:pPr>
            <a:r>
              <a:rPr lang="en-GB" b="1" dirty="0">
                <a:solidFill>
                  <a:srgbClr val="001965"/>
                </a:solidFill>
              </a:rPr>
              <a:t>SEMALEAN</a:t>
            </a:r>
          </a:p>
        </p:txBody>
      </p:sp>
      <p:sp>
        <p:nvSpPr>
          <p:cNvPr id="175" name="Rectangle: Rounded Corners 174">
            <a:extLst>
              <a:ext uri="{FF2B5EF4-FFF2-40B4-BE49-F238E27FC236}">
                <a16:creationId xmlns:a16="http://schemas.microsoft.com/office/drawing/2014/main" id="{02873BAD-A56B-9313-290C-275218A4F315}"/>
              </a:ext>
            </a:extLst>
          </p:cNvPr>
          <p:cNvSpPr/>
          <p:nvPr/>
        </p:nvSpPr>
        <p:spPr>
          <a:xfrm>
            <a:off x="4003871" y="5050656"/>
            <a:ext cx="8063367" cy="1010504"/>
          </a:xfrm>
          <a:prstGeom prst="roundRect">
            <a:avLst>
              <a:gd name="adj" fmla="val 1749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sp>
        <p:nvSpPr>
          <p:cNvPr id="186" name="Rectangle 185">
            <a:extLst>
              <a:ext uri="{FF2B5EF4-FFF2-40B4-BE49-F238E27FC236}">
                <a16:creationId xmlns:a16="http://schemas.microsoft.com/office/drawing/2014/main" id="{BFE0031C-E4E0-4CEB-CF8A-EE167E1D5AF2}"/>
              </a:ext>
            </a:extLst>
          </p:cNvPr>
          <p:cNvSpPr/>
          <p:nvPr/>
        </p:nvSpPr>
        <p:spPr>
          <a:xfrm>
            <a:off x="3943016" y="3836536"/>
            <a:ext cx="4001814" cy="528000"/>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3B97DE"/>
              </a:solidFill>
              <a:effectLst/>
              <a:uLnTx/>
              <a:uFillTx/>
              <a:latin typeface="Apis For Office"/>
              <a:ea typeface="+mn-ea"/>
              <a:cs typeface="+mn-cs"/>
            </a:endParaRPr>
          </a:p>
        </p:txBody>
      </p:sp>
      <p:grpSp>
        <p:nvGrpSpPr>
          <p:cNvPr id="187" name="Group 186">
            <a:extLst>
              <a:ext uri="{FF2B5EF4-FFF2-40B4-BE49-F238E27FC236}">
                <a16:creationId xmlns:a16="http://schemas.microsoft.com/office/drawing/2014/main" id="{BBC119DA-CF27-77CB-A40C-31F84528BD7A}"/>
              </a:ext>
            </a:extLst>
          </p:cNvPr>
          <p:cNvGrpSpPr/>
          <p:nvPr/>
        </p:nvGrpSpPr>
        <p:grpSpPr>
          <a:xfrm>
            <a:off x="4045516" y="3584946"/>
            <a:ext cx="1968000" cy="803677"/>
            <a:chOff x="3170501" y="1917166"/>
            <a:chExt cx="1968000" cy="803677"/>
          </a:xfrm>
        </p:grpSpPr>
        <p:sp>
          <p:nvSpPr>
            <p:cNvPr id="188" name="Rounded Rectangle 5">
              <a:extLst>
                <a:ext uri="{FF2B5EF4-FFF2-40B4-BE49-F238E27FC236}">
                  <a16:creationId xmlns:a16="http://schemas.microsoft.com/office/drawing/2014/main" id="{80F518CC-4BAB-EF85-5A38-EA04D54639EF}"/>
                </a:ext>
              </a:extLst>
            </p:cNvPr>
            <p:cNvSpPr/>
            <p:nvPr/>
          </p:nvSpPr>
          <p:spPr>
            <a:xfrm>
              <a:off x="3248284" y="1917166"/>
              <a:ext cx="1741969"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Mean Fat Mass</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189" name="Rounded Rectangle 11">
              <a:extLst>
                <a:ext uri="{FF2B5EF4-FFF2-40B4-BE49-F238E27FC236}">
                  <a16:creationId xmlns:a16="http://schemas.microsoft.com/office/drawing/2014/main" id="{A76D3E78-F6C4-BB97-39E9-434D2DF70D31}"/>
                </a:ext>
              </a:extLst>
            </p:cNvPr>
            <p:cNvSpPr/>
            <p:nvPr/>
          </p:nvSpPr>
          <p:spPr>
            <a:xfrm>
              <a:off x="3170501" y="2192843"/>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65.5 Kg / 51.8 %</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grpSp>
      <p:grpSp>
        <p:nvGrpSpPr>
          <p:cNvPr id="197" name="Group 196">
            <a:extLst>
              <a:ext uri="{FF2B5EF4-FFF2-40B4-BE49-F238E27FC236}">
                <a16:creationId xmlns:a16="http://schemas.microsoft.com/office/drawing/2014/main" id="{168EB68D-3A6E-1DB2-1979-CA8316417AF5}"/>
              </a:ext>
            </a:extLst>
          </p:cNvPr>
          <p:cNvGrpSpPr>
            <a:grpSpLocks noChangeAspect="1"/>
          </p:cNvGrpSpPr>
          <p:nvPr/>
        </p:nvGrpSpPr>
        <p:grpSpPr>
          <a:xfrm>
            <a:off x="4722216" y="3135430"/>
            <a:ext cx="422817" cy="412694"/>
            <a:chOff x="6653881" y="3494653"/>
            <a:chExt cx="572918" cy="559200"/>
          </a:xfrm>
          <a:solidFill>
            <a:srgbClr val="FFFFFF"/>
          </a:solidFill>
        </p:grpSpPr>
        <p:sp>
          <p:nvSpPr>
            <p:cNvPr id="198" name="Freeform 30">
              <a:extLst>
                <a:ext uri="{FF2B5EF4-FFF2-40B4-BE49-F238E27FC236}">
                  <a16:creationId xmlns:a16="http://schemas.microsoft.com/office/drawing/2014/main" id="{1625C9E3-57AC-ECC6-105A-9BC0E3659F42}"/>
                </a:ext>
              </a:extLst>
            </p:cNvPr>
            <p:cNvSpPr>
              <a:spLocks/>
            </p:cNvSpPr>
            <p:nvPr/>
          </p:nvSpPr>
          <p:spPr bwMode="auto">
            <a:xfrm>
              <a:off x="6969389" y="3637479"/>
              <a:ext cx="257410" cy="258216"/>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199" name="Freeform 31">
              <a:extLst>
                <a:ext uri="{FF2B5EF4-FFF2-40B4-BE49-F238E27FC236}">
                  <a16:creationId xmlns:a16="http://schemas.microsoft.com/office/drawing/2014/main" id="{B235EE0A-4C25-72A7-1AE3-B4BEA18D5D49}"/>
                </a:ext>
              </a:extLst>
            </p:cNvPr>
            <p:cNvSpPr>
              <a:spLocks/>
            </p:cNvSpPr>
            <p:nvPr/>
          </p:nvSpPr>
          <p:spPr bwMode="auto">
            <a:xfrm>
              <a:off x="7175156" y="3752869"/>
              <a:ext cx="19366" cy="48416"/>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0" name="Freeform 32">
              <a:extLst>
                <a:ext uri="{FF2B5EF4-FFF2-40B4-BE49-F238E27FC236}">
                  <a16:creationId xmlns:a16="http://schemas.microsoft.com/office/drawing/2014/main" id="{BCD494B6-17A8-4F8A-31A9-6311D28C82F3}"/>
                </a:ext>
              </a:extLst>
            </p:cNvPr>
            <p:cNvSpPr>
              <a:spLocks/>
            </p:cNvSpPr>
            <p:nvPr/>
          </p:nvSpPr>
          <p:spPr bwMode="auto">
            <a:xfrm>
              <a:off x="6849964" y="3785953"/>
              <a:ext cx="269514" cy="267900"/>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1" name="Freeform 33">
              <a:extLst>
                <a:ext uri="{FF2B5EF4-FFF2-40B4-BE49-F238E27FC236}">
                  <a16:creationId xmlns:a16="http://schemas.microsoft.com/office/drawing/2014/main" id="{2BE0CEC4-377B-13EB-80CC-849F891760CE}"/>
                </a:ext>
              </a:extLst>
            </p:cNvPr>
            <p:cNvSpPr>
              <a:spLocks/>
            </p:cNvSpPr>
            <p:nvPr/>
          </p:nvSpPr>
          <p:spPr bwMode="auto">
            <a:xfrm>
              <a:off x="7025067" y="3966705"/>
              <a:ext cx="40346" cy="37119"/>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2" name="Freeform 34">
              <a:extLst>
                <a:ext uri="{FF2B5EF4-FFF2-40B4-BE49-F238E27FC236}">
                  <a16:creationId xmlns:a16="http://schemas.microsoft.com/office/drawing/2014/main" id="{A4CAEA4E-8003-E7F8-55C4-CFDDAC26A3C8}"/>
                </a:ext>
              </a:extLst>
            </p:cNvPr>
            <p:cNvSpPr>
              <a:spLocks/>
            </p:cNvSpPr>
            <p:nvPr/>
          </p:nvSpPr>
          <p:spPr bwMode="auto">
            <a:xfrm>
              <a:off x="6828984" y="3494653"/>
              <a:ext cx="272741" cy="275969"/>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3" name="Freeform 35">
              <a:extLst>
                <a:ext uri="{FF2B5EF4-FFF2-40B4-BE49-F238E27FC236}">
                  <a16:creationId xmlns:a16="http://schemas.microsoft.com/office/drawing/2014/main" id="{1586D156-93E9-17FA-F6CF-10648B2B2BC4}"/>
                </a:ext>
              </a:extLst>
            </p:cNvPr>
            <p:cNvSpPr>
              <a:spLocks/>
            </p:cNvSpPr>
            <p:nvPr/>
          </p:nvSpPr>
          <p:spPr bwMode="auto">
            <a:xfrm>
              <a:off x="7033137" y="3572118"/>
              <a:ext cx="26629" cy="45995"/>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4" name="Freeform 36">
              <a:extLst>
                <a:ext uri="{FF2B5EF4-FFF2-40B4-BE49-F238E27FC236}">
                  <a16:creationId xmlns:a16="http://schemas.microsoft.com/office/drawing/2014/main" id="{BCC07CEB-726C-B4A2-2AEC-941634C6E8DE}"/>
                </a:ext>
              </a:extLst>
            </p:cNvPr>
            <p:cNvSpPr>
              <a:spLocks/>
            </p:cNvSpPr>
            <p:nvPr/>
          </p:nvSpPr>
          <p:spPr bwMode="auto">
            <a:xfrm>
              <a:off x="6653881" y="3556786"/>
              <a:ext cx="272741" cy="273548"/>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5" name="Freeform 37">
              <a:extLst>
                <a:ext uri="{FF2B5EF4-FFF2-40B4-BE49-F238E27FC236}">
                  <a16:creationId xmlns:a16="http://schemas.microsoft.com/office/drawing/2014/main" id="{CD2CE287-CE1A-0438-2D1B-34BA4376DF50}"/>
                </a:ext>
              </a:extLst>
            </p:cNvPr>
            <p:cNvSpPr>
              <a:spLocks/>
            </p:cNvSpPr>
            <p:nvPr/>
          </p:nvSpPr>
          <p:spPr bwMode="auto">
            <a:xfrm>
              <a:off x="6719242" y="3748835"/>
              <a:ext cx="41960" cy="34698"/>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6" name="Freeform 38">
              <a:extLst>
                <a:ext uri="{FF2B5EF4-FFF2-40B4-BE49-F238E27FC236}">
                  <a16:creationId xmlns:a16="http://schemas.microsoft.com/office/drawing/2014/main" id="{BC7D8C67-F1EC-9E9F-32DA-4DF5973E2BF1}"/>
                </a:ext>
              </a:extLst>
            </p:cNvPr>
            <p:cNvSpPr>
              <a:spLocks/>
            </p:cNvSpPr>
            <p:nvPr/>
          </p:nvSpPr>
          <p:spPr bwMode="auto">
            <a:xfrm>
              <a:off x="6849964" y="3618113"/>
              <a:ext cx="269514" cy="269513"/>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7" name="Freeform 39">
              <a:extLst>
                <a:ext uri="{FF2B5EF4-FFF2-40B4-BE49-F238E27FC236}">
                  <a16:creationId xmlns:a16="http://schemas.microsoft.com/office/drawing/2014/main" id="{7CD2D1BC-2459-09C2-2C06-46B1A5047AAB}"/>
                </a:ext>
              </a:extLst>
            </p:cNvPr>
            <p:cNvSpPr>
              <a:spLocks/>
            </p:cNvSpPr>
            <p:nvPr/>
          </p:nvSpPr>
          <p:spPr bwMode="auto">
            <a:xfrm>
              <a:off x="7025067" y="3798864"/>
              <a:ext cx="40346" cy="37119"/>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8" name="Freeform 40">
              <a:extLst>
                <a:ext uri="{FF2B5EF4-FFF2-40B4-BE49-F238E27FC236}">
                  <a16:creationId xmlns:a16="http://schemas.microsoft.com/office/drawing/2014/main" id="{EC7193FF-5AE5-25AD-9115-60CB2FCE50B7}"/>
                </a:ext>
              </a:extLst>
            </p:cNvPr>
            <p:cNvSpPr>
              <a:spLocks/>
            </p:cNvSpPr>
            <p:nvPr/>
          </p:nvSpPr>
          <p:spPr bwMode="auto">
            <a:xfrm>
              <a:off x="6703910" y="3772236"/>
              <a:ext cx="261444" cy="262251"/>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09" name="Freeform 41">
              <a:extLst>
                <a:ext uri="{FF2B5EF4-FFF2-40B4-BE49-F238E27FC236}">
                  <a16:creationId xmlns:a16="http://schemas.microsoft.com/office/drawing/2014/main" id="{D5DDFE6E-4606-6E86-CCEA-672BBD51A984}"/>
                </a:ext>
              </a:extLst>
            </p:cNvPr>
            <p:cNvSpPr>
              <a:spLocks/>
            </p:cNvSpPr>
            <p:nvPr/>
          </p:nvSpPr>
          <p:spPr bwMode="auto">
            <a:xfrm>
              <a:off x="6738608" y="3897309"/>
              <a:ext cx="20980" cy="48416"/>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grpSp>
      <p:sp>
        <p:nvSpPr>
          <p:cNvPr id="210" name="Freeform: Shape 209">
            <a:extLst>
              <a:ext uri="{FF2B5EF4-FFF2-40B4-BE49-F238E27FC236}">
                <a16:creationId xmlns:a16="http://schemas.microsoft.com/office/drawing/2014/main" id="{118C7F6A-D8BD-B7CD-AA5C-6BC7F14C4445}"/>
              </a:ext>
            </a:extLst>
          </p:cNvPr>
          <p:cNvSpPr/>
          <p:nvPr/>
        </p:nvSpPr>
        <p:spPr>
          <a:xfrm>
            <a:off x="6833873" y="3209572"/>
            <a:ext cx="333852" cy="293091"/>
          </a:xfrm>
          <a:custGeom>
            <a:avLst/>
            <a:gdLst>
              <a:gd name="connsiteX0" fmla="*/ 2562331 w 2571518"/>
              <a:gd name="connsiteY0" fmla="*/ 367026 h 2571532"/>
              <a:gd name="connsiteX1" fmla="*/ 2443459 w 2571518"/>
              <a:gd name="connsiteY1" fmla="*/ 247678 h 2571532"/>
              <a:gd name="connsiteX2" fmla="*/ 2323539 w 2571518"/>
              <a:gd name="connsiteY2" fmla="*/ 128330 h 2571532"/>
              <a:gd name="connsiteX3" fmla="*/ 2204095 w 2571518"/>
              <a:gd name="connsiteY3" fmla="*/ 9077 h 2571532"/>
              <a:gd name="connsiteX4" fmla="*/ 2157899 w 2571518"/>
              <a:gd name="connsiteY4" fmla="*/ 9077 h 2571532"/>
              <a:gd name="connsiteX5" fmla="*/ 1905963 w 2571518"/>
              <a:gd name="connsiteY5" fmla="*/ 190814 h 2571532"/>
              <a:gd name="connsiteX6" fmla="*/ 1829191 w 2571518"/>
              <a:gd name="connsiteY6" fmla="*/ 218912 h 2571532"/>
              <a:gd name="connsiteX7" fmla="*/ 1804426 w 2571518"/>
              <a:gd name="connsiteY7" fmla="*/ 224627 h 2571532"/>
              <a:gd name="connsiteX8" fmla="*/ 1803188 w 2571518"/>
              <a:gd name="connsiteY8" fmla="*/ 224627 h 2571532"/>
              <a:gd name="connsiteX9" fmla="*/ 1802617 w 2571518"/>
              <a:gd name="connsiteY9" fmla="*/ 224627 h 2571532"/>
              <a:gd name="connsiteX10" fmla="*/ 1793092 w 2571518"/>
              <a:gd name="connsiteY10" fmla="*/ 225580 h 2571532"/>
              <a:gd name="connsiteX11" fmla="*/ 547984 w 2571518"/>
              <a:gd name="connsiteY11" fmla="*/ 1068923 h 2571532"/>
              <a:gd name="connsiteX12" fmla="*/ 279379 w 2571518"/>
              <a:gd name="connsiteY12" fmla="*/ 1604133 h 2571532"/>
              <a:gd name="connsiteX13" fmla="*/ 190415 w 2571518"/>
              <a:gd name="connsiteY13" fmla="*/ 1906837 h 2571532"/>
              <a:gd name="connsiteX14" fmla="*/ 9440 w 2571518"/>
              <a:gd name="connsiteY14" fmla="*/ 2157441 h 2571532"/>
              <a:gd name="connsiteX15" fmla="*/ 9440 w 2571518"/>
              <a:gd name="connsiteY15" fmla="*/ 2203637 h 2571532"/>
              <a:gd name="connsiteX16" fmla="*/ 128883 w 2571518"/>
              <a:gd name="connsiteY16" fmla="*/ 2322985 h 2571532"/>
              <a:gd name="connsiteX17" fmla="*/ 248136 w 2571518"/>
              <a:gd name="connsiteY17" fmla="*/ 2442238 h 2571532"/>
              <a:gd name="connsiteX18" fmla="*/ 367580 w 2571518"/>
              <a:gd name="connsiteY18" fmla="*/ 2561586 h 2571532"/>
              <a:gd name="connsiteX19" fmla="*/ 391488 w 2571518"/>
              <a:gd name="connsiteY19" fmla="*/ 2571111 h 2571532"/>
              <a:gd name="connsiteX20" fmla="*/ 413967 w 2571518"/>
              <a:gd name="connsiteY20" fmla="*/ 2561586 h 2571532"/>
              <a:gd name="connsiteX21" fmla="*/ 743341 w 2571518"/>
              <a:gd name="connsiteY21" fmla="*/ 2353751 h 2571532"/>
              <a:gd name="connsiteX22" fmla="*/ 958035 w 2571518"/>
              <a:gd name="connsiteY22" fmla="*/ 2294696 h 2571532"/>
              <a:gd name="connsiteX23" fmla="*/ 1165680 w 2571518"/>
              <a:gd name="connsiteY23" fmla="*/ 2214305 h 2571532"/>
              <a:gd name="connsiteX24" fmla="*/ 1895200 w 2571518"/>
              <a:gd name="connsiteY24" fmla="*/ 1668141 h 2571532"/>
              <a:gd name="connsiteX25" fmla="*/ 2280295 w 2571518"/>
              <a:gd name="connsiteY25" fmla="*/ 1012249 h 2571532"/>
              <a:gd name="connsiteX26" fmla="*/ 2343827 w 2571518"/>
              <a:gd name="connsiteY26" fmla="*/ 807367 h 2571532"/>
              <a:gd name="connsiteX27" fmla="*/ 2353352 w 2571518"/>
              <a:gd name="connsiteY27" fmla="*/ 754122 h 2571532"/>
              <a:gd name="connsiteX28" fmla="*/ 2353352 w 2571518"/>
              <a:gd name="connsiteY28" fmla="*/ 747264 h 2571532"/>
              <a:gd name="connsiteX29" fmla="*/ 2428028 w 2571518"/>
              <a:gd name="connsiteY29" fmla="*/ 574862 h 2571532"/>
              <a:gd name="connsiteX30" fmla="*/ 2562140 w 2571518"/>
              <a:gd name="connsiteY30" fmla="*/ 413413 h 2571532"/>
              <a:gd name="connsiteX31" fmla="*/ 2562140 w 2571518"/>
              <a:gd name="connsiteY31" fmla="*/ 367216 h 2571532"/>
              <a:gd name="connsiteX32" fmla="*/ 1561253 w 2571518"/>
              <a:gd name="connsiteY32" fmla="*/ 1560604 h 2571532"/>
              <a:gd name="connsiteX33" fmla="*/ 1265026 w 2571518"/>
              <a:gd name="connsiteY33" fmla="*/ 1773487 h 2571532"/>
              <a:gd name="connsiteX34" fmla="*/ 975370 w 2571518"/>
              <a:gd name="connsiteY34" fmla="*/ 1889121 h 2571532"/>
              <a:gd name="connsiteX35" fmla="*/ 609610 w 2571518"/>
              <a:gd name="connsiteY35" fmla="*/ 2096385 h 2571532"/>
              <a:gd name="connsiteX36" fmla="*/ 565128 w 2571518"/>
              <a:gd name="connsiteY36" fmla="*/ 2128294 h 2571532"/>
              <a:gd name="connsiteX37" fmla="*/ 711528 w 2571518"/>
              <a:gd name="connsiteY37" fmla="*/ 1907600 h 2571532"/>
              <a:gd name="connsiteX38" fmla="*/ 923650 w 2571518"/>
              <a:gd name="connsiteY38" fmla="*/ 1798348 h 2571532"/>
              <a:gd name="connsiteX39" fmla="*/ 939080 w 2571518"/>
              <a:gd name="connsiteY39" fmla="*/ 1791680 h 2571532"/>
              <a:gd name="connsiteX40" fmla="*/ 947557 w 2571518"/>
              <a:gd name="connsiteY40" fmla="*/ 1787966 h 2571532"/>
              <a:gd name="connsiteX41" fmla="*/ 1285981 w 2571518"/>
              <a:gd name="connsiteY41" fmla="*/ 1643091 h 2571532"/>
              <a:gd name="connsiteX42" fmla="*/ 1584970 w 2571518"/>
              <a:gd name="connsiteY42" fmla="*/ 1372390 h 2571532"/>
              <a:gd name="connsiteX43" fmla="*/ 1732513 w 2571518"/>
              <a:gd name="connsiteY43" fmla="*/ 1094355 h 2571532"/>
              <a:gd name="connsiteX44" fmla="*/ 1880722 w 2571518"/>
              <a:gd name="connsiteY44" fmla="*/ 756980 h 2571532"/>
              <a:gd name="connsiteX45" fmla="*/ 1905105 w 2571518"/>
              <a:gd name="connsiteY45" fmla="*/ 713736 h 2571532"/>
              <a:gd name="connsiteX46" fmla="*/ 2117227 w 2571518"/>
              <a:gd name="connsiteY46" fmla="*/ 574099 h 2571532"/>
              <a:gd name="connsiteX47" fmla="*/ 1932633 w 2571518"/>
              <a:gd name="connsiteY47" fmla="*/ 886234 h 2571532"/>
              <a:gd name="connsiteX48" fmla="*/ 1715368 w 2571518"/>
              <a:gd name="connsiteY48" fmla="*/ 1366484 h 2571532"/>
              <a:gd name="connsiteX49" fmla="*/ 1561253 w 2571518"/>
              <a:gd name="connsiteY49" fmla="*/ 1560508 h 2571532"/>
              <a:gd name="connsiteX50" fmla="*/ 2373545 w 2571518"/>
              <a:gd name="connsiteY50" fmla="*/ 271205 h 2571532"/>
              <a:gd name="connsiteX51" fmla="*/ 1983592 w 2571518"/>
              <a:gd name="connsiteY51" fmla="*/ 588197 h 2571532"/>
              <a:gd name="connsiteX52" fmla="*/ 2300584 w 2571518"/>
              <a:gd name="connsiteY52" fmla="*/ 197957 h 2571532"/>
              <a:gd name="connsiteX53" fmla="*/ 2373259 w 2571518"/>
              <a:gd name="connsiteY53" fmla="*/ 270728 h 2571532"/>
              <a:gd name="connsiteX54" fmla="*/ 1857862 w 2571518"/>
              <a:gd name="connsiteY54" fmla="*/ 666206 h 2571532"/>
              <a:gd name="connsiteX55" fmla="*/ 1632691 w 2571518"/>
              <a:gd name="connsiteY55" fmla="*/ 780030 h 2571532"/>
              <a:gd name="connsiteX56" fmla="*/ 1623166 w 2571518"/>
              <a:gd name="connsiteY56" fmla="*/ 784221 h 2571532"/>
              <a:gd name="connsiteX57" fmla="*/ 1423903 w 2571518"/>
              <a:gd name="connsiteY57" fmla="*/ 859088 h 2571532"/>
              <a:gd name="connsiteX58" fmla="*/ 1245023 w 2571518"/>
              <a:gd name="connsiteY58" fmla="*/ 953861 h 2571532"/>
              <a:gd name="connsiteX59" fmla="*/ 958702 w 2571518"/>
              <a:gd name="connsiteY59" fmla="*/ 1237897 h 2571532"/>
              <a:gd name="connsiteX60" fmla="*/ 824685 w 2571518"/>
              <a:gd name="connsiteY60" fmla="*/ 1519075 h 2571532"/>
              <a:gd name="connsiteX61" fmla="*/ 783537 w 2571518"/>
              <a:gd name="connsiteY61" fmla="*/ 1623850 h 2571532"/>
              <a:gd name="connsiteX62" fmla="*/ 779632 w 2571518"/>
              <a:gd name="connsiteY62" fmla="*/ 1632804 h 2571532"/>
              <a:gd name="connsiteX63" fmla="*/ 695716 w 2571518"/>
              <a:gd name="connsiteY63" fmla="*/ 1802920 h 2571532"/>
              <a:gd name="connsiteX64" fmla="*/ 663617 w 2571518"/>
              <a:gd name="connsiteY64" fmla="*/ 1860070 h 2571532"/>
              <a:gd name="connsiteX65" fmla="*/ 449495 w 2571518"/>
              <a:gd name="connsiteY65" fmla="*/ 2001230 h 2571532"/>
              <a:gd name="connsiteX66" fmla="*/ 697907 w 2571518"/>
              <a:gd name="connsiteY66" fmla="*/ 1559937 h 2571532"/>
              <a:gd name="connsiteX67" fmla="*/ 774107 w 2571518"/>
              <a:gd name="connsiteY67" fmla="*/ 1358007 h 2571532"/>
              <a:gd name="connsiteX68" fmla="*/ 1149773 w 2571518"/>
              <a:gd name="connsiteY68" fmla="*/ 893854 h 2571532"/>
              <a:gd name="connsiteX69" fmla="*/ 1433809 w 2571518"/>
              <a:gd name="connsiteY69" fmla="*/ 744121 h 2571532"/>
              <a:gd name="connsiteX70" fmla="*/ 1719559 w 2571518"/>
              <a:gd name="connsiteY70" fmla="*/ 622868 h 2571532"/>
              <a:gd name="connsiteX71" fmla="*/ 2001403 w 2571518"/>
              <a:gd name="connsiteY71" fmla="*/ 449227 h 2571532"/>
              <a:gd name="connsiteX72" fmla="*/ 1858528 w 2571518"/>
              <a:gd name="connsiteY72" fmla="*/ 665730 h 2571532"/>
              <a:gd name="connsiteX73" fmla="*/ 1745943 w 2571518"/>
              <a:gd name="connsiteY73" fmla="*/ 882138 h 2571532"/>
              <a:gd name="connsiteX74" fmla="*/ 1732893 w 2571518"/>
              <a:gd name="connsiteY74" fmla="*/ 912237 h 2571532"/>
              <a:gd name="connsiteX75" fmla="*/ 1176634 w 2571518"/>
              <a:gd name="connsiteY75" fmla="*/ 1467735 h 2571532"/>
              <a:gd name="connsiteX76" fmla="*/ 911838 w 2571518"/>
              <a:gd name="connsiteY76" fmla="*/ 1732721 h 2571532"/>
              <a:gd name="connsiteX77" fmla="*/ 771249 w 2571518"/>
              <a:gd name="connsiteY77" fmla="*/ 1800253 h 2571532"/>
              <a:gd name="connsiteX78" fmla="*/ 822875 w 2571518"/>
              <a:gd name="connsiteY78" fmla="*/ 1694906 h 2571532"/>
              <a:gd name="connsiteX79" fmla="*/ 838210 w 2571518"/>
              <a:gd name="connsiteY79" fmla="*/ 1659950 h 2571532"/>
              <a:gd name="connsiteX80" fmla="*/ 1394566 w 2571518"/>
              <a:gd name="connsiteY80" fmla="*/ 1103595 h 2571532"/>
              <a:gd name="connsiteX81" fmla="*/ 1659265 w 2571518"/>
              <a:gd name="connsiteY81" fmla="*/ 838704 h 2571532"/>
              <a:gd name="connsiteX82" fmla="*/ 1798711 w 2571518"/>
              <a:gd name="connsiteY82" fmla="*/ 772505 h 2571532"/>
              <a:gd name="connsiteX83" fmla="*/ 1745943 w 2571518"/>
              <a:gd name="connsiteY83" fmla="*/ 881662 h 2571532"/>
              <a:gd name="connsiteX84" fmla="*/ 1673648 w 2571518"/>
              <a:gd name="connsiteY84" fmla="*/ 1063780 h 2571532"/>
              <a:gd name="connsiteX85" fmla="*/ 1574683 w 2571518"/>
              <a:gd name="connsiteY85" fmla="*/ 1273330 h 2571532"/>
              <a:gd name="connsiteX86" fmla="*/ 1294077 w 2571518"/>
              <a:gd name="connsiteY86" fmla="*/ 1560985 h 2571532"/>
              <a:gd name="connsiteX87" fmla="*/ 1064334 w 2571518"/>
              <a:gd name="connsiteY87" fmla="*/ 1672809 h 2571532"/>
              <a:gd name="connsiteX88" fmla="*/ 1513723 w 2571518"/>
              <a:gd name="connsiteY88" fmla="*/ 1223419 h 2571532"/>
              <a:gd name="connsiteX89" fmla="*/ 1673743 w 2571518"/>
              <a:gd name="connsiteY89" fmla="*/ 1063589 h 2571532"/>
              <a:gd name="connsiteX90" fmla="*/ 896598 w 2571518"/>
              <a:gd name="connsiteY90" fmla="*/ 1509455 h 2571532"/>
              <a:gd name="connsiteX91" fmla="*/ 976609 w 2571518"/>
              <a:gd name="connsiteY91" fmla="*/ 1332195 h 2571532"/>
              <a:gd name="connsiteX92" fmla="*/ 1244928 w 2571518"/>
              <a:gd name="connsiteY92" fmla="*/ 1033205 h 2571532"/>
              <a:gd name="connsiteX93" fmla="*/ 1508866 w 2571518"/>
              <a:gd name="connsiteY93" fmla="*/ 897188 h 2571532"/>
              <a:gd name="connsiteX94" fmla="*/ 1057571 w 2571518"/>
              <a:gd name="connsiteY94" fmla="*/ 1348292 h 2571532"/>
              <a:gd name="connsiteX95" fmla="*/ 896598 w 2571518"/>
              <a:gd name="connsiteY95" fmla="*/ 1509455 h 2571532"/>
              <a:gd name="connsiteX96" fmla="*/ 271758 w 2571518"/>
              <a:gd name="connsiteY96" fmla="*/ 2372705 h 2571532"/>
              <a:gd name="connsiteX97" fmla="*/ 198511 w 2571518"/>
              <a:gd name="connsiteY97" fmla="*/ 2300030 h 2571532"/>
              <a:gd name="connsiteX98" fmla="*/ 584845 w 2571518"/>
              <a:gd name="connsiteY98" fmla="*/ 1986467 h 2571532"/>
              <a:gd name="connsiteX99" fmla="*/ 271758 w 2571518"/>
              <a:gd name="connsiteY99" fmla="*/ 2372705 h 2571532"/>
              <a:gd name="connsiteX100" fmla="*/ 1833859 w 2571518"/>
              <a:gd name="connsiteY100" fmla="*/ 257965 h 2571532"/>
              <a:gd name="connsiteX101" fmla="*/ 1833859 w 2571518"/>
              <a:gd name="connsiteY101" fmla="*/ 257203 h 2571532"/>
              <a:gd name="connsiteX102" fmla="*/ 1833859 w 2571518"/>
              <a:gd name="connsiteY102" fmla="*/ 257203 h 2571532"/>
              <a:gd name="connsiteX103" fmla="*/ 1833859 w 2571518"/>
              <a:gd name="connsiteY103" fmla="*/ 257965 h 2571532"/>
              <a:gd name="connsiteX104" fmla="*/ 1803474 w 2571518"/>
              <a:gd name="connsiteY104" fmla="*/ 224913 h 2571532"/>
              <a:gd name="connsiteX105" fmla="*/ 1803474 w 2571518"/>
              <a:gd name="connsiteY105" fmla="*/ 224913 h 2571532"/>
              <a:gd name="connsiteX106" fmla="*/ 270711 w 2571518"/>
              <a:gd name="connsiteY106" fmla="*/ 1877786 h 2571532"/>
              <a:gd name="connsiteX107" fmla="*/ 323765 w 2571518"/>
              <a:gd name="connsiteY107" fmla="*/ 1681000 h 2571532"/>
              <a:gd name="connsiteX108" fmla="*/ 388249 w 2571518"/>
              <a:gd name="connsiteY108" fmla="*/ 1497739 h 2571532"/>
              <a:gd name="connsiteX109" fmla="*/ 1805284 w 2571518"/>
              <a:gd name="connsiteY109" fmla="*/ 290255 h 2571532"/>
              <a:gd name="connsiteX110" fmla="*/ 1924251 w 2571518"/>
              <a:gd name="connsiteY110" fmla="*/ 253964 h 2571532"/>
              <a:gd name="connsiteX111" fmla="*/ 2181426 w 2571518"/>
              <a:gd name="connsiteY111" fmla="*/ 77847 h 2571532"/>
              <a:gd name="connsiteX112" fmla="*/ 2254768 w 2571518"/>
              <a:gd name="connsiteY112" fmla="*/ 151094 h 2571532"/>
              <a:gd name="connsiteX113" fmla="*/ 1535345 w 2571518"/>
              <a:gd name="connsiteY113" fmla="*/ 636869 h 2571532"/>
              <a:gd name="connsiteX114" fmla="*/ 1356370 w 2571518"/>
              <a:gd name="connsiteY114" fmla="*/ 703544 h 2571532"/>
              <a:gd name="connsiteX115" fmla="*/ 1176634 w 2571518"/>
              <a:gd name="connsiteY115" fmla="*/ 796604 h 2571532"/>
              <a:gd name="connsiteX116" fmla="*/ 877548 w 2571518"/>
              <a:gd name="connsiteY116" fmla="*/ 1064447 h 2571532"/>
              <a:gd name="connsiteX117" fmla="*/ 711433 w 2571518"/>
              <a:gd name="connsiteY117" fmla="*/ 1339719 h 2571532"/>
              <a:gd name="connsiteX118" fmla="*/ 651901 w 2571518"/>
              <a:gd name="connsiteY118" fmla="*/ 1499644 h 2571532"/>
              <a:gd name="connsiteX119" fmla="*/ 576559 w 2571518"/>
              <a:gd name="connsiteY119" fmla="*/ 1669570 h 2571532"/>
              <a:gd name="connsiteX120" fmla="*/ 151934 w 2571518"/>
              <a:gd name="connsiteY120" fmla="*/ 2253452 h 2571532"/>
              <a:gd name="connsiteX121" fmla="*/ 78782 w 2571518"/>
              <a:gd name="connsiteY121" fmla="*/ 2180205 h 2571532"/>
              <a:gd name="connsiteX122" fmla="*/ 270711 w 2571518"/>
              <a:gd name="connsiteY122" fmla="*/ 1877786 h 2571532"/>
              <a:gd name="connsiteX123" fmla="*/ 2371735 w 2571518"/>
              <a:gd name="connsiteY123" fmla="*/ 541715 h 2571532"/>
              <a:gd name="connsiteX124" fmla="*/ 2287153 w 2571518"/>
              <a:gd name="connsiteY124" fmla="*/ 741740 h 2571532"/>
              <a:gd name="connsiteX125" fmla="*/ 2282486 w 2571518"/>
              <a:gd name="connsiteY125" fmla="*/ 760790 h 2571532"/>
              <a:gd name="connsiteX126" fmla="*/ 2283153 w 2571518"/>
              <a:gd name="connsiteY126" fmla="*/ 778982 h 2571532"/>
              <a:gd name="connsiteX127" fmla="*/ 2265722 w 2571518"/>
              <a:gd name="connsiteY127" fmla="*/ 848324 h 2571532"/>
              <a:gd name="connsiteX128" fmla="*/ 2176663 w 2571518"/>
              <a:gd name="connsiteY128" fmla="*/ 1095022 h 2571532"/>
              <a:gd name="connsiteX129" fmla="*/ 1706890 w 2571518"/>
              <a:gd name="connsiteY129" fmla="*/ 1772535 h 2571532"/>
              <a:gd name="connsiteX130" fmla="*/ 1024710 w 2571518"/>
              <a:gd name="connsiteY130" fmla="*/ 2202303 h 2571532"/>
              <a:gd name="connsiteX131" fmla="*/ 838687 w 2571518"/>
              <a:gd name="connsiteY131" fmla="*/ 2262597 h 2571532"/>
              <a:gd name="connsiteX132" fmla="*/ 652759 w 2571518"/>
              <a:gd name="connsiteY132" fmla="*/ 2315555 h 2571532"/>
              <a:gd name="connsiteX133" fmla="*/ 390821 w 2571518"/>
              <a:gd name="connsiteY133" fmla="*/ 2492816 h 2571532"/>
              <a:gd name="connsiteX134" fmla="*/ 317478 w 2571518"/>
              <a:gd name="connsiteY134" fmla="*/ 2419473 h 2571532"/>
              <a:gd name="connsiteX135" fmla="*/ 516075 w 2571518"/>
              <a:gd name="connsiteY135" fmla="*/ 2245642 h 2571532"/>
              <a:gd name="connsiteX136" fmla="*/ 866880 w 2571518"/>
              <a:gd name="connsiteY136" fmla="*/ 2011518 h 2571532"/>
              <a:gd name="connsiteX137" fmla="*/ 1463908 w 2571518"/>
              <a:gd name="connsiteY137" fmla="*/ 1731006 h 2571532"/>
              <a:gd name="connsiteX138" fmla="*/ 1606783 w 2571518"/>
              <a:gd name="connsiteY138" fmla="*/ 1607181 h 2571532"/>
              <a:gd name="connsiteX139" fmla="*/ 1784424 w 2571518"/>
              <a:gd name="connsiteY139" fmla="*/ 1377628 h 2571532"/>
              <a:gd name="connsiteX140" fmla="*/ 1894152 w 2571518"/>
              <a:gd name="connsiteY140" fmla="*/ 1143504 h 2571532"/>
              <a:gd name="connsiteX141" fmla="*/ 2001213 w 2571518"/>
              <a:gd name="connsiteY141" fmla="*/ 892901 h 2571532"/>
              <a:gd name="connsiteX142" fmla="*/ 2178949 w 2571518"/>
              <a:gd name="connsiteY142" fmla="*/ 597626 h 2571532"/>
              <a:gd name="connsiteX143" fmla="*/ 2419360 w 2571518"/>
              <a:gd name="connsiteY143" fmla="*/ 317877 h 2571532"/>
              <a:gd name="connsiteX144" fmla="*/ 2492608 w 2571518"/>
              <a:gd name="connsiteY144" fmla="*/ 391029 h 2571532"/>
              <a:gd name="connsiteX145" fmla="*/ 2370973 w 2571518"/>
              <a:gd name="connsiteY145" fmla="*/ 542096 h 257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571518" h="2571532">
                <a:moveTo>
                  <a:pt x="2562331" y="367026"/>
                </a:moveTo>
                <a:lnTo>
                  <a:pt x="2443459" y="247678"/>
                </a:lnTo>
                <a:lnTo>
                  <a:pt x="2323539" y="128330"/>
                </a:lnTo>
                <a:lnTo>
                  <a:pt x="2204095" y="9077"/>
                </a:lnTo>
                <a:cubicBezTo>
                  <a:pt x="2191275" y="-3525"/>
                  <a:pt x="2170720" y="-3525"/>
                  <a:pt x="2157899" y="9077"/>
                </a:cubicBezTo>
                <a:cubicBezTo>
                  <a:pt x="2083795" y="82514"/>
                  <a:pt x="2000832" y="146427"/>
                  <a:pt x="1905963" y="190814"/>
                </a:cubicBezTo>
                <a:cubicBezTo>
                  <a:pt x="1881179" y="202263"/>
                  <a:pt x="1855509" y="211654"/>
                  <a:pt x="1829191" y="218912"/>
                </a:cubicBezTo>
                <a:cubicBezTo>
                  <a:pt x="1821000" y="221103"/>
                  <a:pt x="1812618" y="223008"/>
                  <a:pt x="1804426" y="224627"/>
                </a:cubicBezTo>
                <a:lnTo>
                  <a:pt x="1803188" y="224627"/>
                </a:lnTo>
                <a:lnTo>
                  <a:pt x="1802617" y="224627"/>
                </a:lnTo>
                <a:cubicBezTo>
                  <a:pt x="1799416" y="224523"/>
                  <a:pt x="1796206" y="224837"/>
                  <a:pt x="1793092" y="225580"/>
                </a:cubicBezTo>
                <a:cubicBezTo>
                  <a:pt x="1288638" y="344395"/>
                  <a:pt x="845482" y="644556"/>
                  <a:pt x="547984" y="1068923"/>
                </a:cubicBezTo>
                <a:cubicBezTo>
                  <a:pt x="433208" y="1233496"/>
                  <a:pt x="342744" y="1413757"/>
                  <a:pt x="279379" y="1604133"/>
                </a:cubicBezTo>
                <a:cubicBezTo>
                  <a:pt x="246041" y="1703765"/>
                  <a:pt x="229848" y="1809492"/>
                  <a:pt x="190415" y="1906837"/>
                </a:cubicBezTo>
                <a:cubicBezTo>
                  <a:pt x="150981" y="2004183"/>
                  <a:pt x="82497" y="2084193"/>
                  <a:pt x="9440" y="2157441"/>
                </a:cubicBezTo>
                <a:cubicBezTo>
                  <a:pt x="-3107" y="2170280"/>
                  <a:pt x="-3107" y="2190797"/>
                  <a:pt x="9440" y="2203637"/>
                </a:cubicBezTo>
                <a:lnTo>
                  <a:pt x="128883" y="2322985"/>
                </a:lnTo>
                <a:lnTo>
                  <a:pt x="248136" y="2442238"/>
                </a:lnTo>
                <a:lnTo>
                  <a:pt x="367580" y="2561586"/>
                </a:lnTo>
                <a:cubicBezTo>
                  <a:pt x="373760" y="2568120"/>
                  <a:pt x="382506" y="2571607"/>
                  <a:pt x="391488" y="2571111"/>
                </a:cubicBezTo>
                <a:cubicBezTo>
                  <a:pt x="399980" y="2571206"/>
                  <a:pt x="408128" y="2567758"/>
                  <a:pt x="413967" y="2561586"/>
                </a:cubicBezTo>
                <a:cubicBezTo>
                  <a:pt x="509217" y="2466336"/>
                  <a:pt x="612563" y="2391089"/>
                  <a:pt x="743341" y="2353751"/>
                </a:cubicBezTo>
                <a:cubicBezTo>
                  <a:pt x="814874" y="2333367"/>
                  <a:pt x="887169" y="2317841"/>
                  <a:pt x="958035" y="2294696"/>
                </a:cubicBezTo>
                <a:cubicBezTo>
                  <a:pt x="1028606" y="2271540"/>
                  <a:pt x="1097916" y="2244709"/>
                  <a:pt x="1165680" y="2214305"/>
                </a:cubicBezTo>
                <a:cubicBezTo>
                  <a:pt x="1446239" y="2088413"/>
                  <a:pt x="1695384" y="1901885"/>
                  <a:pt x="1895200" y="1668141"/>
                </a:cubicBezTo>
                <a:cubicBezTo>
                  <a:pt x="2060573" y="1473460"/>
                  <a:pt x="2190875" y="1251527"/>
                  <a:pt x="2280295" y="1012249"/>
                </a:cubicBezTo>
                <a:cubicBezTo>
                  <a:pt x="2305965" y="945432"/>
                  <a:pt x="2327187" y="876985"/>
                  <a:pt x="2343827" y="807367"/>
                </a:cubicBezTo>
                <a:cubicBezTo>
                  <a:pt x="2348028" y="789822"/>
                  <a:pt x="2351209" y="772039"/>
                  <a:pt x="2353352" y="754122"/>
                </a:cubicBezTo>
                <a:cubicBezTo>
                  <a:pt x="2353638" y="751846"/>
                  <a:pt x="2353638" y="749541"/>
                  <a:pt x="2353352" y="747264"/>
                </a:cubicBezTo>
                <a:cubicBezTo>
                  <a:pt x="2370011" y="686571"/>
                  <a:pt x="2395148" y="628526"/>
                  <a:pt x="2428028" y="574862"/>
                </a:cubicBezTo>
                <a:cubicBezTo>
                  <a:pt x="2465080" y="515140"/>
                  <a:pt x="2512801" y="463133"/>
                  <a:pt x="2562140" y="413413"/>
                </a:cubicBezTo>
                <a:cubicBezTo>
                  <a:pt x="2574684" y="400573"/>
                  <a:pt x="2574684" y="380056"/>
                  <a:pt x="2562140" y="367216"/>
                </a:cubicBezTo>
                <a:close/>
                <a:moveTo>
                  <a:pt x="1561253" y="1560604"/>
                </a:moveTo>
                <a:cubicBezTo>
                  <a:pt x="1475366" y="1647939"/>
                  <a:pt x="1375182" y="1719938"/>
                  <a:pt x="1265026" y="1773487"/>
                </a:cubicBezTo>
                <a:cubicBezTo>
                  <a:pt x="1171204" y="1818255"/>
                  <a:pt x="1071287" y="1849116"/>
                  <a:pt x="975370" y="1889121"/>
                </a:cubicBezTo>
                <a:cubicBezTo>
                  <a:pt x="845670" y="1943480"/>
                  <a:pt x="722890" y="2013051"/>
                  <a:pt x="609610" y="2096385"/>
                </a:cubicBezTo>
                <a:cubicBezTo>
                  <a:pt x="594846" y="2107053"/>
                  <a:pt x="580083" y="2117721"/>
                  <a:pt x="565128" y="2128294"/>
                </a:cubicBezTo>
                <a:cubicBezTo>
                  <a:pt x="617737" y="2057323"/>
                  <a:pt x="666603" y="1983666"/>
                  <a:pt x="711528" y="1907600"/>
                </a:cubicBezTo>
                <a:cubicBezTo>
                  <a:pt x="780326" y="1867585"/>
                  <a:pt x="851125" y="1831123"/>
                  <a:pt x="923650" y="1798348"/>
                </a:cubicBezTo>
                <a:cubicBezTo>
                  <a:pt x="928793" y="1795967"/>
                  <a:pt x="933936" y="1793871"/>
                  <a:pt x="939080" y="1791680"/>
                </a:cubicBezTo>
                <a:cubicBezTo>
                  <a:pt x="942094" y="1790928"/>
                  <a:pt x="944960" y="1789671"/>
                  <a:pt x="947557" y="1787966"/>
                </a:cubicBezTo>
                <a:cubicBezTo>
                  <a:pt x="1061000" y="1739769"/>
                  <a:pt x="1179301" y="1706718"/>
                  <a:pt x="1285981" y="1643091"/>
                </a:cubicBezTo>
                <a:cubicBezTo>
                  <a:pt x="1402081" y="1572862"/>
                  <a:pt x="1503589" y="1480956"/>
                  <a:pt x="1584970" y="1372390"/>
                </a:cubicBezTo>
                <a:cubicBezTo>
                  <a:pt x="1648521" y="1288084"/>
                  <a:pt x="1698318" y="1194244"/>
                  <a:pt x="1732513" y="1094355"/>
                </a:cubicBezTo>
                <a:cubicBezTo>
                  <a:pt x="1772451" y="977969"/>
                  <a:pt x="1822028" y="865126"/>
                  <a:pt x="1880722" y="756980"/>
                </a:cubicBezTo>
                <a:cubicBezTo>
                  <a:pt x="1888627" y="742406"/>
                  <a:pt x="1896819" y="728405"/>
                  <a:pt x="1905105" y="713736"/>
                </a:cubicBezTo>
                <a:cubicBezTo>
                  <a:pt x="1978153" y="670855"/>
                  <a:pt x="2048952" y="624249"/>
                  <a:pt x="2117227" y="574099"/>
                </a:cubicBezTo>
                <a:cubicBezTo>
                  <a:pt x="2046342" y="672321"/>
                  <a:pt x="1984554" y="776801"/>
                  <a:pt x="1932633" y="886234"/>
                </a:cubicBezTo>
                <a:cubicBezTo>
                  <a:pt x="1858052" y="1045301"/>
                  <a:pt x="1807189" y="1215799"/>
                  <a:pt x="1715368" y="1366484"/>
                </a:cubicBezTo>
                <a:cubicBezTo>
                  <a:pt x="1671886" y="1437055"/>
                  <a:pt x="1620156" y="1502187"/>
                  <a:pt x="1561253" y="1560508"/>
                </a:cubicBezTo>
                <a:close/>
                <a:moveTo>
                  <a:pt x="2373545" y="271205"/>
                </a:moveTo>
                <a:cubicBezTo>
                  <a:pt x="2253673" y="388733"/>
                  <a:pt x="2123123" y="494852"/>
                  <a:pt x="1983592" y="588197"/>
                </a:cubicBezTo>
                <a:cubicBezTo>
                  <a:pt x="2076870" y="448522"/>
                  <a:pt x="2182997" y="317877"/>
                  <a:pt x="2300584" y="197957"/>
                </a:cubicBezTo>
                <a:lnTo>
                  <a:pt x="2373259" y="270728"/>
                </a:lnTo>
                <a:close/>
                <a:moveTo>
                  <a:pt x="1857862" y="666206"/>
                </a:moveTo>
                <a:cubicBezTo>
                  <a:pt x="1785024" y="708392"/>
                  <a:pt x="1709853" y="746397"/>
                  <a:pt x="1632691" y="780030"/>
                </a:cubicBezTo>
                <a:cubicBezTo>
                  <a:pt x="1629281" y="780821"/>
                  <a:pt x="1626052" y="782240"/>
                  <a:pt x="1623166" y="784221"/>
                </a:cubicBezTo>
                <a:cubicBezTo>
                  <a:pt x="1557824" y="812224"/>
                  <a:pt x="1489816" y="832418"/>
                  <a:pt x="1423903" y="859088"/>
                </a:cubicBezTo>
                <a:cubicBezTo>
                  <a:pt x="1361276" y="884653"/>
                  <a:pt x="1301354" y="916400"/>
                  <a:pt x="1245023" y="953861"/>
                </a:cubicBezTo>
                <a:cubicBezTo>
                  <a:pt x="1132315" y="1029385"/>
                  <a:pt x="1035123" y="1125797"/>
                  <a:pt x="958702" y="1237897"/>
                </a:cubicBezTo>
                <a:cubicBezTo>
                  <a:pt x="898789" y="1325051"/>
                  <a:pt x="859832" y="1420015"/>
                  <a:pt x="824685" y="1519075"/>
                </a:cubicBezTo>
                <a:cubicBezTo>
                  <a:pt x="812112" y="1554508"/>
                  <a:pt x="798205" y="1589274"/>
                  <a:pt x="783537" y="1623850"/>
                </a:cubicBezTo>
                <a:cubicBezTo>
                  <a:pt x="781745" y="1626593"/>
                  <a:pt x="780426" y="1629622"/>
                  <a:pt x="779632" y="1632804"/>
                </a:cubicBezTo>
                <a:cubicBezTo>
                  <a:pt x="754295" y="1690430"/>
                  <a:pt x="726006" y="1747580"/>
                  <a:pt x="695716" y="1802920"/>
                </a:cubicBezTo>
                <a:cubicBezTo>
                  <a:pt x="685429" y="1821970"/>
                  <a:pt x="674571" y="1841020"/>
                  <a:pt x="663617" y="1860070"/>
                </a:cubicBezTo>
                <a:cubicBezTo>
                  <a:pt x="589957" y="1903504"/>
                  <a:pt x="518583" y="1950557"/>
                  <a:pt x="449495" y="2001230"/>
                </a:cubicBezTo>
                <a:cubicBezTo>
                  <a:pt x="549085" y="1864232"/>
                  <a:pt x="632445" y="1716147"/>
                  <a:pt x="697907" y="1559937"/>
                </a:cubicBezTo>
                <a:cubicBezTo>
                  <a:pt x="725434" y="1493262"/>
                  <a:pt x="745532" y="1423920"/>
                  <a:pt x="774107" y="1358007"/>
                </a:cubicBezTo>
                <a:cubicBezTo>
                  <a:pt x="856293" y="1172917"/>
                  <a:pt x="985881" y="1012812"/>
                  <a:pt x="1149773" y="893854"/>
                </a:cubicBezTo>
                <a:cubicBezTo>
                  <a:pt x="1236708" y="830455"/>
                  <a:pt x="1332386" y="780021"/>
                  <a:pt x="1433809" y="744121"/>
                </a:cubicBezTo>
                <a:cubicBezTo>
                  <a:pt x="1531745" y="710355"/>
                  <a:pt x="1627223" y="669845"/>
                  <a:pt x="1719559" y="622868"/>
                </a:cubicBezTo>
                <a:cubicBezTo>
                  <a:pt x="1817590" y="571880"/>
                  <a:pt x="1911783" y="513854"/>
                  <a:pt x="2001403" y="449227"/>
                </a:cubicBezTo>
                <a:cubicBezTo>
                  <a:pt x="1950092" y="518893"/>
                  <a:pt x="1902410" y="591159"/>
                  <a:pt x="1858528" y="665730"/>
                </a:cubicBezTo>
                <a:close/>
                <a:moveTo>
                  <a:pt x="1745943" y="882138"/>
                </a:moveTo>
                <a:cubicBezTo>
                  <a:pt x="1741466" y="892235"/>
                  <a:pt x="1737085" y="902141"/>
                  <a:pt x="1732893" y="912237"/>
                </a:cubicBezTo>
                <a:lnTo>
                  <a:pt x="1176634" y="1467735"/>
                </a:lnTo>
                <a:lnTo>
                  <a:pt x="911838" y="1732721"/>
                </a:lnTo>
                <a:cubicBezTo>
                  <a:pt x="864214" y="1753552"/>
                  <a:pt x="817350" y="1776059"/>
                  <a:pt x="771249" y="1800253"/>
                </a:cubicBezTo>
                <a:cubicBezTo>
                  <a:pt x="789347" y="1765515"/>
                  <a:pt x="806556" y="1730406"/>
                  <a:pt x="822875" y="1694906"/>
                </a:cubicBezTo>
                <a:cubicBezTo>
                  <a:pt x="828304" y="1683381"/>
                  <a:pt x="833257" y="1671666"/>
                  <a:pt x="838210" y="1659950"/>
                </a:cubicBezTo>
                <a:cubicBezTo>
                  <a:pt x="1023567" y="1474527"/>
                  <a:pt x="1209019" y="1289075"/>
                  <a:pt x="1394566" y="1103595"/>
                </a:cubicBezTo>
                <a:cubicBezTo>
                  <a:pt x="1482891" y="1015326"/>
                  <a:pt x="1571131" y="927029"/>
                  <a:pt x="1659265" y="838704"/>
                </a:cubicBezTo>
                <a:cubicBezTo>
                  <a:pt x="1706509" y="818321"/>
                  <a:pt x="1752991" y="796251"/>
                  <a:pt x="1798711" y="772505"/>
                </a:cubicBezTo>
                <a:cubicBezTo>
                  <a:pt x="1779661" y="808605"/>
                  <a:pt x="1762421" y="844895"/>
                  <a:pt x="1745943" y="881662"/>
                </a:cubicBezTo>
                <a:close/>
                <a:moveTo>
                  <a:pt x="1673648" y="1063780"/>
                </a:moveTo>
                <a:cubicBezTo>
                  <a:pt x="1646026" y="1135884"/>
                  <a:pt x="1616498" y="1206655"/>
                  <a:pt x="1574683" y="1273330"/>
                </a:cubicBezTo>
                <a:cubicBezTo>
                  <a:pt x="1502046" y="1387582"/>
                  <a:pt x="1406491" y="1485537"/>
                  <a:pt x="1294077" y="1560985"/>
                </a:cubicBezTo>
                <a:cubicBezTo>
                  <a:pt x="1221496" y="1609943"/>
                  <a:pt x="1144534" y="1642424"/>
                  <a:pt x="1064334" y="1672809"/>
                </a:cubicBezTo>
                <a:lnTo>
                  <a:pt x="1513723" y="1223419"/>
                </a:lnTo>
                <a:cubicBezTo>
                  <a:pt x="1567063" y="1170203"/>
                  <a:pt x="1620403" y="1116929"/>
                  <a:pt x="1673743" y="1063589"/>
                </a:cubicBezTo>
                <a:close/>
                <a:moveTo>
                  <a:pt x="896598" y="1509455"/>
                </a:moveTo>
                <a:cubicBezTo>
                  <a:pt x="918473" y="1448314"/>
                  <a:pt x="945229" y="1389039"/>
                  <a:pt x="976609" y="1332195"/>
                </a:cubicBezTo>
                <a:cubicBezTo>
                  <a:pt x="1044425" y="1215056"/>
                  <a:pt x="1135787" y="1113253"/>
                  <a:pt x="1244928" y="1033205"/>
                </a:cubicBezTo>
                <a:cubicBezTo>
                  <a:pt x="1325824" y="975274"/>
                  <a:pt x="1414739" y="929449"/>
                  <a:pt x="1508866" y="897188"/>
                </a:cubicBezTo>
                <a:lnTo>
                  <a:pt x="1057571" y="1348292"/>
                </a:lnTo>
                <a:cubicBezTo>
                  <a:pt x="1003596" y="1401946"/>
                  <a:pt x="949938" y="1455667"/>
                  <a:pt x="896598" y="1509455"/>
                </a:cubicBezTo>
                <a:close/>
                <a:moveTo>
                  <a:pt x="271758" y="2372705"/>
                </a:moveTo>
                <a:lnTo>
                  <a:pt x="198511" y="2300030"/>
                </a:lnTo>
                <a:cubicBezTo>
                  <a:pt x="317349" y="2183825"/>
                  <a:pt x="446677" y="2078859"/>
                  <a:pt x="584845" y="1986467"/>
                </a:cubicBezTo>
                <a:cubicBezTo>
                  <a:pt x="492719" y="2124665"/>
                  <a:pt x="387903" y="2253976"/>
                  <a:pt x="271758" y="2372705"/>
                </a:cubicBezTo>
                <a:close/>
                <a:moveTo>
                  <a:pt x="1833859" y="257965"/>
                </a:moveTo>
                <a:cubicBezTo>
                  <a:pt x="1833820" y="257708"/>
                  <a:pt x="1833820" y="257460"/>
                  <a:pt x="1833859" y="257203"/>
                </a:cubicBezTo>
                <a:lnTo>
                  <a:pt x="1833859" y="257203"/>
                </a:lnTo>
                <a:cubicBezTo>
                  <a:pt x="1833992" y="257441"/>
                  <a:pt x="1833992" y="257727"/>
                  <a:pt x="1833859" y="257965"/>
                </a:cubicBezTo>
                <a:close/>
                <a:moveTo>
                  <a:pt x="1803474" y="224913"/>
                </a:moveTo>
                <a:lnTo>
                  <a:pt x="1803474" y="224913"/>
                </a:lnTo>
                <a:close/>
                <a:moveTo>
                  <a:pt x="270711" y="1877786"/>
                </a:moveTo>
                <a:cubicBezTo>
                  <a:pt x="292428" y="1813492"/>
                  <a:pt x="304429" y="1746056"/>
                  <a:pt x="323765" y="1681000"/>
                </a:cubicBezTo>
                <a:cubicBezTo>
                  <a:pt x="342243" y="1618801"/>
                  <a:pt x="364056" y="1557746"/>
                  <a:pt x="388249" y="1497739"/>
                </a:cubicBezTo>
                <a:cubicBezTo>
                  <a:pt x="637142" y="889491"/>
                  <a:pt x="1165247" y="439483"/>
                  <a:pt x="1805284" y="290255"/>
                </a:cubicBezTo>
                <a:cubicBezTo>
                  <a:pt x="1844336" y="291683"/>
                  <a:pt x="1891866" y="267776"/>
                  <a:pt x="1924251" y="253964"/>
                </a:cubicBezTo>
                <a:cubicBezTo>
                  <a:pt x="2020168" y="213197"/>
                  <a:pt x="2105226" y="149189"/>
                  <a:pt x="2181426" y="77847"/>
                </a:cubicBezTo>
                <a:lnTo>
                  <a:pt x="2254768" y="151094"/>
                </a:lnTo>
                <a:cubicBezTo>
                  <a:pt x="2046933" y="353405"/>
                  <a:pt x="1804045" y="526284"/>
                  <a:pt x="1535345" y="636869"/>
                </a:cubicBezTo>
                <a:cubicBezTo>
                  <a:pt x="1476385" y="661158"/>
                  <a:pt x="1415330" y="679446"/>
                  <a:pt x="1356370" y="703544"/>
                </a:cubicBezTo>
                <a:cubicBezTo>
                  <a:pt x="1293886" y="729328"/>
                  <a:pt x="1233752" y="760466"/>
                  <a:pt x="1176634" y="796604"/>
                </a:cubicBezTo>
                <a:cubicBezTo>
                  <a:pt x="1062833" y="868755"/>
                  <a:pt x="961770" y="959262"/>
                  <a:pt x="877548" y="1064447"/>
                </a:cubicBezTo>
                <a:cubicBezTo>
                  <a:pt x="809923" y="1148228"/>
                  <a:pt x="754037" y="1240840"/>
                  <a:pt x="711433" y="1339719"/>
                </a:cubicBezTo>
                <a:cubicBezTo>
                  <a:pt x="688858" y="1392011"/>
                  <a:pt x="672094" y="1446399"/>
                  <a:pt x="651901" y="1499644"/>
                </a:cubicBezTo>
                <a:cubicBezTo>
                  <a:pt x="629705" y="1557537"/>
                  <a:pt x="604558" y="1614249"/>
                  <a:pt x="576559" y="1669570"/>
                </a:cubicBezTo>
                <a:cubicBezTo>
                  <a:pt x="467783" y="1885406"/>
                  <a:pt x="320336" y="2080955"/>
                  <a:pt x="151934" y="2253452"/>
                </a:cubicBezTo>
                <a:lnTo>
                  <a:pt x="78782" y="2180205"/>
                </a:lnTo>
                <a:cubicBezTo>
                  <a:pt x="162602" y="2091909"/>
                  <a:pt x="231182" y="1994944"/>
                  <a:pt x="270711" y="1877786"/>
                </a:cubicBezTo>
                <a:close/>
                <a:moveTo>
                  <a:pt x="2371735" y="541715"/>
                </a:moveTo>
                <a:cubicBezTo>
                  <a:pt x="2333350" y="603608"/>
                  <a:pt x="2304813" y="671083"/>
                  <a:pt x="2287153" y="741740"/>
                </a:cubicBezTo>
                <a:cubicBezTo>
                  <a:pt x="2285058" y="748121"/>
                  <a:pt x="2283820" y="754884"/>
                  <a:pt x="2282486" y="760790"/>
                </a:cubicBezTo>
                <a:cubicBezTo>
                  <a:pt x="2280962" y="766790"/>
                  <a:pt x="2281191" y="773105"/>
                  <a:pt x="2283153" y="778982"/>
                </a:cubicBezTo>
                <a:cubicBezTo>
                  <a:pt x="2278105" y="802223"/>
                  <a:pt x="2272104" y="825369"/>
                  <a:pt x="2265722" y="848324"/>
                </a:cubicBezTo>
                <a:cubicBezTo>
                  <a:pt x="2241795" y="932525"/>
                  <a:pt x="2212039" y="1014955"/>
                  <a:pt x="2176663" y="1095022"/>
                </a:cubicBezTo>
                <a:cubicBezTo>
                  <a:pt x="2066040" y="1349492"/>
                  <a:pt x="1906420" y="1579711"/>
                  <a:pt x="1706890" y="1772535"/>
                </a:cubicBezTo>
                <a:cubicBezTo>
                  <a:pt x="1510637" y="1960121"/>
                  <a:pt x="1278637" y="2106282"/>
                  <a:pt x="1024710" y="2202303"/>
                </a:cubicBezTo>
                <a:cubicBezTo>
                  <a:pt x="963750" y="2225544"/>
                  <a:pt x="901552" y="2245261"/>
                  <a:pt x="838687" y="2262597"/>
                </a:cubicBezTo>
                <a:cubicBezTo>
                  <a:pt x="775821" y="2279932"/>
                  <a:pt x="713433" y="2291838"/>
                  <a:pt x="652759" y="2315555"/>
                </a:cubicBezTo>
                <a:cubicBezTo>
                  <a:pt x="552460" y="2355084"/>
                  <a:pt x="467878" y="2419283"/>
                  <a:pt x="390821" y="2492816"/>
                </a:cubicBezTo>
                <a:lnTo>
                  <a:pt x="317478" y="2419473"/>
                </a:lnTo>
                <a:cubicBezTo>
                  <a:pt x="379022" y="2356418"/>
                  <a:pt x="445425" y="2298296"/>
                  <a:pt x="516075" y="2245642"/>
                </a:cubicBezTo>
                <a:cubicBezTo>
                  <a:pt x="630375" y="2163155"/>
                  <a:pt x="741627" y="2077621"/>
                  <a:pt x="866880" y="2011518"/>
                </a:cubicBezTo>
                <a:cubicBezTo>
                  <a:pt x="1062429" y="1908266"/>
                  <a:pt x="1283409" y="1863403"/>
                  <a:pt x="1463908" y="1731006"/>
                </a:cubicBezTo>
                <a:cubicBezTo>
                  <a:pt x="1514571" y="1693373"/>
                  <a:pt x="1562329" y="1651987"/>
                  <a:pt x="1606783" y="1607181"/>
                </a:cubicBezTo>
                <a:cubicBezTo>
                  <a:pt x="1675505" y="1538516"/>
                  <a:pt x="1735199" y="1461382"/>
                  <a:pt x="1784424" y="1377628"/>
                </a:cubicBezTo>
                <a:cubicBezTo>
                  <a:pt x="1826486" y="1302276"/>
                  <a:pt x="1863157" y="1224038"/>
                  <a:pt x="1894152" y="1143504"/>
                </a:cubicBezTo>
                <a:cubicBezTo>
                  <a:pt x="1928347" y="1059398"/>
                  <a:pt x="1961684" y="974912"/>
                  <a:pt x="2001213" y="892901"/>
                </a:cubicBezTo>
                <a:cubicBezTo>
                  <a:pt x="2051629" y="789422"/>
                  <a:pt x="2111103" y="690610"/>
                  <a:pt x="2178949" y="597626"/>
                </a:cubicBezTo>
                <a:cubicBezTo>
                  <a:pt x="2252082" y="498576"/>
                  <a:pt x="2332435" y="405078"/>
                  <a:pt x="2419360" y="317877"/>
                </a:cubicBezTo>
                <a:lnTo>
                  <a:pt x="2492608" y="391029"/>
                </a:lnTo>
                <a:cubicBezTo>
                  <a:pt x="2447088" y="437168"/>
                  <a:pt x="2406330" y="487775"/>
                  <a:pt x="2370973" y="542096"/>
                </a:cubicBezTo>
                <a:close/>
              </a:path>
            </a:pathLst>
          </a:custGeom>
          <a:solidFill>
            <a:srgbClr val="001965"/>
          </a:solidFill>
          <a:ln w="9525" cap="rnd">
            <a:solidFill>
              <a:srgbClr val="001965"/>
            </a:solidFill>
            <a:prstDash val="solid"/>
            <a:roun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11" name="Rounded Rectangle 5">
            <a:extLst>
              <a:ext uri="{FF2B5EF4-FFF2-40B4-BE49-F238E27FC236}">
                <a16:creationId xmlns:a16="http://schemas.microsoft.com/office/drawing/2014/main" id="{37409452-A261-AEB5-72DD-949A662BF93C}"/>
              </a:ext>
            </a:extLst>
          </p:cNvPr>
          <p:cNvSpPr/>
          <p:nvPr/>
        </p:nvSpPr>
        <p:spPr>
          <a:xfrm>
            <a:off x="6081323" y="3586102"/>
            <a:ext cx="1741969"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Mean Lean Mass</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12" name="Rounded Rectangle 11">
            <a:extLst>
              <a:ext uri="{FF2B5EF4-FFF2-40B4-BE49-F238E27FC236}">
                <a16:creationId xmlns:a16="http://schemas.microsoft.com/office/drawing/2014/main" id="{7CF080EF-6C59-3DF1-CC71-16E943ACCF79}"/>
              </a:ext>
            </a:extLst>
          </p:cNvPr>
          <p:cNvSpPr/>
          <p:nvPr/>
        </p:nvSpPr>
        <p:spPr>
          <a:xfrm>
            <a:off x="5981313" y="3848580"/>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58.2 Kg</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13" name="Rectangle 212">
            <a:extLst>
              <a:ext uri="{FF2B5EF4-FFF2-40B4-BE49-F238E27FC236}">
                <a16:creationId xmlns:a16="http://schemas.microsoft.com/office/drawing/2014/main" id="{3B9A2C64-F00B-A7A4-2D15-ECAFE202B98B}"/>
              </a:ext>
            </a:extLst>
          </p:cNvPr>
          <p:cNvSpPr/>
          <p:nvPr/>
        </p:nvSpPr>
        <p:spPr>
          <a:xfrm>
            <a:off x="8100521" y="3847921"/>
            <a:ext cx="4001814" cy="528000"/>
          </a:xfrm>
          <a:prstGeom prst="rect">
            <a:avLst/>
          </a:prstGeom>
          <a:solidFill>
            <a:srgbClr val="E5F1F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3B97DE"/>
              </a:solidFill>
              <a:effectLst/>
              <a:uLnTx/>
              <a:uFillTx/>
              <a:latin typeface="Apis For Office"/>
              <a:ea typeface="+mn-ea"/>
              <a:cs typeface="+mn-cs"/>
            </a:endParaRPr>
          </a:p>
        </p:txBody>
      </p:sp>
      <p:grpSp>
        <p:nvGrpSpPr>
          <p:cNvPr id="214" name="Group 213">
            <a:extLst>
              <a:ext uri="{FF2B5EF4-FFF2-40B4-BE49-F238E27FC236}">
                <a16:creationId xmlns:a16="http://schemas.microsoft.com/office/drawing/2014/main" id="{B991DBE1-B0C4-D451-F7BE-E3B272AFB374}"/>
              </a:ext>
            </a:extLst>
          </p:cNvPr>
          <p:cNvGrpSpPr/>
          <p:nvPr/>
        </p:nvGrpSpPr>
        <p:grpSpPr>
          <a:xfrm>
            <a:off x="8203021" y="3596331"/>
            <a:ext cx="1968000" cy="803677"/>
            <a:chOff x="3170501" y="1917166"/>
            <a:chExt cx="1968000" cy="803677"/>
          </a:xfrm>
        </p:grpSpPr>
        <p:sp>
          <p:nvSpPr>
            <p:cNvPr id="215" name="Rounded Rectangle 5">
              <a:extLst>
                <a:ext uri="{FF2B5EF4-FFF2-40B4-BE49-F238E27FC236}">
                  <a16:creationId xmlns:a16="http://schemas.microsoft.com/office/drawing/2014/main" id="{6875894D-511D-A63B-2BA4-209A456E95BB}"/>
                </a:ext>
              </a:extLst>
            </p:cNvPr>
            <p:cNvSpPr/>
            <p:nvPr/>
          </p:nvSpPr>
          <p:spPr>
            <a:xfrm>
              <a:off x="3248284" y="1917166"/>
              <a:ext cx="1741969" cy="401263"/>
            </a:xfrm>
            <a:prstGeom prst="rect">
              <a:avLst/>
            </a:prstGeom>
            <a:solidFill>
              <a:srgbClr val="B1D5F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Mean Fat Mass</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16" name="Rounded Rectangle 11">
              <a:extLst>
                <a:ext uri="{FF2B5EF4-FFF2-40B4-BE49-F238E27FC236}">
                  <a16:creationId xmlns:a16="http://schemas.microsoft.com/office/drawing/2014/main" id="{BE365994-CE91-8BC8-3361-EC9E650F1BE2}"/>
                </a:ext>
              </a:extLst>
            </p:cNvPr>
            <p:cNvSpPr/>
            <p:nvPr/>
          </p:nvSpPr>
          <p:spPr>
            <a:xfrm>
              <a:off x="3170501" y="2192843"/>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42.5 Kg / 43.8 %</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grpSp>
      <p:grpSp>
        <p:nvGrpSpPr>
          <p:cNvPr id="217" name="Group 216">
            <a:extLst>
              <a:ext uri="{FF2B5EF4-FFF2-40B4-BE49-F238E27FC236}">
                <a16:creationId xmlns:a16="http://schemas.microsoft.com/office/drawing/2014/main" id="{94D24198-CDB9-7C54-7579-F5728437D6D3}"/>
              </a:ext>
            </a:extLst>
          </p:cNvPr>
          <p:cNvGrpSpPr>
            <a:grpSpLocks noChangeAspect="1"/>
          </p:cNvGrpSpPr>
          <p:nvPr/>
        </p:nvGrpSpPr>
        <p:grpSpPr>
          <a:xfrm>
            <a:off x="8879721" y="3146815"/>
            <a:ext cx="422817" cy="412694"/>
            <a:chOff x="6653881" y="3494653"/>
            <a:chExt cx="572918" cy="559200"/>
          </a:xfrm>
          <a:solidFill>
            <a:srgbClr val="FFFFFF"/>
          </a:solidFill>
        </p:grpSpPr>
        <p:sp>
          <p:nvSpPr>
            <p:cNvPr id="218" name="Freeform 30">
              <a:extLst>
                <a:ext uri="{FF2B5EF4-FFF2-40B4-BE49-F238E27FC236}">
                  <a16:creationId xmlns:a16="http://schemas.microsoft.com/office/drawing/2014/main" id="{3A456038-D9BA-5BB6-C8BB-FDB7EC58656C}"/>
                </a:ext>
              </a:extLst>
            </p:cNvPr>
            <p:cNvSpPr>
              <a:spLocks/>
            </p:cNvSpPr>
            <p:nvPr/>
          </p:nvSpPr>
          <p:spPr bwMode="auto">
            <a:xfrm>
              <a:off x="6969389" y="3637479"/>
              <a:ext cx="257410" cy="258216"/>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19" name="Freeform 31">
              <a:extLst>
                <a:ext uri="{FF2B5EF4-FFF2-40B4-BE49-F238E27FC236}">
                  <a16:creationId xmlns:a16="http://schemas.microsoft.com/office/drawing/2014/main" id="{45F55C4E-E545-37C2-4BC7-4A35B247180F}"/>
                </a:ext>
              </a:extLst>
            </p:cNvPr>
            <p:cNvSpPr>
              <a:spLocks/>
            </p:cNvSpPr>
            <p:nvPr/>
          </p:nvSpPr>
          <p:spPr bwMode="auto">
            <a:xfrm>
              <a:off x="7175156" y="3752869"/>
              <a:ext cx="19366" cy="48416"/>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0" name="Freeform 32">
              <a:extLst>
                <a:ext uri="{FF2B5EF4-FFF2-40B4-BE49-F238E27FC236}">
                  <a16:creationId xmlns:a16="http://schemas.microsoft.com/office/drawing/2014/main" id="{5885A0C0-C995-4D45-D963-02613643F39B}"/>
                </a:ext>
              </a:extLst>
            </p:cNvPr>
            <p:cNvSpPr>
              <a:spLocks/>
            </p:cNvSpPr>
            <p:nvPr/>
          </p:nvSpPr>
          <p:spPr bwMode="auto">
            <a:xfrm>
              <a:off x="6849964" y="3785953"/>
              <a:ext cx="269514" cy="267900"/>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1" name="Freeform 33">
              <a:extLst>
                <a:ext uri="{FF2B5EF4-FFF2-40B4-BE49-F238E27FC236}">
                  <a16:creationId xmlns:a16="http://schemas.microsoft.com/office/drawing/2014/main" id="{428F96E1-1D26-3118-865B-6DCEECE1751E}"/>
                </a:ext>
              </a:extLst>
            </p:cNvPr>
            <p:cNvSpPr>
              <a:spLocks/>
            </p:cNvSpPr>
            <p:nvPr/>
          </p:nvSpPr>
          <p:spPr bwMode="auto">
            <a:xfrm>
              <a:off x="7025067" y="3966705"/>
              <a:ext cx="40346" cy="37119"/>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2" name="Freeform 34">
              <a:extLst>
                <a:ext uri="{FF2B5EF4-FFF2-40B4-BE49-F238E27FC236}">
                  <a16:creationId xmlns:a16="http://schemas.microsoft.com/office/drawing/2014/main" id="{63A28BA0-7B60-0A9B-3413-023DBA0711D1}"/>
                </a:ext>
              </a:extLst>
            </p:cNvPr>
            <p:cNvSpPr>
              <a:spLocks/>
            </p:cNvSpPr>
            <p:nvPr/>
          </p:nvSpPr>
          <p:spPr bwMode="auto">
            <a:xfrm>
              <a:off x="6828984" y="3494653"/>
              <a:ext cx="272741" cy="275969"/>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3" name="Freeform 35">
              <a:extLst>
                <a:ext uri="{FF2B5EF4-FFF2-40B4-BE49-F238E27FC236}">
                  <a16:creationId xmlns:a16="http://schemas.microsoft.com/office/drawing/2014/main" id="{38361C31-7C5C-7A4C-FD2E-48F9AC9B61CE}"/>
                </a:ext>
              </a:extLst>
            </p:cNvPr>
            <p:cNvSpPr>
              <a:spLocks/>
            </p:cNvSpPr>
            <p:nvPr/>
          </p:nvSpPr>
          <p:spPr bwMode="auto">
            <a:xfrm>
              <a:off x="7033137" y="3572118"/>
              <a:ext cx="26629" cy="45995"/>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4" name="Freeform 36">
              <a:extLst>
                <a:ext uri="{FF2B5EF4-FFF2-40B4-BE49-F238E27FC236}">
                  <a16:creationId xmlns:a16="http://schemas.microsoft.com/office/drawing/2014/main" id="{0E56D4CB-682A-416D-707C-07347FC3191A}"/>
                </a:ext>
              </a:extLst>
            </p:cNvPr>
            <p:cNvSpPr>
              <a:spLocks/>
            </p:cNvSpPr>
            <p:nvPr/>
          </p:nvSpPr>
          <p:spPr bwMode="auto">
            <a:xfrm>
              <a:off x="6653881" y="3556786"/>
              <a:ext cx="272741" cy="273548"/>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5" name="Freeform 37">
              <a:extLst>
                <a:ext uri="{FF2B5EF4-FFF2-40B4-BE49-F238E27FC236}">
                  <a16:creationId xmlns:a16="http://schemas.microsoft.com/office/drawing/2014/main" id="{505922F1-5D57-ABE3-F273-8B88518CC105}"/>
                </a:ext>
              </a:extLst>
            </p:cNvPr>
            <p:cNvSpPr>
              <a:spLocks/>
            </p:cNvSpPr>
            <p:nvPr/>
          </p:nvSpPr>
          <p:spPr bwMode="auto">
            <a:xfrm>
              <a:off x="6719242" y="3748835"/>
              <a:ext cx="41960" cy="34698"/>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6" name="Freeform 38">
              <a:extLst>
                <a:ext uri="{FF2B5EF4-FFF2-40B4-BE49-F238E27FC236}">
                  <a16:creationId xmlns:a16="http://schemas.microsoft.com/office/drawing/2014/main" id="{42210734-FD5F-3D1E-ABFF-E6B964041A9D}"/>
                </a:ext>
              </a:extLst>
            </p:cNvPr>
            <p:cNvSpPr>
              <a:spLocks/>
            </p:cNvSpPr>
            <p:nvPr/>
          </p:nvSpPr>
          <p:spPr bwMode="auto">
            <a:xfrm>
              <a:off x="6849964" y="3618113"/>
              <a:ext cx="269514" cy="269513"/>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7" name="Freeform 39">
              <a:extLst>
                <a:ext uri="{FF2B5EF4-FFF2-40B4-BE49-F238E27FC236}">
                  <a16:creationId xmlns:a16="http://schemas.microsoft.com/office/drawing/2014/main" id="{F276DCD0-B759-1FAF-0DF7-6EA86E846280}"/>
                </a:ext>
              </a:extLst>
            </p:cNvPr>
            <p:cNvSpPr>
              <a:spLocks/>
            </p:cNvSpPr>
            <p:nvPr/>
          </p:nvSpPr>
          <p:spPr bwMode="auto">
            <a:xfrm>
              <a:off x="7025067" y="3798864"/>
              <a:ext cx="40346" cy="37119"/>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8" name="Freeform 40">
              <a:extLst>
                <a:ext uri="{FF2B5EF4-FFF2-40B4-BE49-F238E27FC236}">
                  <a16:creationId xmlns:a16="http://schemas.microsoft.com/office/drawing/2014/main" id="{15F35020-F67C-1111-D859-783F44D0F4E0}"/>
                </a:ext>
              </a:extLst>
            </p:cNvPr>
            <p:cNvSpPr>
              <a:spLocks/>
            </p:cNvSpPr>
            <p:nvPr/>
          </p:nvSpPr>
          <p:spPr bwMode="auto">
            <a:xfrm>
              <a:off x="6703910" y="3772236"/>
              <a:ext cx="261444" cy="262251"/>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grpFill/>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sp>
          <p:nvSpPr>
            <p:cNvPr id="229" name="Freeform 41">
              <a:extLst>
                <a:ext uri="{FF2B5EF4-FFF2-40B4-BE49-F238E27FC236}">
                  <a16:creationId xmlns:a16="http://schemas.microsoft.com/office/drawing/2014/main" id="{F151235D-E0F7-FD54-A356-A69EC7CEDE42}"/>
                </a:ext>
              </a:extLst>
            </p:cNvPr>
            <p:cNvSpPr>
              <a:spLocks/>
            </p:cNvSpPr>
            <p:nvPr/>
          </p:nvSpPr>
          <p:spPr bwMode="auto">
            <a:xfrm>
              <a:off x="6738608" y="3897309"/>
              <a:ext cx="20980" cy="48416"/>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grpFill/>
            <a:ln w="19050">
              <a:solidFill>
                <a:schemeClr val="tx2"/>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1965"/>
                </a:solidFill>
                <a:effectLst/>
                <a:uLnTx/>
                <a:uFillTx/>
                <a:ea typeface="+mn-ea"/>
                <a:cs typeface="+mn-cs"/>
              </a:endParaRPr>
            </a:p>
          </p:txBody>
        </p:sp>
      </p:grpSp>
      <p:sp>
        <p:nvSpPr>
          <p:cNvPr id="230" name="Freeform: Shape 229">
            <a:extLst>
              <a:ext uri="{FF2B5EF4-FFF2-40B4-BE49-F238E27FC236}">
                <a16:creationId xmlns:a16="http://schemas.microsoft.com/office/drawing/2014/main" id="{98641B92-5FF3-9940-205E-7B14B9C57277}"/>
              </a:ext>
            </a:extLst>
          </p:cNvPr>
          <p:cNvSpPr/>
          <p:nvPr/>
        </p:nvSpPr>
        <p:spPr>
          <a:xfrm>
            <a:off x="10991378" y="3220957"/>
            <a:ext cx="333852" cy="293091"/>
          </a:xfrm>
          <a:custGeom>
            <a:avLst/>
            <a:gdLst>
              <a:gd name="connsiteX0" fmla="*/ 2562331 w 2571518"/>
              <a:gd name="connsiteY0" fmla="*/ 367026 h 2571532"/>
              <a:gd name="connsiteX1" fmla="*/ 2443459 w 2571518"/>
              <a:gd name="connsiteY1" fmla="*/ 247678 h 2571532"/>
              <a:gd name="connsiteX2" fmla="*/ 2323539 w 2571518"/>
              <a:gd name="connsiteY2" fmla="*/ 128330 h 2571532"/>
              <a:gd name="connsiteX3" fmla="*/ 2204095 w 2571518"/>
              <a:gd name="connsiteY3" fmla="*/ 9077 h 2571532"/>
              <a:gd name="connsiteX4" fmla="*/ 2157899 w 2571518"/>
              <a:gd name="connsiteY4" fmla="*/ 9077 h 2571532"/>
              <a:gd name="connsiteX5" fmla="*/ 1905963 w 2571518"/>
              <a:gd name="connsiteY5" fmla="*/ 190814 h 2571532"/>
              <a:gd name="connsiteX6" fmla="*/ 1829191 w 2571518"/>
              <a:gd name="connsiteY6" fmla="*/ 218912 h 2571532"/>
              <a:gd name="connsiteX7" fmla="*/ 1804426 w 2571518"/>
              <a:gd name="connsiteY7" fmla="*/ 224627 h 2571532"/>
              <a:gd name="connsiteX8" fmla="*/ 1803188 w 2571518"/>
              <a:gd name="connsiteY8" fmla="*/ 224627 h 2571532"/>
              <a:gd name="connsiteX9" fmla="*/ 1802617 w 2571518"/>
              <a:gd name="connsiteY9" fmla="*/ 224627 h 2571532"/>
              <a:gd name="connsiteX10" fmla="*/ 1793092 w 2571518"/>
              <a:gd name="connsiteY10" fmla="*/ 225580 h 2571532"/>
              <a:gd name="connsiteX11" fmla="*/ 547984 w 2571518"/>
              <a:gd name="connsiteY11" fmla="*/ 1068923 h 2571532"/>
              <a:gd name="connsiteX12" fmla="*/ 279379 w 2571518"/>
              <a:gd name="connsiteY12" fmla="*/ 1604133 h 2571532"/>
              <a:gd name="connsiteX13" fmla="*/ 190415 w 2571518"/>
              <a:gd name="connsiteY13" fmla="*/ 1906837 h 2571532"/>
              <a:gd name="connsiteX14" fmla="*/ 9440 w 2571518"/>
              <a:gd name="connsiteY14" fmla="*/ 2157441 h 2571532"/>
              <a:gd name="connsiteX15" fmla="*/ 9440 w 2571518"/>
              <a:gd name="connsiteY15" fmla="*/ 2203637 h 2571532"/>
              <a:gd name="connsiteX16" fmla="*/ 128883 w 2571518"/>
              <a:gd name="connsiteY16" fmla="*/ 2322985 h 2571532"/>
              <a:gd name="connsiteX17" fmla="*/ 248136 w 2571518"/>
              <a:gd name="connsiteY17" fmla="*/ 2442238 h 2571532"/>
              <a:gd name="connsiteX18" fmla="*/ 367580 w 2571518"/>
              <a:gd name="connsiteY18" fmla="*/ 2561586 h 2571532"/>
              <a:gd name="connsiteX19" fmla="*/ 391488 w 2571518"/>
              <a:gd name="connsiteY19" fmla="*/ 2571111 h 2571532"/>
              <a:gd name="connsiteX20" fmla="*/ 413967 w 2571518"/>
              <a:gd name="connsiteY20" fmla="*/ 2561586 h 2571532"/>
              <a:gd name="connsiteX21" fmla="*/ 743341 w 2571518"/>
              <a:gd name="connsiteY21" fmla="*/ 2353751 h 2571532"/>
              <a:gd name="connsiteX22" fmla="*/ 958035 w 2571518"/>
              <a:gd name="connsiteY22" fmla="*/ 2294696 h 2571532"/>
              <a:gd name="connsiteX23" fmla="*/ 1165680 w 2571518"/>
              <a:gd name="connsiteY23" fmla="*/ 2214305 h 2571532"/>
              <a:gd name="connsiteX24" fmla="*/ 1895200 w 2571518"/>
              <a:gd name="connsiteY24" fmla="*/ 1668141 h 2571532"/>
              <a:gd name="connsiteX25" fmla="*/ 2280295 w 2571518"/>
              <a:gd name="connsiteY25" fmla="*/ 1012249 h 2571532"/>
              <a:gd name="connsiteX26" fmla="*/ 2343827 w 2571518"/>
              <a:gd name="connsiteY26" fmla="*/ 807367 h 2571532"/>
              <a:gd name="connsiteX27" fmla="*/ 2353352 w 2571518"/>
              <a:gd name="connsiteY27" fmla="*/ 754122 h 2571532"/>
              <a:gd name="connsiteX28" fmla="*/ 2353352 w 2571518"/>
              <a:gd name="connsiteY28" fmla="*/ 747264 h 2571532"/>
              <a:gd name="connsiteX29" fmla="*/ 2428028 w 2571518"/>
              <a:gd name="connsiteY29" fmla="*/ 574862 h 2571532"/>
              <a:gd name="connsiteX30" fmla="*/ 2562140 w 2571518"/>
              <a:gd name="connsiteY30" fmla="*/ 413413 h 2571532"/>
              <a:gd name="connsiteX31" fmla="*/ 2562140 w 2571518"/>
              <a:gd name="connsiteY31" fmla="*/ 367216 h 2571532"/>
              <a:gd name="connsiteX32" fmla="*/ 1561253 w 2571518"/>
              <a:gd name="connsiteY32" fmla="*/ 1560604 h 2571532"/>
              <a:gd name="connsiteX33" fmla="*/ 1265026 w 2571518"/>
              <a:gd name="connsiteY33" fmla="*/ 1773487 h 2571532"/>
              <a:gd name="connsiteX34" fmla="*/ 975370 w 2571518"/>
              <a:gd name="connsiteY34" fmla="*/ 1889121 h 2571532"/>
              <a:gd name="connsiteX35" fmla="*/ 609610 w 2571518"/>
              <a:gd name="connsiteY35" fmla="*/ 2096385 h 2571532"/>
              <a:gd name="connsiteX36" fmla="*/ 565128 w 2571518"/>
              <a:gd name="connsiteY36" fmla="*/ 2128294 h 2571532"/>
              <a:gd name="connsiteX37" fmla="*/ 711528 w 2571518"/>
              <a:gd name="connsiteY37" fmla="*/ 1907600 h 2571532"/>
              <a:gd name="connsiteX38" fmla="*/ 923650 w 2571518"/>
              <a:gd name="connsiteY38" fmla="*/ 1798348 h 2571532"/>
              <a:gd name="connsiteX39" fmla="*/ 939080 w 2571518"/>
              <a:gd name="connsiteY39" fmla="*/ 1791680 h 2571532"/>
              <a:gd name="connsiteX40" fmla="*/ 947557 w 2571518"/>
              <a:gd name="connsiteY40" fmla="*/ 1787966 h 2571532"/>
              <a:gd name="connsiteX41" fmla="*/ 1285981 w 2571518"/>
              <a:gd name="connsiteY41" fmla="*/ 1643091 h 2571532"/>
              <a:gd name="connsiteX42" fmla="*/ 1584970 w 2571518"/>
              <a:gd name="connsiteY42" fmla="*/ 1372390 h 2571532"/>
              <a:gd name="connsiteX43" fmla="*/ 1732513 w 2571518"/>
              <a:gd name="connsiteY43" fmla="*/ 1094355 h 2571532"/>
              <a:gd name="connsiteX44" fmla="*/ 1880722 w 2571518"/>
              <a:gd name="connsiteY44" fmla="*/ 756980 h 2571532"/>
              <a:gd name="connsiteX45" fmla="*/ 1905105 w 2571518"/>
              <a:gd name="connsiteY45" fmla="*/ 713736 h 2571532"/>
              <a:gd name="connsiteX46" fmla="*/ 2117227 w 2571518"/>
              <a:gd name="connsiteY46" fmla="*/ 574099 h 2571532"/>
              <a:gd name="connsiteX47" fmla="*/ 1932633 w 2571518"/>
              <a:gd name="connsiteY47" fmla="*/ 886234 h 2571532"/>
              <a:gd name="connsiteX48" fmla="*/ 1715368 w 2571518"/>
              <a:gd name="connsiteY48" fmla="*/ 1366484 h 2571532"/>
              <a:gd name="connsiteX49" fmla="*/ 1561253 w 2571518"/>
              <a:gd name="connsiteY49" fmla="*/ 1560508 h 2571532"/>
              <a:gd name="connsiteX50" fmla="*/ 2373545 w 2571518"/>
              <a:gd name="connsiteY50" fmla="*/ 271205 h 2571532"/>
              <a:gd name="connsiteX51" fmla="*/ 1983592 w 2571518"/>
              <a:gd name="connsiteY51" fmla="*/ 588197 h 2571532"/>
              <a:gd name="connsiteX52" fmla="*/ 2300584 w 2571518"/>
              <a:gd name="connsiteY52" fmla="*/ 197957 h 2571532"/>
              <a:gd name="connsiteX53" fmla="*/ 2373259 w 2571518"/>
              <a:gd name="connsiteY53" fmla="*/ 270728 h 2571532"/>
              <a:gd name="connsiteX54" fmla="*/ 1857862 w 2571518"/>
              <a:gd name="connsiteY54" fmla="*/ 666206 h 2571532"/>
              <a:gd name="connsiteX55" fmla="*/ 1632691 w 2571518"/>
              <a:gd name="connsiteY55" fmla="*/ 780030 h 2571532"/>
              <a:gd name="connsiteX56" fmla="*/ 1623166 w 2571518"/>
              <a:gd name="connsiteY56" fmla="*/ 784221 h 2571532"/>
              <a:gd name="connsiteX57" fmla="*/ 1423903 w 2571518"/>
              <a:gd name="connsiteY57" fmla="*/ 859088 h 2571532"/>
              <a:gd name="connsiteX58" fmla="*/ 1245023 w 2571518"/>
              <a:gd name="connsiteY58" fmla="*/ 953861 h 2571532"/>
              <a:gd name="connsiteX59" fmla="*/ 958702 w 2571518"/>
              <a:gd name="connsiteY59" fmla="*/ 1237897 h 2571532"/>
              <a:gd name="connsiteX60" fmla="*/ 824685 w 2571518"/>
              <a:gd name="connsiteY60" fmla="*/ 1519075 h 2571532"/>
              <a:gd name="connsiteX61" fmla="*/ 783537 w 2571518"/>
              <a:gd name="connsiteY61" fmla="*/ 1623850 h 2571532"/>
              <a:gd name="connsiteX62" fmla="*/ 779632 w 2571518"/>
              <a:gd name="connsiteY62" fmla="*/ 1632804 h 2571532"/>
              <a:gd name="connsiteX63" fmla="*/ 695716 w 2571518"/>
              <a:gd name="connsiteY63" fmla="*/ 1802920 h 2571532"/>
              <a:gd name="connsiteX64" fmla="*/ 663617 w 2571518"/>
              <a:gd name="connsiteY64" fmla="*/ 1860070 h 2571532"/>
              <a:gd name="connsiteX65" fmla="*/ 449495 w 2571518"/>
              <a:gd name="connsiteY65" fmla="*/ 2001230 h 2571532"/>
              <a:gd name="connsiteX66" fmla="*/ 697907 w 2571518"/>
              <a:gd name="connsiteY66" fmla="*/ 1559937 h 2571532"/>
              <a:gd name="connsiteX67" fmla="*/ 774107 w 2571518"/>
              <a:gd name="connsiteY67" fmla="*/ 1358007 h 2571532"/>
              <a:gd name="connsiteX68" fmla="*/ 1149773 w 2571518"/>
              <a:gd name="connsiteY68" fmla="*/ 893854 h 2571532"/>
              <a:gd name="connsiteX69" fmla="*/ 1433809 w 2571518"/>
              <a:gd name="connsiteY69" fmla="*/ 744121 h 2571532"/>
              <a:gd name="connsiteX70" fmla="*/ 1719559 w 2571518"/>
              <a:gd name="connsiteY70" fmla="*/ 622868 h 2571532"/>
              <a:gd name="connsiteX71" fmla="*/ 2001403 w 2571518"/>
              <a:gd name="connsiteY71" fmla="*/ 449227 h 2571532"/>
              <a:gd name="connsiteX72" fmla="*/ 1858528 w 2571518"/>
              <a:gd name="connsiteY72" fmla="*/ 665730 h 2571532"/>
              <a:gd name="connsiteX73" fmla="*/ 1745943 w 2571518"/>
              <a:gd name="connsiteY73" fmla="*/ 882138 h 2571532"/>
              <a:gd name="connsiteX74" fmla="*/ 1732893 w 2571518"/>
              <a:gd name="connsiteY74" fmla="*/ 912237 h 2571532"/>
              <a:gd name="connsiteX75" fmla="*/ 1176634 w 2571518"/>
              <a:gd name="connsiteY75" fmla="*/ 1467735 h 2571532"/>
              <a:gd name="connsiteX76" fmla="*/ 911838 w 2571518"/>
              <a:gd name="connsiteY76" fmla="*/ 1732721 h 2571532"/>
              <a:gd name="connsiteX77" fmla="*/ 771249 w 2571518"/>
              <a:gd name="connsiteY77" fmla="*/ 1800253 h 2571532"/>
              <a:gd name="connsiteX78" fmla="*/ 822875 w 2571518"/>
              <a:gd name="connsiteY78" fmla="*/ 1694906 h 2571532"/>
              <a:gd name="connsiteX79" fmla="*/ 838210 w 2571518"/>
              <a:gd name="connsiteY79" fmla="*/ 1659950 h 2571532"/>
              <a:gd name="connsiteX80" fmla="*/ 1394566 w 2571518"/>
              <a:gd name="connsiteY80" fmla="*/ 1103595 h 2571532"/>
              <a:gd name="connsiteX81" fmla="*/ 1659265 w 2571518"/>
              <a:gd name="connsiteY81" fmla="*/ 838704 h 2571532"/>
              <a:gd name="connsiteX82" fmla="*/ 1798711 w 2571518"/>
              <a:gd name="connsiteY82" fmla="*/ 772505 h 2571532"/>
              <a:gd name="connsiteX83" fmla="*/ 1745943 w 2571518"/>
              <a:gd name="connsiteY83" fmla="*/ 881662 h 2571532"/>
              <a:gd name="connsiteX84" fmla="*/ 1673648 w 2571518"/>
              <a:gd name="connsiteY84" fmla="*/ 1063780 h 2571532"/>
              <a:gd name="connsiteX85" fmla="*/ 1574683 w 2571518"/>
              <a:gd name="connsiteY85" fmla="*/ 1273330 h 2571532"/>
              <a:gd name="connsiteX86" fmla="*/ 1294077 w 2571518"/>
              <a:gd name="connsiteY86" fmla="*/ 1560985 h 2571532"/>
              <a:gd name="connsiteX87" fmla="*/ 1064334 w 2571518"/>
              <a:gd name="connsiteY87" fmla="*/ 1672809 h 2571532"/>
              <a:gd name="connsiteX88" fmla="*/ 1513723 w 2571518"/>
              <a:gd name="connsiteY88" fmla="*/ 1223419 h 2571532"/>
              <a:gd name="connsiteX89" fmla="*/ 1673743 w 2571518"/>
              <a:gd name="connsiteY89" fmla="*/ 1063589 h 2571532"/>
              <a:gd name="connsiteX90" fmla="*/ 896598 w 2571518"/>
              <a:gd name="connsiteY90" fmla="*/ 1509455 h 2571532"/>
              <a:gd name="connsiteX91" fmla="*/ 976609 w 2571518"/>
              <a:gd name="connsiteY91" fmla="*/ 1332195 h 2571532"/>
              <a:gd name="connsiteX92" fmla="*/ 1244928 w 2571518"/>
              <a:gd name="connsiteY92" fmla="*/ 1033205 h 2571532"/>
              <a:gd name="connsiteX93" fmla="*/ 1508866 w 2571518"/>
              <a:gd name="connsiteY93" fmla="*/ 897188 h 2571532"/>
              <a:gd name="connsiteX94" fmla="*/ 1057571 w 2571518"/>
              <a:gd name="connsiteY94" fmla="*/ 1348292 h 2571532"/>
              <a:gd name="connsiteX95" fmla="*/ 896598 w 2571518"/>
              <a:gd name="connsiteY95" fmla="*/ 1509455 h 2571532"/>
              <a:gd name="connsiteX96" fmla="*/ 271758 w 2571518"/>
              <a:gd name="connsiteY96" fmla="*/ 2372705 h 2571532"/>
              <a:gd name="connsiteX97" fmla="*/ 198511 w 2571518"/>
              <a:gd name="connsiteY97" fmla="*/ 2300030 h 2571532"/>
              <a:gd name="connsiteX98" fmla="*/ 584845 w 2571518"/>
              <a:gd name="connsiteY98" fmla="*/ 1986467 h 2571532"/>
              <a:gd name="connsiteX99" fmla="*/ 271758 w 2571518"/>
              <a:gd name="connsiteY99" fmla="*/ 2372705 h 2571532"/>
              <a:gd name="connsiteX100" fmla="*/ 1833859 w 2571518"/>
              <a:gd name="connsiteY100" fmla="*/ 257965 h 2571532"/>
              <a:gd name="connsiteX101" fmla="*/ 1833859 w 2571518"/>
              <a:gd name="connsiteY101" fmla="*/ 257203 h 2571532"/>
              <a:gd name="connsiteX102" fmla="*/ 1833859 w 2571518"/>
              <a:gd name="connsiteY102" fmla="*/ 257203 h 2571532"/>
              <a:gd name="connsiteX103" fmla="*/ 1833859 w 2571518"/>
              <a:gd name="connsiteY103" fmla="*/ 257965 h 2571532"/>
              <a:gd name="connsiteX104" fmla="*/ 1803474 w 2571518"/>
              <a:gd name="connsiteY104" fmla="*/ 224913 h 2571532"/>
              <a:gd name="connsiteX105" fmla="*/ 1803474 w 2571518"/>
              <a:gd name="connsiteY105" fmla="*/ 224913 h 2571532"/>
              <a:gd name="connsiteX106" fmla="*/ 270711 w 2571518"/>
              <a:gd name="connsiteY106" fmla="*/ 1877786 h 2571532"/>
              <a:gd name="connsiteX107" fmla="*/ 323765 w 2571518"/>
              <a:gd name="connsiteY107" fmla="*/ 1681000 h 2571532"/>
              <a:gd name="connsiteX108" fmla="*/ 388249 w 2571518"/>
              <a:gd name="connsiteY108" fmla="*/ 1497739 h 2571532"/>
              <a:gd name="connsiteX109" fmla="*/ 1805284 w 2571518"/>
              <a:gd name="connsiteY109" fmla="*/ 290255 h 2571532"/>
              <a:gd name="connsiteX110" fmla="*/ 1924251 w 2571518"/>
              <a:gd name="connsiteY110" fmla="*/ 253964 h 2571532"/>
              <a:gd name="connsiteX111" fmla="*/ 2181426 w 2571518"/>
              <a:gd name="connsiteY111" fmla="*/ 77847 h 2571532"/>
              <a:gd name="connsiteX112" fmla="*/ 2254768 w 2571518"/>
              <a:gd name="connsiteY112" fmla="*/ 151094 h 2571532"/>
              <a:gd name="connsiteX113" fmla="*/ 1535345 w 2571518"/>
              <a:gd name="connsiteY113" fmla="*/ 636869 h 2571532"/>
              <a:gd name="connsiteX114" fmla="*/ 1356370 w 2571518"/>
              <a:gd name="connsiteY114" fmla="*/ 703544 h 2571532"/>
              <a:gd name="connsiteX115" fmla="*/ 1176634 w 2571518"/>
              <a:gd name="connsiteY115" fmla="*/ 796604 h 2571532"/>
              <a:gd name="connsiteX116" fmla="*/ 877548 w 2571518"/>
              <a:gd name="connsiteY116" fmla="*/ 1064447 h 2571532"/>
              <a:gd name="connsiteX117" fmla="*/ 711433 w 2571518"/>
              <a:gd name="connsiteY117" fmla="*/ 1339719 h 2571532"/>
              <a:gd name="connsiteX118" fmla="*/ 651901 w 2571518"/>
              <a:gd name="connsiteY118" fmla="*/ 1499644 h 2571532"/>
              <a:gd name="connsiteX119" fmla="*/ 576559 w 2571518"/>
              <a:gd name="connsiteY119" fmla="*/ 1669570 h 2571532"/>
              <a:gd name="connsiteX120" fmla="*/ 151934 w 2571518"/>
              <a:gd name="connsiteY120" fmla="*/ 2253452 h 2571532"/>
              <a:gd name="connsiteX121" fmla="*/ 78782 w 2571518"/>
              <a:gd name="connsiteY121" fmla="*/ 2180205 h 2571532"/>
              <a:gd name="connsiteX122" fmla="*/ 270711 w 2571518"/>
              <a:gd name="connsiteY122" fmla="*/ 1877786 h 2571532"/>
              <a:gd name="connsiteX123" fmla="*/ 2371735 w 2571518"/>
              <a:gd name="connsiteY123" fmla="*/ 541715 h 2571532"/>
              <a:gd name="connsiteX124" fmla="*/ 2287153 w 2571518"/>
              <a:gd name="connsiteY124" fmla="*/ 741740 h 2571532"/>
              <a:gd name="connsiteX125" fmla="*/ 2282486 w 2571518"/>
              <a:gd name="connsiteY125" fmla="*/ 760790 h 2571532"/>
              <a:gd name="connsiteX126" fmla="*/ 2283153 w 2571518"/>
              <a:gd name="connsiteY126" fmla="*/ 778982 h 2571532"/>
              <a:gd name="connsiteX127" fmla="*/ 2265722 w 2571518"/>
              <a:gd name="connsiteY127" fmla="*/ 848324 h 2571532"/>
              <a:gd name="connsiteX128" fmla="*/ 2176663 w 2571518"/>
              <a:gd name="connsiteY128" fmla="*/ 1095022 h 2571532"/>
              <a:gd name="connsiteX129" fmla="*/ 1706890 w 2571518"/>
              <a:gd name="connsiteY129" fmla="*/ 1772535 h 2571532"/>
              <a:gd name="connsiteX130" fmla="*/ 1024710 w 2571518"/>
              <a:gd name="connsiteY130" fmla="*/ 2202303 h 2571532"/>
              <a:gd name="connsiteX131" fmla="*/ 838687 w 2571518"/>
              <a:gd name="connsiteY131" fmla="*/ 2262597 h 2571532"/>
              <a:gd name="connsiteX132" fmla="*/ 652759 w 2571518"/>
              <a:gd name="connsiteY132" fmla="*/ 2315555 h 2571532"/>
              <a:gd name="connsiteX133" fmla="*/ 390821 w 2571518"/>
              <a:gd name="connsiteY133" fmla="*/ 2492816 h 2571532"/>
              <a:gd name="connsiteX134" fmla="*/ 317478 w 2571518"/>
              <a:gd name="connsiteY134" fmla="*/ 2419473 h 2571532"/>
              <a:gd name="connsiteX135" fmla="*/ 516075 w 2571518"/>
              <a:gd name="connsiteY135" fmla="*/ 2245642 h 2571532"/>
              <a:gd name="connsiteX136" fmla="*/ 866880 w 2571518"/>
              <a:gd name="connsiteY136" fmla="*/ 2011518 h 2571532"/>
              <a:gd name="connsiteX137" fmla="*/ 1463908 w 2571518"/>
              <a:gd name="connsiteY137" fmla="*/ 1731006 h 2571532"/>
              <a:gd name="connsiteX138" fmla="*/ 1606783 w 2571518"/>
              <a:gd name="connsiteY138" fmla="*/ 1607181 h 2571532"/>
              <a:gd name="connsiteX139" fmla="*/ 1784424 w 2571518"/>
              <a:gd name="connsiteY139" fmla="*/ 1377628 h 2571532"/>
              <a:gd name="connsiteX140" fmla="*/ 1894152 w 2571518"/>
              <a:gd name="connsiteY140" fmla="*/ 1143504 h 2571532"/>
              <a:gd name="connsiteX141" fmla="*/ 2001213 w 2571518"/>
              <a:gd name="connsiteY141" fmla="*/ 892901 h 2571532"/>
              <a:gd name="connsiteX142" fmla="*/ 2178949 w 2571518"/>
              <a:gd name="connsiteY142" fmla="*/ 597626 h 2571532"/>
              <a:gd name="connsiteX143" fmla="*/ 2419360 w 2571518"/>
              <a:gd name="connsiteY143" fmla="*/ 317877 h 2571532"/>
              <a:gd name="connsiteX144" fmla="*/ 2492608 w 2571518"/>
              <a:gd name="connsiteY144" fmla="*/ 391029 h 2571532"/>
              <a:gd name="connsiteX145" fmla="*/ 2370973 w 2571518"/>
              <a:gd name="connsiteY145" fmla="*/ 542096 h 257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571518" h="2571532">
                <a:moveTo>
                  <a:pt x="2562331" y="367026"/>
                </a:moveTo>
                <a:lnTo>
                  <a:pt x="2443459" y="247678"/>
                </a:lnTo>
                <a:lnTo>
                  <a:pt x="2323539" y="128330"/>
                </a:lnTo>
                <a:lnTo>
                  <a:pt x="2204095" y="9077"/>
                </a:lnTo>
                <a:cubicBezTo>
                  <a:pt x="2191275" y="-3525"/>
                  <a:pt x="2170720" y="-3525"/>
                  <a:pt x="2157899" y="9077"/>
                </a:cubicBezTo>
                <a:cubicBezTo>
                  <a:pt x="2083795" y="82514"/>
                  <a:pt x="2000832" y="146427"/>
                  <a:pt x="1905963" y="190814"/>
                </a:cubicBezTo>
                <a:cubicBezTo>
                  <a:pt x="1881179" y="202263"/>
                  <a:pt x="1855509" y="211654"/>
                  <a:pt x="1829191" y="218912"/>
                </a:cubicBezTo>
                <a:cubicBezTo>
                  <a:pt x="1821000" y="221103"/>
                  <a:pt x="1812618" y="223008"/>
                  <a:pt x="1804426" y="224627"/>
                </a:cubicBezTo>
                <a:lnTo>
                  <a:pt x="1803188" y="224627"/>
                </a:lnTo>
                <a:lnTo>
                  <a:pt x="1802617" y="224627"/>
                </a:lnTo>
                <a:cubicBezTo>
                  <a:pt x="1799416" y="224523"/>
                  <a:pt x="1796206" y="224837"/>
                  <a:pt x="1793092" y="225580"/>
                </a:cubicBezTo>
                <a:cubicBezTo>
                  <a:pt x="1288638" y="344395"/>
                  <a:pt x="845482" y="644556"/>
                  <a:pt x="547984" y="1068923"/>
                </a:cubicBezTo>
                <a:cubicBezTo>
                  <a:pt x="433208" y="1233496"/>
                  <a:pt x="342744" y="1413757"/>
                  <a:pt x="279379" y="1604133"/>
                </a:cubicBezTo>
                <a:cubicBezTo>
                  <a:pt x="246041" y="1703765"/>
                  <a:pt x="229848" y="1809492"/>
                  <a:pt x="190415" y="1906837"/>
                </a:cubicBezTo>
                <a:cubicBezTo>
                  <a:pt x="150981" y="2004183"/>
                  <a:pt x="82497" y="2084193"/>
                  <a:pt x="9440" y="2157441"/>
                </a:cubicBezTo>
                <a:cubicBezTo>
                  <a:pt x="-3107" y="2170280"/>
                  <a:pt x="-3107" y="2190797"/>
                  <a:pt x="9440" y="2203637"/>
                </a:cubicBezTo>
                <a:lnTo>
                  <a:pt x="128883" y="2322985"/>
                </a:lnTo>
                <a:lnTo>
                  <a:pt x="248136" y="2442238"/>
                </a:lnTo>
                <a:lnTo>
                  <a:pt x="367580" y="2561586"/>
                </a:lnTo>
                <a:cubicBezTo>
                  <a:pt x="373760" y="2568120"/>
                  <a:pt x="382506" y="2571607"/>
                  <a:pt x="391488" y="2571111"/>
                </a:cubicBezTo>
                <a:cubicBezTo>
                  <a:pt x="399980" y="2571206"/>
                  <a:pt x="408128" y="2567758"/>
                  <a:pt x="413967" y="2561586"/>
                </a:cubicBezTo>
                <a:cubicBezTo>
                  <a:pt x="509217" y="2466336"/>
                  <a:pt x="612563" y="2391089"/>
                  <a:pt x="743341" y="2353751"/>
                </a:cubicBezTo>
                <a:cubicBezTo>
                  <a:pt x="814874" y="2333367"/>
                  <a:pt x="887169" y="2317841"/>
                  <a:pt x="958035" y="2294696"/>
                </a:cubicBezTo>
                <a:cubicBezTo>
                  <a:pt x="1028606" y="2271540"/>
                  <a:pt x="1097916" y="2244709"/>
                  <a:pt x="1165680" y="2214305"/>
                </a:cubicBezTo>
                <a:cubicBezTo>
                  <a:pt x="1446239" y="2088413"/>
                  <a:pt x="1695384" y="1901885"/>
                  <a:pt x="1895200" y="1668141"/>
                </a:cubicBezTo>
                <a:cubicBezTo>
                  <a:pt x="2060573" y="1473460"/>
                  <a:pt x="2190875" y="1251527"/>
                  <a:pt x="2280295" y="1012249"/>
                </a:cubicBezTo>
                <a:cubicBezTo>
                  <a:pt x="2305965" y="945432"/>
                  <a:pt x="2327187" y="876985"/>
                  <a:pt x="2343827" y="807367"/>
                </a:cubicBezTo>
                <a:cubicBezTo>
                  <a:pt x="2348028" y="789822"/>
                  <a:pt x="2351209" y="772039"/>
                  <a:pt x="2353352" y="754122"/>
                </a:cubicBezTo>
                <a:cubicBezTo>
                  <a:pt x="2353638" y="751846"/>
                  <a:pt x="2353638" y="749541"/>
                  <a:pt x="2353352" y="747264"/>
                </a:cubicBezTo>
                <a:cubicBezTo>
                  <a:pt x="2370011" y="686571"/>
                  <a:pt x="2395148" y="628526"/>
                  <a:pt x="2428028" y="574862"/>
                </a:cubicBezTo>
                <a:cubicBezTo>
                  <a:pt x="2465080" y="515140"/>
                  <a:pt x="2512801" y="463133"/>
                  <a:pt x="2562140" y="413413"/>
                </a:cubicBezTo>
                <a:cubicBezTo>
                  <a:pt x="2574684" y="400573"/>
                  <a:pt x="2574684" y="380056"/>
                  <a:pt x="2562140" y="367216"/>
                </a:cubicBezTo>
                <a:close/>
                <a:moveTo>
                  <a:pt x="1561253" y="1560604"/>
                </a:moveTo>
                <a:cubicBezTo>
                  <a:pt x="1475366" y="1647939"/>
                  <a:pt x="1375182" y="1719938"/>
                  <a:pt x="1265026" y="1773487"/>
                </a:cubicBezTo>
                <a:cubicBezTo>
                  <a:pt x="1171204" y="1818255"/>
                  <a:pt x="1071287" y="1849116"/>
                  <a:pt x="975370" y="1889121"/>
                </a:cubicBezTo>
                <a:cubicBezTo>
                  <a:pt x="845670" y="1943480"/>
                  <a:pt x="722890" y="2013051"/>
                  <a:pt x="609610" y="2096385"/>
                </a:cubicBezTo>
                <a:cubicBezTo>
                  <a:pt x="594846" y="2107053"/>
                  <a:pt x="580083" y="2117721"/>
                  <a:pt x="565128" y="2128294"/>
                </a:cubicBezTo>
                <a:cubicBezTo>
                  <a:pt x="617737" y="2057323"/>
                  <a:pt x="666603" y="1983666"/>
                  <a:pt x="711528" y="1907600"/>
                </a:cubicBezTo>
                <a:cubicBezTo>
                  <a:pt x="780326" y="1867585"/>
                  <a:pt x="851125" y="1831123"/>
                  <a:pt x="923650" y="1798348"/>
                </a:cubicBezTo>
                <a:cubicBezTo>
                  <a:pt x="928793" y="1795967"/>
                  <a:pt x="933936" y="1793871"/>
                  <a:pt x="939080" y="1791680"/>
                </a:cubicBezTo>
                <a:cubicBezTo>
                  <a:pt x="942094" y="1790928"/>
                  <a:pt x="944960" y="1789671"/>
                  <a:pt x="947557" y="1787966"/>
                </a:cubicBezTo>
                <a:cubicBezTo>
                  <a:pt x="1061000" y="1739769"/>
                  <a:pt x="1179301" y="1706718"/>
                  <a:pt x="1285981" y="1643091"/>
                </a:cubicBezTo>
                <a:cubicBezTo>
                  <a:pt x="1402081" y="1572862"/>
                  <a:pt x="1503589" y="1480956"/>
                  <a:pt x="1584970" y="1372390"/>
                </a:cubicBezTo>
                <a:cubicBezTo>
                  <a:pt x="1648521" y="1288084"/>
                  <a:pt x="1698318" y="1194244"/>
                  <a:pt x="1732513" y="1094355"/>
                </a:cubicBezTo>
                <a:cubicBezTo>
                  <a:pt x="1772451" y="977969"/>
                  <a:pt x="1822028" y="865126"/>
                  <a:pt x="1880722" y="756980"/>
                </a:cubicBezTo>
                <a:cubicBezTo>
                  <a:pt x="1888627" y="742406"/>
                  <a:pt x="1896819" y="728405"/>
                  <a:pt x="1905105" y="713736"/>
                </a:cubicBezTo>
                <a:cubicBezTo>
                  <a:pt x="1978153" y="670855"/>
                  <a:pt x="2048952" y="624249"/>
                  <a:pt x="2117227" y="574099"/>
                </a:cubicBezTo>
                <a:cubicBezTo>
                  <a:pt x="2046342" y="672321"/>
                  <a:pt x="1984554" y="776801"/>
                  <a:pt x="1932633" y="886234"/>
                </a:cubicBezTo>
                <a:cubicBezTo>
                  <a:pt x="1858052" y="1045301"/>
                  <a:pt x="1807189" y="1215799"/>
                  <a:pt x="1715368" y="1366484"/>
                </a:cubicBezTo>
                <a:cubicBezTo>
                  <a:pt x="1671886" y="1437055"/>
                  <a:pt x="1620156" y="1502187"/>
                  <a:pt x="1561253" y="1560508"/>
                </a:cubicBezTo>
                <a:close/>
                <a:moveTo>
                  <a:pt x="2373545" y="271205"/>
                </a:moveTo>
                <a:cubicBezTo>
                  <a:pt x="2253673" y="388733"/>
                  <a:pt x="2123123" y="494852"/>
                  <a:pt x="1983592" y="588197"/>
                </a:cubicBezTo>
                <a:cubicBezTo>
                  <a:pt x="2076870" y="448522"/>
                  <a:pt x="2182997" y="317877"/>
                  <a:pt x="2300584" y="197957"/>
                </a:cubicBezTo>
                <a:lnTo>
                  <a:pt x="2373259" y="270728"/>
                </a:lnTo>
                <a:close/>
                <a:moveTo>
                  <a:pt x="1857862" y="666206"/>
                </a:moveTo>
                <a:cubicBezTo>
                  <a:pt x="1785024" y="708392"/>
                  <a:pt x="1709853" y="746397"/>
                  <a:pt x="1632691" y="780030"/>
                </a:cubicBezTo>
                <a:cubicBezTo>
                  <a:pt x="1629281" y="780821"/>
                  <a:pt x="1626052" y="782240"/>
                  <a:pt x="1623166" y="784221"/>
                </a:cubicBezTo>
                <a:cubicBezTo>
                  <a:pt x="1557824" y="812224"/>
                  <a:pt x="1489816" y="832418"/>
                  <a:pt x="1423903" y="859088"/>
                </a:cubicBezTo>
                <a:cubicBezTo>
                  <a:pt x="1361276" y="884653"/>
                  <a:pt x="1301354" y="916400"/>
                  <a:pt x="1245023" y="953861"/>
                </a:cubicBezTo>
                <a:cubicBezTo>
                  <a:pt x="1132315" y="1029385"/>
                  <a:pt x="1035123" y="1125797"/>
                  <a:pt x="958702" y="1237897"/>
                </a:cubicBezTo>
                <a:cubicBezTo>
                  <a:pt x="898789" y="1325051"/>
                  <a:pt x="859832" y="1420015"/>
                  <a:pt x="824685" y="1519075"/>
                </a:cubicBezTo>
                <a:cubicBezTo>
                  <a:pt x="812112" y="1554508"/>
                  <a:pt x="798205" y="1589274"/>
                  <a:pt x="783537" y="1623850"/>
                </a:cubicBezTo>
                <a:cubicBezTo>
                  <a:pt x="781745" y="1626593"/>
                  <a:pt x="780426" y="1629622"/>
                  <a:pt x="779632" y="1632804"/>
                </a:cubicBezTo>
                <a:cubicBezTo>
                  <a:pt x="754295" y="1690430"/>
                  <a:pt x="726006" y="1747580"/>
                  <a:pt x="695716" y="1802920"/>
                </a:cubicBezTo>
                <a:cubicBezTo>
                  <a:pt x="685429" y="1821970"/>
                  <a:pt x="674571" y="1841020"/>
                  <a:pt x="663617" y="1860070"/>
                </a:cubicBezTo>
                <a:cubicBezTo>
                  <a:pt x="589957" y="1903504"/>
                  <a:pt x="518583" y="1950557"/>
                  <a:pt x="449495" y="2001230"/>
                </a:cubicBezTo>
                <a:cubicBezTo>
                  <a:pt x="549085" y="1864232"/>
                  <a:pt x="632445" y="1716147"/>
                  <a:pt x="697907" y="1559937"/>
                </a:cubicBezTo>
                <a:cubicBezTo>
                  <a:pt x="725434" y="1493262"/>
                  <a:pt x="745532" y="1423920"/>
                  <a:pt x="774107" y="1358007"/>
                </a:cubicBezTo>
                <a:cubicBezTo>
                  <a:pt x="856293" y="1172917"/>
                  <a:pt x="985881" y="1012812"/>
                  <a:pt x="1149773" y="893854"/>
                </a:cubicBezTo>
                <a:cubicBezTo>
                  <a:pt x="1236708" y="830455"/>
                  <a:pt x="1332386" y="780021"/>
                  <a:pt x="1433809" y="744121"/>
                </a:cubicBezTo>
                <a:cubicBezTo>
                  <a:pt x="1531745" y="710355"/>
                  <a:pt x="1627223" y="669845"/>
                  <a:pt x="1719559" y="622868"/>
                </a:cubicBezTo>
                <a:cubicBezTo>
                  <a:pt x="1817590" y="571880"/>
                  <a:pt x="1911783" y="513854"/>
                  <a:pt x="2001403" y="449227"/>
                </a:cubicBezTo>
                <a:cubicBezTo>
                  <a:pt x="1950092" y="518893"/>
                  <a:pt x="1902410" y="591159"/>
                  <a:pt x="1858528" y="665730"/>
                </a:cubicBezTo>
                <a:close/>
                <a:moveTo>
                  <a:pt x="1745943" y="882138"/>
                </a:moveTo>
                <a:cubicBezTo>
                  <a:pt x="1741466" y="892235"/>
                  <a:pt x="1737085" y="902141"/>
                  <a:pt x="1732893" y="912237"/>
                </a:cubicBezTo>
                <a:lnTo>
                  <a:pt x="1176634" y="1467735"/>
                </a:lnTo>
                <a:lnTo>
                  <a:pt x="911838" y="1732721"/>
                </a:lnTo>
                <a:cubicBezTo>
                  <a:pt x="864214" y="1753552"/>
                  <a:pt x="817350" y="1776059"/>
                  <a:pt x="771249" y="1800253"/>
                </a:cubicBezTo>
                <a:cubicBezTo>
                  <a:pt x="789347" y="1765515"/>
                  <a:pt x="806556" y="1730406"/>
                  <a:pt x="822875" y="1694906"/>
                </a:cubicBezTo>
                <a:cubicBezTo>
                  <a:pt x="828304" y="1683381"/>
                  <a:pt x="833257" y="1671666"/>
                  <a:pt x="838210" y="1659950"/>
                </a:cubicBezTo>
                <a:cubicBezTo>
                  <a:pt x="1023567" y="1474527"/>
                  <a:pt x="1209019" y="1289075"/>
                  <a:pt x="1394566" y="1103595"/>
                </a:cubicBezTo>
                <a:cubicBezTo>
                  <a:pt x="1482891" y="1015326"/>
                  <a:pt x="1571131" y="927029"/>
                  <a:pt x="1659265" y="838704"/>
                </a:cubicBezTo>
                <a:cubicBezTo>
                  <a:pt x="1706509" y="818321"/>
                  <a:pt x="1752991" y="796251"/>
                  <a:pt x="1798711" y="772505"/>
                </a:cubicBezTo>
                <a:cubicBezTo>
                  <a:pt x="1779661" y="808605"/>
                  <a:pt x="1762421" y="844895"/>
                  <a:pt x="1745943" y="881662"/>
                </a:cubicBezTo>
                <a:close/>
                <a:moveTo>
                  <a:pt x="1673648" y="1063780"/>
                </a:moveTo>
                <a:cubicBezTo>
                  <a:pt x="1646026" y="1135884"/>
                  <a:pt x="1616498" y="1206655"/>
                  <a:pt x="1574683" y="1273330"/>
                </a:cubicBezTo>
                <a:cubicBezTo>
                  <a:pt x="1502046" y="1387582"/>
                  <a:pt x="1406491" y="1485537"/>
                  <a:pt x="1294077" y="1560985"/>
                </a:cubicBezTo>
                <a:cubicBezTo>
                  <a:pt x="1221496" y="1609943"/>
                  <a:pt x="1144534" y="1642424"/>
                  <a:pt x="1064334" y="1672809"/>
                </a:cubicBezTo>
                <a:lnTo>
                  <a:pt x="1513723" y="1223419"/>
                </a:lnTo>
                <a:cubicBezTo>
                  <a:pt x="1567063" y="1170203"/>
                  <a:pt x="1620403" y="1116929"/>
                  <a:pt x="1673743" y="1063589"/>
                </a:cubicBezTo>
                <a:close/>
                <a:moveTo>
                  <a:pt x="896598" y="1509455"/>
                </a:moveTo>
                <a:cubicBezTo>
                  <a:pt x="918473" y="1448314"/>
                  <a:pt x="945229" y="1389039"/>
                  <a:pt x="976609" y="1332195"/>
                </a:cubicBezTo>
                <a:cubicBezTo>
                  <a:pt x="1044425" y="1215056"/>
                  <a:pt x="1135787" y="1113253"/>
                  <a:pt x="1244928" y="1033205"/>
                </a:cubicBezTo>
                <a:cubicBezTo>
                  <a:pt x="1325824" y="975274"/>
                  <a:pt x="1414739" y="929449"/>
                  <a:pt x="1508866" y="897188"/>
                </a:cubicBezTo>
                <a:lnTo>
                  <a:pt x="1057571" y="1348292"/>
                </a:lnTo>
                <a:cubicBezTo>
                  <a:pt x="1003596" y="1401946"/>
                  <a:pt x="949938" y="1455667"/>
                  <a:pt x="896598" y="1509455"/>
                </a:cubicBezTo>
                <a:close/>
                <a:moveTo>
                  <a:pt x="271758" y="2372705"/>
                </a:moveTo>
                <a:lnTo>
                  <a:pt x="198511" y="2300030"/>
                </a:lnTo>
                <a:cubicBezTo>
                  <a:pt x="317349" y="2183825"/>
                  <a:pt x="446677" y="2078859"/>
                  <a:pt x="584845" y="1986467"/>
                </a:cubicBezTo>
                <a:cubicBezTo>
                  <a:pt x="492719" y="2124665"/>
                  <a:pt x="387903" y="2253976"/>
                  <a:pt x="271758" y="2372705"/>
                </a:cubicBezTo>
                <a:close/>
                <a:moveTo>
                  <a:pt x="1833859" y="257965"/>
                </a:moveTo>
                <a:cubicBezTo>
                  <a:pt x="1833820" y="257708"/>
                  <a:pt x="1833820" y="257460"/>
                  <a:pt x="1833859" y="257203"/>
                </a:cubicBezTo>
                <a:lnTo>
                  <a:pt x="1833859" y="257203"/>
                </a:lnTo>
                <a:cubicBezTo>
                  <a:pt x="1833992" y="257441"/>
                  <a:pt x="1833992" y="257727"/>
                  <a:pt x="1833859" y="257965"/>
                </a:cubicBezTo>
                <a:close/>
                <a:moveTo>
                  <a:pt x="1803474" y="224913"/>
                </a:moveTo>
                <a:lnTo>
                  <a:pt x="1803474" y="224913"/>
                </a:lnTo>
                <a:close/>
                <a:moveTo>
                  <a:pt x="270711" y="1877786"/>
                </a:moveTo>
                <a:cubicBezTo>
                  <a:pt x="292428" y="1813492"/>
                  <a:pt x="304429" y="1746056"/>
                  <a:pt x="323765" y="1681000"/>
                </a:cubicBezTo>
                <a:cubicBezTo>
                  <a:pt x="342243" y="1618801"/>
                  <a:pt x="364056" y="1557746"/>
                  <a:pt x="388249" y="1497739"/>
                </a:cubicBezTo>
                <a:cubicBezTo>
                  <a:pt x="637142" y="889491"/>
                  <a:pt x="1165247" y="439483"/>
                  <a:pt x="1805284" y="290255"/>
                </a:cubicBezTo>
                <a:cubicBezTo>
                  <a:pt x="1844336" y="291683"/>
                  <a:pt x="1891866" y="267776"/>
                  <a:pt x="1924251" y="253964"/>
                </a:cubicBezTo>
                <a:cubicBezTo>
                  <a:pt x="2020168" y="213197"/>
                  <a:pt x="2105226" y="149189"/>
                  <a:pt x="2181426" y="77847"/>
                </a:cubicBezTo>
                <a:lnTo>
                  <a:pt x="2254768" y="151094"/>
                </a:lnTo>
                <a:cubicBezTo>
                  <a:pt x="2046933" y="353405"/>
                  <a:pt x="1804045" y="526284"/>
                  <a:pt x="1535345" y="636869"/>
                </a:cubicBezTo>
                <a:cubicBezTo>
                  <a:pt x="1476385" y="661158"/>
                  <a:pt x="1415330" y="679446"/>
                  <a:pt x="1356370" y="703544"/>
                </a:cubicBezTo>
                <a:cubicBezTo>
                  <a:pt x="1293886" y="729328"/>
                  <a:pt x="1233752" y="760466"/>
                  <a:pt x="1176634" y="796604"/>
                </a:cubicBezTo>
                <a:cubicBezTo>
                  <a:pt x="1062833" y="868755"/>
                  <a:pt x="961770" y="959262"/>
                  <a:pt x="877548" y="1064447"/>
                </a:cubicBezTo>
                <a:cubicBezTo>
                  <a:pt x="809923" y="1148228"/>
                  <a:pt x="754037" y="1240840"/>
                  <a:pt x="711433" y="1339719"/>
                </a:cubicBezTo>
                <a:cubicBezTo>
                  <a:pt x="688858" y="1392011"/>
                  <a:pt x="672094" y="1446399"/>
                  <a:pt x="651901" y="1499644"/>
                </a:cubicBezTo>
                <a:cubicBezTo>
                  <a:pt x="629705" y="1557537"/>
                  <a:pt x="604558" y="1614249"/>
                  <a:pt x="576559" y="1669570"/>
                </a:cubicBezTo>
                <a:cubicBezTo>
                  <a:pt x="467783" y="1885406"/>
                  <a:pt x="320336" y="2080955"/>
                  <a:pt x="151934" y="2253452"/>
                </a:cubicBezTo>
                <a:lnTo>
                  <a:pt x="78782" y="2180205"/>
                </a:lnTo>
                <a:cubicBezTo>
                  <a:pt x="162602" y="2091909"/>
                  <a:pt x="231182" y="1994944"/>
                  <a:pt x="270711" y="1877786"/>
                </a:cubicBezTo>
                <a:close/>
                <a:moveTo>
                  <a:pt x="2371735" y="541715"/>
                </a:moveTo>
                <a:cubicBezTo>
                  <a:pt x="2333350" y="603608"/>
                  <a:pt x="2304813" y="671083"/>
                  <a:pt x="2287153" y="741740"/>
                </a:cubicBezTo>
                <a:cubicBezTo>
                  <a:pt x="2285058" y="748121"/>
                  <a:pt x="2283820" y="754884"/>
                  <a:pt x="2282486" y="760790"/>
                </a:cubicBezTo>
                <a:cubicBezTo>
                  <a:pt x="2280962" y="766790"/>
                  <a:pt x="2281191" y="773105"/>
                  <a:pt x="2283153" y="778982"/>
                </a:cubicBezTo>
                <a:cubicBezTo>
                  <a:pt x="2278105" y="802223"/>
                  <a:pt x="2272104" y="825369"/>
                  <a:pt x="2265722" y="848324"/>
                </a:cubicBezTo>
                <a:cubicBezTo>
                  <a:pt x="2241795" y="932525"/>
                  <a:pt x="2212039" y="1014955"/>
                  <a:pt x="2176663" y="1095022"/>
                </a:cubicBezTo>
                <a:cubicBezTo>
                  <a:pt x="2066040" y="1349492"/>
                  <a:pt x="1906420" y="1579711"/>
                  <a:pt x="1706890" y="1772535"/>
                </a:cubicBezTo>
                <a:cubicBezTo>
                  <a:pt x="1510637" y="1960121"/>
                  <a:pt x="1278637" y="2106282"/>
                  <a:pt x="1024710" y="2202303"/>
                </a:cubicBezTo>
                <a:cubicBezTo>
                  <a:pt x="963750" y="2225544"/>
                  <a:pt x="901552" y="2245261"/>
                  <a:pt x="838687" y="2262597"/>
                </a:cubicBezTo>
                <a:cubicBezTo>
                  <a:pt x="775821" y="2279932"/>
                  <a:pt x="713433" y="2291838"/>
                  <a:pt x="652759" y="2315555"/>
                </a:cubicBezTo>
                <a:cubicBezTo>
                  <a:pt x="552460" y="2355084"/>
                  <a:pt x="467878" y="2419283"/>
                  <a:pt x="390821" y="2492816"/>
                </a:cubicBezTo>
                <a:lnTo>
                  <a:pt x="317478" y="2419473"/>
                </a:lnTo>
                <a:cubicBezTo>
                  <a:pt x="379022" y="2356418"/>
                  <a:pt x="445425" y="2298296"/>
                  <a:pt x="516075" y="2245642"/>
                </a:cubicBezTo>
                <a:cubicBezTo>
                  <a:pt x="630375" y="2163155"/>
                  <a:pt x="741627" y="2077621"/>
                  <a:pt x="866880" y="2011518"/>
                </a:cubicBezTo>
                <a:cubicBezTo>
                  <a:pt x="1062429" y="1908266"/>
                  <a:pt x="1283409" y="1863403"/>
                  <a:pt x="1463908" y="1731006"/>
                </a:cubicBezTo>
                <a:cubicBezTo>
                  <a:pt x="1514571" y="1693373"/>
                  <a:pt x="1562329" y="1651987"/>
                  <a:pt x="1606783" y="1607181"/>
                </a:cubicBezTo>
                <a:cubicBezTo>
                  <a:pt x="1675505" y="1538516"/>
                  <a:pt x="1735199" y="1461382"/>
                  <a:pt x="1784424" y="1377628"/>
                </a:cubicBezTo>
                <a:cubicBezTo>
                  <a:pt x="1826486" y="1302276"/>
                  <a:pt x="1863157" y="1224038"/>
                  <a:pt x="1894152" y="1143504"/>
                </a:cubicBezTo>
                <a:cubicBezTo>
                  <a:pt x="1928347" y="1059398"/>
                  <a:pt x="1961684" y="974912"/>
                  <a:pt x="2001213" y="892901"/>
                </a:cubicBezTo>
                <a:cubicBezTo>
                  <a:pt x="2051629" y="789422"/>
                  <a:pt x="2111103" y="690610"/>
                  <a:pt x="2178949" y="597626"/>
                </a:cubicBezTo>
                <a:cubicBezTo>
                  <a:pt x="2252082" y="498576"/>
                  <a:pt x="2332435" y="405078"/>
                  <a:pt x="2419360" y="317877"/>
                </a:cubicBezTo>
                <a:lnTo>
                  <a:pt x="2492608" y="391029"/>
                </a:lnTo>
                <a:cubicBezTo>
                  <a:pt x="2447088" y="437168"/>
                  <a:pt x="2406330" y="487775"/>
                  <a:pt x="2370973" y="542096"/>
                </a:cubicBezTo>
                <a:close/>
              </a:path>
            </a:pathLst>
          </a:custGeom>
          <a:solidFill>
            <a:srgbClr val="001965"/>
          </a:solidFill>
          <a:ln w="9525" cap="rnd">
            <a:solidFill>
              <a:srgbClr val="001965"/>
            </a:solidFill>
            <a:prstDash val="solid"/>
            <a:roun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31" name="Rounded Rectangle 5">
            <a:extLst>
              <a:ext uri="{FF2B5EF4-FFF2-40B4-BE49-F238E27FC236}">
                <a16:creationId xmlns:a16="http://schemas.microsoft.com/office/drawing/2014/main" id="{5A52A859-362F-03B4-CBD0-7C42C6EF8E68}"/>
              </a:ext>
            </a:extLst>
          </p:cNvPr>
          <p:cNvSpPr/>
          <p:nvPr/>
        </p:nvSpPr>
        <p:spPr>
          <a:xfrm>
            <a:off x="10238828" y="3597487"/>
            <a:ext cx="1741969" cy="401263"/>
          </a:xfrm>
          <a:prstGeom prst="rect">
            <a:avLst/>
          </a:prstGeom>
          <a:solidFill>
            <a:srgbClr val="B1D5F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Mean Lean Mass</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32" name="Rounded Rectangle 11">
            <a:extLst>
              <a:ext uri="{FF2B5EF4-FFF2-40B4-BE49-F238E27FC236}">
                <a16:creationId xmlns:a16="http://schemas.microsoft.com/office/drawing/2014/main" id="{F7A84337-3004-D51F-F504-C966BE22237D}"/>
              </a:ext>
            </a:extLst>
          </p:cNvPr>
          <p:cNvSpPr/>
          <p:nvPr/>
        </p:nvSpPr>
        <p:spPr>
          <a:xfrm>
            <a:off x="10138818" y="3859965"/>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52.1 Kg</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cxnSp>
        <p:nvCxnSpPr>
          <p:cNvPr id="234" name="Straight Arrow Connector 233">
            <a:extLst>
              <a:ext uri="{FF2B5EF4-FFF2-40B4-BE49-F238E27FC236}">
                <a16:creationId xmlns:a16="http://schemas.microsoft.com/office/drawing/2014/main" id="{DDFCFA20-6B03-F0B3-3DF2-9381005A986A}"/>
              </a:ext>
            </a:extLst>
          </p:cNvPr>
          <p:cNvCxnSpPr>
            <a:cxnSpLocks/>
          </p:cNvCxnSpPr>
          <p:nvPr/>
        </p:nvCxnSpPr>
        <p:spPr>
          <a:xfrm>
            <a:off x="39023" y="3386501"/>
            <a:ext cx="63557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a:extLst>
              <a:ext uri="{FF2B5EF4-FFF2-40B4-BE49-F238E27FC236}">
                <a16:creationId xmlns:a16="http://schemas.microsoft.com/office/drawing/2014/main" id="{7B6A50B1-230A-BB85-105C-012731D829CD}"/>
              </a:ext>
            </a:extLst>
          </p:cNvPr>
          <p:cNvCxnSpPr>
            <a:cxnSpLocks/>
          </p:cNvCxnSpPr>
          <p:nvPr/>
        </p:nvCxnSpPr>
        <p:spPr>
          <a:xfrm>
            <a:off x="39023" y="3563389"/>
            <a:ext cx="63557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6C672D0E-4E36-6B48-0E19-63C7D1126699}"/>
              </a:ext>
            </a:extLst>
          </p:cNvPr>
          <p:cNvCxnSpPr>
            <a:cxnSpLocks/>
          </p:cNvCxnSpPr>
          <p:nvPr/>
        </p:nvCxnSpPr>
        <p:spPr>
          <a:xfrm>
            <a:off x="17418" y="3916212"/>
            <a:ext cx="63557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7" name="TextBox 236">
            <a:extLst>
              <a:ext uri="{FF2B5EF4-FFF2-40B4-BE49-F238E27FC236}">
                <a16:creationId xmlns:a16="http://schemas.microsoft.com/office/drawing/2014/main" id="{E0A15544-558A-3A37-1F4D-FAB82DF3AFD1}"/>
              </a:ext>
            </a:extLst>
          </p:cNvPr>
          <p:cNvSpPr txBox="1"/>
          <p:nvPr/>
        </p:nvSpPr>
        <p:spPr>
          <a:xfrm>
            <a:off x="7246966" y="4640893"/>
            <a:ext cx="1524882" cy="401264"/>
          </a:xfrm>
          <a:prstGeom prst="rect">
            <a:avLst/>
          </a:prstGeom>
          <a:noFill/>
        </p:spPr>
        <p:txBody>
          <a:bodyPr wrap="square">
            <a:spAutoFit/>
          </a:bodyPr>
          <a:lstStyle/>
          <a:p>
            <a:pPr lvl="0" algn="ctr">
              <a:lnSpc>
                <a:spcPct val="120000"/>
              </a:lnSpc>
              <a:defRPr/>
            </a:pPr>
            <a:r>
              <a:rPr lang="en-GB" b="1" dirty="0">
                <a:solidFill>
                  <a:srgbClr val="001965"/>
                </a:solidFill>
              </a:rPr>
              <a:t>SEMALEAN</a:t>
            </a:r>
          </a:p>
        </p:txBody>
      </p:sp>
      <p:sp>
        <p:nvSpPr>
          <p:cNvPr id="238" name="Rectangle 237">
            <a:extLst>
              <a:ext uri="{FF2B5EF4-FFF2-40B4-BE49-F238E27FC236}">
                <a16:creationId xmlns:a16="http://schemas.microsoft.com/office/drawing/2014/main" id="{D711AC4A-5C30-25B9-E402-2438829DB3BC}"/>
              </a:ext>
            </a:extLst>
          </p:cNvPr>
          <p:cNvSpPr/>
          <p:nvPr/>
        </p:nvSpPr>
        <p:spPr>
          <a:xfrm>
            <a:off x="4048249" y="5399020"/>
            <a:ext cx="7947233" cy="528000"/>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3B97DE"/>
              </a:solidFill>
              <a:effectLst/>
              <a:uLnTx/>
              <a:uFillTx/>
              <a:latin typeface="Apis For Office"/>
              <a:ea typeface="+mn-ea"/>
              <a:cs typeface="+mn-cs"/>
            </a:endParaRPr>
          </a:p>
        </p:txBody>
      </p:sp>
      <p:sp>
        <p:nvSpPr>
          <p:cNvPr id="239" name="Rounded Rectangle 5">
            <a:extLst>
              <a:ext uri="{FF2B5EF4-FFF2-40B4-BE49-F238E27FC236}">
                <a16:creationId xmlns:a16="http://schemas.microsoft.com/office/drawing/2014/main" id="{91E2E218-540C-D46D-1631-9D3B73705EA3}"/>
              </a:ext>
            </a:extLst>
          </p:cNvPr>
          <p:cNvSpPr/>
          <p:nvPr/>
        </p:nvSpPr>
        <p:spPr>
          <a:xfrm>
            <a:off x="4218206" y="5220137"/>
            <a:ext cx="2160820"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Resting energy expenditure</a:t>
            </a:r>
            <a:endParaRPr kumimoji="0" lang="en-US" sz="1400" b="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40" name="Rounded Rectangle 11">
            <a:extLst>
              <a:ext uri="{FF2B5EF4-FFF2-40B4-BE49-F238E27FC236}">
                <a16:creationId xmlns:a16="http://schemas.microsoft.com/office/drawing/2014/main" id="{9ABC31AA-F684-01F0-09D2-B84E080B0288}"/>
              </a:ext>
            </a:extLst>
          </p:cNvPr>
          <p:cNvSpPr/>
          <p:nvPr/>
        </p:nvSpPr>
        <p:spPr>
          <a:xfrm>
            <a:off x="4350658" y="5510210"/>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pis For Office"/>
                <a:ea typeface="+mn-ea"/>
                <a:cs typeface="+mn-cs"/>
              </a:rPr>
              <a:t>2149 kcal/day</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41" name="Rounded Rectangle 5">
            <a:extLst>
              <a:ext uri="{FF2B5EF4-FFF2-40B4-BE49-F238E27FC236}">
                <a16:creationId xmlns:a16="http://schemas.microsoft.com/office/drawing/2014/main" id="{F7D1E592-C13E-BB4A-042C-CE16BA03DCE3}"/>
              </a:ext>
            </a:extLst>
          </p:cNvPr>
          <p:cNvSpPr/>
          <p:nvPr/>
        </p:nvSpPr>
        <p:spPr>
          <a:xfrm>
            <a:off x="6928997" y="5217748"/>
            <a:ext cx="2160820"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Sarcopenia</a:t>
            </a:r>
            <a:endParaRPr kumimoji="0" lang="en-US" sz="140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42" name="Rounded Rectangle 11">
            <a:extLst>
              <a:ext uri="{FF2B5EF4-FFF2-40B4-BE49-F238E27FC236}">
                <a16:creationId xmlns:a16="http://schemas.microsoft.com/office/drawing/2014/main" id="{411622DE-971C-7B2F-1FCB-0F3681A0D122}"/>
              </a:ext>
            </a:extLst>
          </p:cNvPr>
          <p:cNvSpPr/>
          <p:nvPr/>
        </p:nvSpPr>
        <p:spPr>
          <a:xfrm>
            <a:off x="7061449" y="5525239"/>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b="1" dirty="0">
                <a:solidFill>
                  <a:srgbClr val="001965"/>
                </a:solidFill>
                <a:latin typeface="Apis For Office"/>
              </a:rPr>
              <a:t>52 (49</a:t>
            </a:r>
            <a:r>
              <a:rPr kumimoji="0" lang="en-GB" sz="1400" b="1" i="0" u="none" strike="noStrike" kern="1200" cap="none" spc="0" normalizeH="0" baseline="0" noProof="0" dirty="0">
                <a:ln>
                  <a:noFill/>
                </a:ln>
                <a:solidFill>
                  <a:srgbClr val="001965"/>
                </a:solidFill>
                <a:effectLst/>
                <a:uLnTx/>
                <a:uFillTx/>
                <a:latin typeface="Apis For Office"/>
                <a:ea typeface="+mn-ea"/>
                <a:cs typeface="+mn-cs"/>
              </a:rPr>
              <a:t>%)</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43" name="Rounded Rectangle 5">
            <a:extLst>
              <a:ext uri="{FF2B5EF4-FFF2-40B4-BE49-F238E27FC236}">
                <a16:creationId xmlns:a16="http://schemas.microsoft.com/office/drawing/2014/main" id="{B1E00876-2B66-DABF-0A27-E269A84C921C}"/>
              </a:ext>
            </a:extLst>
          </p:cNvPr>
          <p:cNvSpPr/>
          <p:nvPr/>
        </p:nvSpPr>
        <p:spPr>
          <a:xfrm>
            <a:off x="9554800" y="5217747"/>
            <a:ext cx="2160820" cy="401263"/>
          </a:xfrm>
          <a:prstGeom prst="rect">
            <a:avLst/>
          </a:prstGeom>
          <a:solidFill>
            <a:srgbClr val="C39BE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dirty="0">
                <a:solidFill>
                  <a:srgbClr val="001965"/>
                </a:solidFill>
                <a:latin typeface="Apis For Office"/>
              </a:rPr>
              <a:t>Type 2 Diabetes</a:t>
            </a:r>
            <a:endParaRPr kumimoji="0" lang="en-US" sz="1400" i="0" u="none" strike="noStrike" kern="1200" cap="none" spc="0" normalizeH="0" baseline="30000" noProof="0" dirty="0">
              <a:ln>
                <a:noFill/>
              </a:ln>
              <a:solidFill>
                <a:srgbClr val="001965"/>
              </a:solidFill>
              <a:effectLst/>
              <a:uLnTx/>
              <a:uFillTx/>
              <a:latin typeface="Apis For Office"/>
              <a:ea typeface="+mn-ea"/>
              <a:cs typeface="+mn-cs"/>
            </a:endParaRPr>
          </a:p>
        </p:txBody>
      </p:sp>
      <p:sp>
        <p:nvSpPr>
          <p:cNvPr id="244" name="Rounded Rectangle 11">
            <a:extLst>
              <a:ext uri="{FF2B5EF4-FFF2-40B4-BE49-F238E27FC236}">
                <a16:creationId xmlns:a16="http://schemas.microsoft.com/office/drawing/2014/main" id="{E0F84C55-58B7-3863-D5F4-206C4698FAF3}"/>
              </a:ext>
            </a:extLst>
          </p:cNvPr>
          <p:cNvSpPr/>
          <p:nvPr/>
        </p:nvSpPr>
        <p:spPr>
          <a:xfrm>
            <a:off x="9700156" y="5492055"/>
            <a:ext cx="1968000" cy="5280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GB" sz="1400" b="1" dirty="0">
                <a:solidFill>
                  <a:srgbClr val="001965"/>
                </a:solidFill>
                <a:latin typeface="Apis For Office"/>
              </a:rPr>
              <a:t>38 (35.8</a:t>
            </a:r>
            <a:r>
              <a:rPr kumimoji="0" lang="en-GB" sz="1400" b="1" i="0" u="none" strike="noStrike" kern="1200" cap="none" spc="0" normalizeH="0" baseline="0" noProof="0" dirty="0">
                <a:ln>
                  <a:noFill/>
                </a:ln>
                <a:solidFill>
                  <a:srgbClr val="001965"/>
                </a:solidFill>
                <a:effectLst/>
                <a:uLnTx/>
                <a:uFillTx/>
                <a:latin typeface="Apis For Office"/>
                <a:ea typeface="+mn-ea"/>
                <a:cs typeface="+mn-cs"/>
              </a:rPr>
              <a:t>%)</a:t>
            </a:r>
            <a:endParaRPr kumimoji="0" lang="en-US" sz="1400" b="1" i="0" u="none" strike="noStrike" kern="1200" cap="none" spc="0" normalizeH="0" baseline="30000" noProof="0" dirty="0">
              <a:ln>
                <a:noFill/>
              </a:ln>
              <a:solidFill>
                <a:srgbClr val="001965"/>
              </a:solidFill>
              <a:effectLst/>
              <a:uLnTx/>
              <a:uFillTx/>
              <a:latin typeface="Apis For Office"/>
              <a:ea typeface="+mn-ea"/>
              <a:cs typeface="+mn-cs"/>
            </a:endParaRPr>
          </a:p>
        </p:txBody>
      </p:sp>
    </p:spTree>
    <p:extLst>
      <p:ext uri="{BB962C8B-B14F-4D97-AF65-F5344CB8AC3E}">
        <p14:creationId xmlns:p14="http://schemas.microsoft.com/office/powerpoint/2010/main" val="28947613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CEA8C5-3340-CA4F-35BB-1174854F70C3}"/>
              </a:ext>
            </a:extLst>
          </p:cNvPr>
          <p:cNvSpPr/>
          <p:nvPr/>
        </p:nvSpPr>
        <p:spPr>
          <a:xfrm>
            <a:off x="5367787" y="2581651"/>
            <a:ext cx="6097836" cy="2415149"/>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p:txBody>
      </p:sp>
      <p:sp>
        <p:nvSpPr>
          <p:cNvPr id="2" name="Title 1">
            <a:extLst>
              <a:ext uri="{FF2B5EF4-FFF2-40B4-BE49-F238E27FC236}">
                <a16:creationId xmlns:a16="http://schemas.microsoft.com/office/drawing/2014/main" id="{08F9A7F5-D7C4-D2CF-7E85-B6E324BDBACA}"/>
              </a:ext>
            </a:extLst>
          </p:cNvPr>
          <p:cNvSpPr>
            <a:spLocks noGrp="1"/>
          </p:cNvSpPr>
          <p:nvPr>
            <p:ph type="title"/>
          </p:nvPr>
        </p:nvSpPr>
        <p:spPr/>
        <p:txBody>
          <a:bodyPr/>
          <a:lstStyle/>
          <a:p>
            <a:r>
              <a:rPr lang="it-IT" dirty="0"/>
              <a:t>Muscle Function</a:t>
            </a:r>
            <a:br>
              <a:rPr lang="it-IT" dirty="0"/>
            </a:br>
            <a:r>
              <a:rPr lang="it-IT" sz="2000" dirty="0">
                <a:solidFill>
                  <a:srgbClr val="3B97DE"/>
                </a:solidFill>
              </a:rPr>
              <a:t>Hand grip and Sarcopenia</a:t>
            </a:r>
          </a:p>
        </p:txBody>
      </p:sp>
      <p:pic>
        <p:nvPicPr>
          <p:cNvPr id="1026" name="Picture 2" descr="Hand Grip Test: a cosa serve? • PerformanceLab">
            <a:extLst>
              <a:ext uri="{FF2B5EF4-FFF2-40B4-BE49-F238E27FC236}">
                <a16:creationId xmlns:a16="http://schemas.microsoft.com/office/drawing/2014/main" id="{76567280-F100-1869-F423-567E16830D7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542" r="17687"/>
          <a:stretch>
            <a:fillRect/>
          </a:stretch>
        </p:blipFill>
        <p:spPr bwMode="auto">
          <a:xfrm>
            <a:off x="461555" y="1855987"/>
            <a:ext cx="4255254" cy="375340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3B9F929-69AD-718D-1113-A53DA9384317}"/>
              </a:ext>
            </a:extLst>
          </p:cNvPr>
          <p:cNvSpPr txBox="1"/>
          <p:nvPr/>
        </p:nvSpPr>
        <p:spPr>
          <a:xfrm>
            <a:off x="5367787" y="2628927"/>
            <a:ext cx="6097836" cy="2308324"/>
          </a:xfrm>
          <a:prstGeom prst="rect">
            <a:avLst/>
          </a:prstGeom>
          <a:noFill/>
        </p:spPr>
        <p:txBody>
          <a:bodyPr wrap="square">
            <a:spAutoFit/>
          </a:bodyPr>
          <a:lstStyle/>
          <a:p>
            <a:pPr marL="285750" indent="-285750" algn="l">
              <a:buFont typeface="Arial" panose="020B0604020202020204" pitchFamily="34" charset="0"/>
              <a:buChar char="•"/>
            </a:pPr>
            <a:r>
              <a:rPr lang="en-US" b="0" i="0" u="none" strike="noStrike" baseline="0" dirty="0">
                <a:solidFill>
                  <a:schemeClr val="accent1"/>
                </a:solidFill>
              </a:rPr>
              <a:t>For </a:t>
            </a:r>
            <a:r>
              <a:rPr lang="en-US" b="1" i="0" u="none" strike="noStrike" baseline="0" dirty="0">
                <a:solidFill>
                  <a:schemeClr val="accent1"/>
                </a:solidFill>
              </a:rPr>
              <a:t>Hand grip strength</a:t>
            </a:r>
            <a:r>
              <a:rPr lang="en-US" b="0" i="0" u="none" strike="noStrike" baseline="0" dirty="0">
                <a:solidFill>
                  <a:schemeClr val="accent1"/>
                </a:solidFill>
              </a:rPr>
              <a:t>: Three attempts were recorded, with the </a:t>
            </a:r>
            <a:r>
              <a:rPr lang="en-US" b="1" i="0" u="none" strike="noStrike" baseline="0" dirty="0">
                <a:solidFill>
                  <a:schemeClr val="accent1"/>
                </a:solidFill>
              </a:rPr>
              <a:t>highest </a:t>
            </a:r>
            <a:r>
              <a:rPr lang="it-IT" b="1" i="0" u="none" strike="noStrike" baseline="0" dirty="0">
                <a:solidFill>
                  <a:schemeClr val="accent1"/>
                </a:solidFill>
              </a:rPr>
              <a:t>value </a:t>
            </a:r>
            <a:r>
              <a:rPr lang="it-IT" b="0" i="0" u="none" strike="noStrike" baseline="0" dirty="0">
                <a:solidFill>
                  <a:schemeClr val="accent1"/>
                </a:solidFill>
              </a:rPr>
              <a:t>used for analysis.</a:t>
            </a:r>
          </a:p>
          <a:p>
            <a:pPr marL="285750" indent="-285750" algn="l">
              <a:buFont typeface="Arial" panose="020B0604020202020204" pitchFamily="34" charset="0"/>
              <a:buChar char="•"/>
            </a:pPr>
            <a:r>
              <a:rPr lang="it-IT" b="0" i="0" u="none" strike="noStrike" baseline="0" dirty="0">
                <a:solidFill>
                  <a:schemeClr val="accent1"/>
                </a:solidFill>
              </a:rPr>
              <a:t> </a:t>
            </a:r>
          </a:p>
          <a:p>
            <a:pPr marL="285750" indent="-285750" algn="l">
              <a:buFont typeface="Arial" panose="020B0604020202020204" pitchFamily="34" charset="0"/>
              <a:buChar char="•"/>
            </a:pPr>
            <a:r>
              <a:rPr lang="en-US" b="1" i="0" u="none" strike="noStrike" baseline="0" dirty="0">
                <a:solidFill>
                  <a:schemeClr val="accent1"/>
                </a:solidFill>
              </a:rPr>
              <a:t>Sarcopenia</a:t>
            </a:r>
            <a:r>
              <a:rPr lang="en-US" b="0" i="0" u="none" strike="noStrike" baseline="0" dirty="0">
                <a:solidFill>
                  <a:schemeClr val="accent1"/>
                </a:solidFill>
              </a:rPr>
              <a:t> was defined as </a:t>
            </a:r>
            <a:r>
              <a:rPr lang="en-US" b="1" i="0" u="none" strike="noStrike" baseline="0" dirty="0">
                <a:solidFill>
                  <a:schemeClr val="accent1"/>
                </a:solidFill>
              </a:rPr>
              <a:t>reduced grip strength </a:t>
            </a:r>
            <a:r>
              <a:rPr lang="en-US" b="0" i="0" u="none" strike="noStrike" baseline="0" dirty="0">
                <a:solidFill>
                  <a:schemeClr val="accent1"/>
                </a:solidFill>
              </a:rPr>
              <a:t>(&lt;27 kg for men and &lt;16 kg for women) coupled with reduced</a:t>
            </a:r>
            <a:r>
              <a:rPr lang="en-US" b="1" i="0" u="none" strike="noStrike" baseline="0" dirty="0">
                <a:solidFill>
                  <a:schemeClr val="accent1"/>
                </a:solidFill>
              </a:rPr>
              <a:t> ASMM</a:t>
            </a:r>
            <a:r>
              <a:rPr lang="en-US" b="0" i="0" u="none" strike="noStrike" baseline="0" dirty="0">
                <a:solidFill>
                  <a:schemeClr val="accent1"/>
                </a:solidFill>
              </a:rPr>
              <a:t>. </a:t>
            </a:r>
          </a:p>
          <a:p>
            <a:pPr marL="285750" indent="-285750" algn="l">
              <a:buFont typeface="Arial" panose="020B0604020202020204" pitchFamily="34" charset="0"/>
              <a:buChar char="•"/>
            </a:pPr>
            <a:endParaRPr lang="en-US" b="0" i="0" u="none" strike="noStrike" baseline="0" dirty="0">
              <a:solidFill>
                <a:schemeClr val="accent1"/>
              </a:solidFill>
            </a:endParaRPr>
          </a:p>
          <a:p>
            <a:pPr marL="285750" indent="-285750" algn="l">
              <a:buFont typeface="Arial" panose="020B0604020202020204" pitchFamily="34" charset="0"/>
              <a:buChar char="•"/>
            </a:pPr>
            <a:r>
              <a:rPr lang="en-US" b="1" i="0" u="none" strike="noStrike" baseline="0" dirty="0" err="1">
                <a:solidFill>
                  <a:schemeClr val="accent1"/>
                </a:solidFill>
              </a:rPr>
              <a:t>Dynapenia</a:t>
            </a:r>
            <a:r>
              <a:rPr lang="en-US" dirty="0">
                <a:solidFill>
                  <a:schemeClr val="accent1"/>
                </a:solidFill>
              </a:rPr>
              <a:t> </a:t>
            </a:r>
            <a:r>
              <a:rPr lang="en-US" b="0" i="0" u="none" strike="noStrike" baseline="0" dirty="0">
                <a:solidFill>
                  <a:schemeClr val="accent1"/>
                </a:solidFill>
              </a:rPr>
              <a:t>defined solely as reduced grip strength.</a:t>
            </a:r>
            <a:endParaRPr lang="it-IT" dirty="0">
              <a:solidFill>
                <a:schemeClr val="accent1"/>
              </a:solidFill>
            </a:endParaRPr>
          </a:p>
        </p:txBody>
      </p:sp>
      <p:sp>
        <p:nvSpPr>
          <p:cNvPr id="8" name="Text Placeholder 2">
            <a:extLst>
              <a:ext uri="{FF2B5EF4-FFF2-40B4-BE49-F238E27FC236}">
                <a16:creationId xmlns:a16="http://schemas.microsoft.com/office/drawing/2014/main" id="{EB89D061-386D-24A1-60EC-C955E5FBBC51}"/>
              </a:ext>
            </a:extLst>
          </p:cNvPr>
          <p:cNvSpPr txBox="1">
            <a:spLocks/>
          </p:cNvSpPr>
          <p:nvPr/>
        </p:nvSpPr>
        <p:spPr>
          <a:xfrm>
            <a:off x="469510" y="6048000"/>
            <a:ext cx="10896301" cy="3240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700" i="1"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r>
              <a:rPr lang="it-IT" dirty="0"/>
              <a:t>ASMM, Appendicular skeletal </a:t>
            </a:r>
            <a:r>
              <a:rPr lang="en-US" dirty="0"/>
              <a:t>muscle mass (ASMM) was evaluated to diagnose sarcopenia based on </a:t>
            </a:r>
            <a:r>
              <a:rPr lang="en-US" dirty="0" err="1"/>
              <a:t>standardised</a:t>
            </a:r>
            <a:r>
              <a:rPr lang="en-US" dirty="0"/>
              <a:t> cut-offs: ASMM/body weight &lt;25.7% for men and </a:t>
            </a:r>
            <a:r>
              <a:rPr lang="it-IT" dirty="0"/>
              <a:t>&lt;19.4% for women.13 </a:t>
            </a:r>
            <a:r>
              <a:rPr lang="it-IT" i="0" dirty="0"/>
              <a:t>Cruz-Jentoft AJ, Bahat G, Bauer J, et al. Sarcopenia: revised European</a:t>
            </a:r>
          </a:p>
          <a:p>
            <a:r>
              <a:rPr lang="en-US" i="0" dirty="0"/>
              <a:t>consensus on definition and diagnosis. Age Ageing. 2019;48(4):601.</a:t>
            </a:r>
            <a:endParaRPr lang="it-IT" dirty="0"/>
          </a:p>
          <a:p>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endParaRPr lang="it-IT" dirty="0"/>
          </a:p>
        </p:txBody>
      </p:sp>
    </p:spTree>
    <p:extLst>
      <p:ext uri="{BB962C8B-B14F-4D97-AF65-F5344CB8AC3E}">
        <p14:creationId xmlns:p14="http://schemas.microsoft.com/office/powerpoint/2010/main" val="616478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B1A2C-C42A-13EF-E23D-8E9AF36F0BCF}"/>
              </a:ext>
            </a:extLst>
          </p:cNvPr>
          <p:cNvSpPr>
            <a:spLocks noGrp="1"/>
          </p:cNvSpPr>
          <p:nvPr>
            <p:ph type="title"/>
          </p:nvPr>
        </p:nvSpPr>
        <p:spPr/>
        <p:txBody>
          <a:bodyPr/>
          <a:lstStyle/>
          <a:p>
            <a:r>
              <a:rPr lang="it-IT" dirty="0"/>
              <a:t>Results</a:t>
            </a:r>
            <a:br>
              <a:rPr lang="it-IT" dirty="0"/>
            </a:br>
            <a:r>
              <a:rPr kumimoji="0" lang="en-GB" sz="2000" b="0" i="0" u="none" strike="noStrike" kern="1200" cap="none" spc="0" normalizeH="0" baseline="0" noProof="0" dirty="0">
                <a:ln>
                  <a:noFill/>
                </a:ln>
                <a:solidFill>
                  <a:srgbClr val="3B97DE"/>
                </a:solidFill>
                <a:effectLst/>
                <a:uLnTx/>
                <a:uFillTx/>
                <a:latin typeface="Apis For Office"/>
                <a:ea typeface="+mj-ea"/>
                <a:cs typeface="+mj-cs"/>
              </a:rPr>
              <a:t>Body Weight</a:t>
            </a:r>
            <a:br>
              <a:rPr lang="it-IT" dirty="0"/>
            </a:br>
            <a:endParaRPr lang="it-IT" dirty="0"/>
          </a:p>
        </p:txBody>
      </p:sp>
      <p:sp>
        <p:nvSpPr>
          <p:cNvPr id="3" name="Text Placeholder 2">
            <a:extLst>
              <a:ext uri="{FF2B5EF4-FFF2-40B4-BE49-F238E27FC236}">
                <a16:creationId xmlns:a16="http://schemas.microsoft.com/office/drawing/2014/main" id="{D8F75D38-20B1-5468-DC2A-83E8706DDC7C}"/>
              </a:ext>
            </a:extLst>
          </p:cNvPr>
          <p:cNvSpPr>
            <a:spLocks noGrp="1"/>
          </p:cNvSpPr>
          <p:nvPr>
            <p:ph type="body" sz="quarter" idx="13"/>
          </p:nvPr>
        </p:nvSpPr>
        <p:spPr/>
        <p:txBody>
          <a:bodyPr/>
          <a:lstStyle/>
          <a:p>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endParaRPr lang="it-IT" dirty="0"/>
          </a:p>
        </p:txBody>
      </p:sp>
      <p:pic>
        <p:nvPicPr>
          <p:cNvPr id="5" name="Picture 4">
            <a:extLst>
              <a:ext uri="{FF2B5EF4-FFF2-40B4-BE49-F238E27FC236}">
                <a16:creationId xmlns:a16="http://schemas.microsoft.com/office/drawing/2014/main" id="{50D9F9B9-15BC-730A-ACCE-EC4578FDB70E}"/>
              </a:ext>
            </a:extLst>
          </p:cNvPr>
          <p:cNvPicPr>
            <a:picLocks noChangeAspect="1"/>
          </p:cNvPicPr>
          <p:nvPr/>
        </p:nvPicPr>
        <p:blipFill>
          <a:blip r:embed="rId2"/>
          <a:stretch>
            <a:fillRect/>
          </a:stretch>
        </p:blipFill>
        <p:spPr>
          <a:xfrm>
            <a:off x="748800" y="2050938"/>
            <a:ext cx="7247991" cy="3104536"/>
          </a:xfrm>
          <a:prstGeom prst="rect">
            <a:avLst/>
          </a:prstGeom>
        </p:spPr>
      </p:pic>
      <p:sp>
        <p:nvSpPr>
          <p:cNvPr id="6" name="Rectangle: Rounded Corners 5">
            <a:extLst>
              <a:ext uri="{FF2B5EF4-FFF2-40B4-BE49-F238E27FC236}">
                <a16:creationId xmlns:a16="http://schemas.microsoft.com/office/drawing/2014/main" id="{7249957A-0BF2-94A1-297E-CF29D320147A}"/>
              </a:ext>
            </a:extLst>
          </p:cNvPr>
          <p:cNvSpPr/>
          <p:nvPr/>
        </p:nvSpPr>
        <p:spPr>
          <a:xfrm>
            <a:off x="748800" y="1944000"/>
            <a:ext cx="7247991" cy="3405600"/>
          </a:xfrm>
          <a:prstGeom prst="roundRect">
            <a:avLst>
              <a:gd name="adj" fmla="val 1749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sp>
        <p:nvSpPr>
          <p:cNvPr id="7" name="Rectangle 6">
            <a:extLst>
              <a:ext uri="{FF2B5EF4-FFF2-40B4-BE49-F238E27FC236}">
                <a16:creationId xmlns:a16="http://schemas.microsoft.com/office/drawing/2014/main" id="{EE594979-E883-0176-F642-B87205046FB0}"/>
              </a:ext>
            </a:extLst>
          </p:cNvPr>
          <p:cNvSpPr/>
          <p:nvPr/>
        </p:nvSpPr>
        <p:spPr>
          <a:xfrm>
            <a:off x="8251838" y="2189244"/>
            <a:ext cx="3809647" cy="2800767"/>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p:txBody>
      </p:sp>
      <p:sp>
        <p:nvSpPr>
          <p:cNvPr id="9" name="TextBox 8">
            <a:extLst>
              <a:ext uri="{FF2B5EF4-FFF2-40B4-BE49-F238E27FC236}">
                <a16:creationId xmlns:a16="http://schemas.microsoft.com/office/drawing/2014/main" id="{E4254CD1-C474-D5F3-5812-3B6A547A42BB}"/>
              </a:ext>
            </a:extLst>
          </p:cNvPr>
          <p:cNvSpPr txBox="1"/>
          <p:nvPr/>
        </p:nvSpPr>
        <p:spPr>
          <a:xfrm>
            <a:off x="8326440" y="2250207"/>
            <a:ext cx="3800825" cy="2800767"/>
          </a:xfrm>
          <a:prstGeom prst="rect">
            <a:avLst/>
          </a:prstGeom>
          <a:noFill/>
        </p:spPr>
        <p:txBody>
          <a:bodyPr wrap="square">
            <a:spAutoFit/>
          </a:bodyPr>
          <a:lstStyle/>
          <a:p>
            <a:pPr marL="285750" indent="-285750">
              <a:buFont typeface="Arial" panose="020B0604020202020204" pitchFamily="34" charset="0"/>
              <a:buChar char="•"/>
            </a:pPr>
            <a:r>
              <a:rPr kumimoji="0" lang="en-US" sz="1600" b="1" i="0" u="none" strike="noStrike" kern="1200" cap="none" spc="0" normalizeH="0" baseline="0" noProof="0" dirty="0">
                <a:ln>
                  <a:noFill/>
                </a:ln>
                <a:solidFill>
                  <a:schemeClr val="accent1"/>
                </a:solidFill>
                <a:effectLst/>
                <a:uLnTx/>
                <a:uFillTx/>
                <a:latin typeface="Apis For Office"/>
                <a:ea typeface="+mn-ea"/>
                <a:cs typeface="+mn-cs"/>
              </a:rPr>
              <a:t>Weight loss </a:t>
            </a:r>
            <a:r>
              <a:rPr kumimoji="0" lang="en-US" sz="1600" i="0" u="none" strike="noStrike" kern="1200" cap="none" spc="0" normalizeH="0" baseline="0" noProof="0" dirty="0">
                <a:ln>
                  <a:noFill/>
                </a:ln>
                <a:solidFill>
                  <a:schemeClr val="accent1"/>
                </a:solidFill>
                <a:effectLst/>
                <a:uLnTx/>
                <a:uFillTx/>
                <a:latin typeface="Apis For Office"/>
                <a:ea typeface="+mn-ea"/>
                <a:cs typeface="+mn-cs"/>
              </a:rPr>
              <a:t>was significant </a:t>
            </a:r>
            <a:r>
              <a:rPr kumimoji="0" lang="en-US" sz="1600" b="1" i="0" u="none" strike="noStrike" kern="1200" cap="none" spc="0" normalizeH="0" baseline="0" noProof="0" dirty="0">
                <a:ln>
                  <a:noFill/>
                </a:ln>
                <a:solidFill>
                  <a:schemeClr val="accent1"/>
                </a:solidFill>
                <a:effectLst/>
                <a:uLnTx/>
                <a:uFillTx/>
                <a:latin typeface="Apis For Office"/>
                <a:ea typeface="+mn-ea"/>
                <a:cs typeface="+mn-cs"/>
              </a:rPr>
              <a:t>during the first 7 months </a:t>
            </a:r>
            <a:r>
              <a:rPr kumimoji="0" lang="en-US" sz="1600" i="0" u="none" strike="noStrike" kern="1200" cap="none" spc="0" normalizeH="0" baseline="0" noProof="0" dirty="0">
                <a:ln>
                  <a:noFill/>
                </a:ln>
                <a:solidFill>
                  <a:schemeClr val="accent1"/>
                </a:solidFill>
                <a:effectLst/>
                <a:uLnTx/>
                <a:uFillTx/>
                <a:latin typeface="Apis For Office"/>
                <a:ea typeface="+mn-ea"/>
                <a:cs typeface="+mn-cs"/>
              </a:rPr>
              <a:t>and continued up to 12 months. </a:t>
            </a:r>
          </a:p>
          <a:p>
            <a:pPr marL="285750" indent="-285750">
              <a:buFont typeface="Arial" panose="020B0604020202020204" pitchFamily="34" charset="0"/>
              <a:buChar char="•"/>
            </a:pPr>
            <a:endParaRPr kumimoji="0" lang="en-US" sz="1600" i="0" u="none" strike="noStrike" kern="1200" cap="none" spc="0" normalizeH="0" baseline="0" noProof="0" dirty="0">
              <a:ln>
                <a:noFill/>
              </a:ln>
              <a:solidFill>
                <a:schemeClr val="accent1"/>
              </a:solidFill>
              <a:effectLst/>
              <a:uLnTx/>
              <a:uFillTx/>
              <a:latin typeface="Apis For Office"/>
              <a:ea typeface="+mn-ea"/>
              <a:cs typeface="+mn-cs"/>
            </a:endParaRPr>
          </a:p>
          <a:p>
            <a:pPr marL="285750" indent="-285750">
              <a:buFont typeface="Arial" panose="020B0604020202020204" pitchFamily="34" charset="0"/>
              <a:buChar char="•"/>
            </a:pPr>
            <a:r>
              <a:rPr kumimoji="0" lang="en-US" sz="1600" i="0" u="none" strike="noStrike" kern="1200" cap="none" spc="0" normalizeH="0" baseline="0" noProof="0" dirty="0">
                <a:ln>
                  <a:noFill/>
                </a:ln>
                <a:solidFill>
                  <a:schemeClr val="accent1"/>
                </a:solidFill>
                <a:effectLst/>
                <a:uLnTx/>
                <a:uFillTx/>
                <a:latin typeface="Apis For Office"/>
                <a:ea typeface="+mn-ea"/>
                <a:cs typeface="+mn-cs"/>
              </a:rPr>
              <a:t>Mean body weight loss </a:t>
            </a:r>
            <a:r>
              <a:rPr kumimoji="0" lang="en-US" sz="1600" b="1" i="0" u="none" strike="noStrike" kern="1200" cap="none" spc="0" normalizeH="0" baseline="0" noProof="0" dirty="0">
                <a:ln>
                  <a:noFill/>
                </a:ln>
                <a:solidFill>
                  <a:schemeClr val="accent1"/>
                </a:solidFill>
                <a:effectLst/>
                <a:uLnTx/>
                <a:uFillTx/>
                <a:latin typeface="Apis For Office"/>
                <a:ea typeface="+mn-ea"/>
                <a:cs typeface="+mn-cs"/>
              </a:rPr>
              <a:t>was 9.8% at M7 </a:t>
            </a:r>
            <a:r>
              <a:rPr kumimoji="0" lang="en-US" sz="1600" i="0" u="none" strike="noStrike" kern="1200" cap="none" spc="0" normalizeH="0" baseline="0" noProof="0" dirty="0">
                <a:ln>
                  <a:noFill/>
                </a:ln>
                <a:solidFill>
                  <a:schemeClr val="accent1"/>
                </a:solidFill>
                <a:effectLst/>
                <a:uLnTx/>
                <a:uFillTx/>
                <a:latin typeface="Apis For Office"/>
                <a:ea typeface="+mn-ea"/>
                <a:cs typeface="+mn-cs"/>
              </a:rPr>
              <a:t>and </a:t>
            </a:r>
            <a:r>
              <a:rPr kumimoji="0" lang="en-US" sz="1600" b="1" i="0" u="none" strike="noStrike" kern="1200" cap="none" spc="0" normalizeH="0" baseline="0" noProof="0" dirty="0">
                <a:ln>
                  <a:noFill/>
                </a:ln>
                <a:solidFill>
                  <a:schemeClr val="accent1"/>
                </a:solidFill>
                <a:effectLst/>
                <a:uLnTx/>
                <a:uFillTx/>
                <a:latin typeface="Apis For Office"/>
                <a:ea typeface="+mn-ea"/>
                <a:cs typeface="+mn-cs"/>
              </a:rPr>
              <a:t>12.7% at M12. </a:t>
            </a:r>
          </a:p>
          <a:p>
            <a:pPr marL="285750" indent="-285750">
              <a:buFont typeface="Arial" panose="020B0604020202020204" pitchFamily="34" charset="0"/>
              <a:buChar char="•"/>
            </a:pPr>
            <a:endParaRPr kumimoji="0" lang="en-US" sz="1600" b="1" i="0" u="none" strike="noStrike" kern="1200" cap="none" spc="0" normalizeH="0" baseline="0" noProof="0" dirty="0">
              <a:ln>
                <a:noFill/>
              </a:ln>
              <a:solidFill>
                <a:schemeClr val="accent1"/>
              </a:solidFill>
              <a:effectLst/>
              <a:uLnTx/>
              <a:uFillTx/>
              <a:latin typeface="Apis For Office"/>
              <a:ea typeface="+mn-ea"/>
              <a:cs typeface="+mn-cs"/>
            </a:endParaRPr>
          </a:p>
          <a:p>
            <a:pPr marL="285750" indent="-285750">
              <a:buFont typeface="Arial" panose="020B0604020202020204" pitchFamily="34" charset="0"/>
              <a:buChar char="•"/>
            </a:pPr>
            <a:r>
              <a:rPr kumimoji="0" lang="en-US" sz="1600" b="1" i="0" u="none" strike="noStrike" kern="1200" cap="none" spc="0" normalizeH="0" baseline="0" noProof="0" dirty="0">
                <a:ln>
                  <a:noFill/>
                </a:ln>
                <a:solidFill>
                  <a:schemeClr val="accent1"/>
                </a:solidFill>
                <a:effectLst/>
                <a:uLnTx/>
                <a:uFillTx/>
                <a:latin typeface="Apis For Office"/>
                <a:ea typeface="+mn-ea"/>
                <a:cs typeface="+mn-cs"/>
              </a:rPr>
              <a:t>59% and 26% </a:t>
            </a:r>
            <a:r>
              <a:rPr kumimoji="0" lang="en-US" sz="1600" i="0" u="none" strike="noStrike" kern="1200" cap="none" spc="0" normalizeH="0" baseline="0" noProof="0" dirty="0">
                <a:ln>
                  <a:noFill/>
                </a:ln>
                <a:solidFill>
                  <a:schemeClr val="accent1"/>
                </a:solidFill>
                <a:effectLst/>
                <a:uLnTx/>
                <a:uFillTx/>
                <a:latin typeface="Apis For Office"/>
                <a:ea typeface="+mn-ea"/>
                <a:cs typeface="+mn-cs"/>
              </a:rPr>
              <a:t>of the patients lost, respectively, at</a:t>
            </a:r>
            <a:r>
              <a:rPr kumimoji="0" lang="en-US" sz="1600" b="1" i="0" u="none" strike="noStrike" kern="1200" cap="none" spc="0" normalizeH="0" baseline="0" noProof="0" dirty="0">
                <a:ln>
                  <a:noFill/>
                </a:ln>
                <a:solidFill>
                  <a:schemeClr val="accent1"/>
                </a:solidFill>
                <a:effectLst/>
                <a:uLnTx/>
                <a:uFillTx/>
                <a:latin typeface="Apis For Office"/>
                <a:ea typeface="+mn-ea"/>
                <a:cs typeface="+mn-cs"/>
              </a:rPr>
              <a:t> least 10% and 15% of body weight </a:t>
            </a:r>
            <a:r>
              <a:rPr kumimoji="0" lang="en-US" sz="1600" i="0" u="none" strike="noStrike" kern="1200" cap="none" spc="0" normalizeH="0" baseline="0" noProof="0" dirty="0">
                <a:ln>
                  <a:noFill/>
                </a:ln>
                <a:solidFill>
                  <a:schemeClr val="accent1"/>
                </a:solidFill>
                <a:effectLst/>
                <a:uLnTx/>
                <a:uFillTx/>
                <a:latin typeface="Apis For Office"/>
                <a:ea typeface="+mn-ea"/>
                <a:cs typeface="+mn-cs"/>
              </a:rPr>
              <a:t>at the end of the study</a:t>
            </a:r>
          </a:p>
        </p:txBody>
      </p:sp>
    </p:spTree>
    <p:extLst>
      <p:ext uri="{BB962C8B-B14F-4D97-AF65-F5344CB8AC3E}">
        <p14:creationId xmlns:p14="http://schemas.microsoft.com/office/powerpoint/2010/main" val="27511124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BA1AE-A861-C50B-2C57-09BAF44EE0BF}"/>
              </a:ext>
            </a:extLst>
          </p:cNvPr>
          <p:cNvSpPr>
            <a:spLocks noGrp="1"/>
          </p:cNvSpPr>
          <p:nvPr>
            <p:ph type="title"/>
          </p:nvPr>
        </p:nvSpPr>
        <p:spPr/>
        <p:txBody>
          <a:bodyPr/>
          <a:lstStyle/>
          <a:p>
            <a:r>
              <a:rPr lang="it-IT" dirty="0"/>
              <a:t>Results </a:t>
            </a:r>
            <a:br>
              <a:rPr lang="it-IT" dirty="0"/>
            </a:br>
            <a:r>
              <a:rPr lang="it-IT" sz="2000" dirty="0">
                <a:solidFill>
                  <a:schemeClr val="accent5"/>
                </a:solidFill>
              </a:rPr>
              <a:t>Change in Body Composition (DXA) and Hand grip Strenght</a:t>
            </a:r>
          </a:p>
        </p:txBody>
      </p:sp>
      <p:pic>
        <p:nvPicPr>
          <p:cNvPr id="5" name="Picture 4">
            <a:extLst>
              <a:ext uri="{FF2B5EF4-FFF2-40B4-BE49-F238E27FC236}">
                <a16:creationId xmlns:a16="http://schemas.microsoft.com/office/drawing/2014/main" id="{09FD56A7-F48B-8DD3-33DC-417A9F0FC1E6}"/>
              </a:ext>
            </a:extLst>
          </p:cNvPr>
          <p:cNvPicPr>
            <a:picLocks noChangeAspect="1"/>
          </p:cNvPicPr>
          <p:nvPr/>
        </p:nvPicPr>
        <p:blipFill>
          <a:blip r:embed="rId2"/>
          <a:stretch>
            <a:fillRect/>
          </a:stretch>
        </p:blipFill>
        <p:spPr>
          <a:xfrm>
            <a:off x="648000" y="1784790"/>
            <a:ext cx="8142514" cy="4372140"/>
          </a:xfrm>
          <a:prstGeom prst="rect">
            <a:avLst/>
          </a:prstGeom>
        </p:spPr>
      </p:pic>
      <p:sp>
        <p:nvSpPr>
          <p:cNvPr id="6" name="Text Placeholder 2">
            <a:extLst>
              <a:ext uri="{FF2B5EF4-FFF2-40B4-BE49-F238E27FC236}">
                <a16:creationId xmlns:a16="http://schemas.microsoft.com/office/drawing/2014/main" id="{DD3C84AB-B4D0-BF91-4303-DEBAA0B3B2A9}"/>
              </a:ext>
            </a:extLst>
          </p:cNvPr>
          <p:cNvSpPr txBox="1">
            <a:spLocks/>
          </p:cNvSpPr>
          <p:nvPr/>
        </p:nvSpPr>
        <p:spPr>
          <a:xfrm>
            <a:off x="484215" y="6156930"/>
            <a:ext cx="10896301" cy="3240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700" i="1"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r>
              <a:rPr lang="it-IT" dirty="0"/>
              <a:t>VAT, Visceral adipose Tissue; ASMM, Appendicular skeletal </a:t>
            </a:r>
            <a:r>
              <a:rPr lang="en-US" dirty="0"/>
              <a:t>muscle mass </a:t>
            </a:r>
            <a:endParaRPr lang="it-IT" dirty="0"/>
          </a:p>
          <a:p>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endParaRPr lang="it-IT" dirty="0"/>
          </a:p>
        </p:txBody>
      </p:sp>
      <p:sp>
        <p:nvSpPr>
          <p:cNvPr id="3" name="Rectangle: Rounded Corners 2">
            <a:extLst>
              <a:ext uri="{FF2B5EF4-FFF2-40B4-BE49-F238E27FC236}">
                <a16:creationId xmlns:a16="http://schemas.microsoft.com/office/drawing/2014/main" id="{E68E30BB-89F8-D72F-9B42-BF05A4E5A7C4}"/>
              </a:ext>
            </a:extLst>
          </p:cNvPr>
          <p:cNvSpPr/>
          <p:nvPr/>
        </p:nvSpPr>
        <p:spPr>
          <a:xfrm>
            <a:off x="690515" y="1784790"/>
            <a:ext cx="6235885" cy="2218410"/>
          </a:xfrm>
          <a:prstGeom prst="roundRect">
            <a:avLst>
              <a:gd name="adj" fmla="val 791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cxnSp>
        <p:nvCxnSpPr>
          <p:cNvPr id="7" name="Straight Arrow Connector 6">
            <a:extLst>
              <a:ext uri="{FF2B5EF4-FFF2-40B4-BE49-F238E27FC236}">
                <a16:creationId xmlns:a16="http://schemas.microsoft.com/office/drawing/2014/main" id="{1C87ACDD-7BA5-21E0-DBE4-E1C2F33E9288}"/>
              </a:ext>
            </a:extLst>
          </p:cNvPr>
          <p:cNvCxnSpPr/>
          <p:nvPr/>
        </p:nvCxnSpPr>
        <p:spPr>
          <a:xfrm>
            <a:off x="2102400" y="2484000"/>
            <a:ext cx="0" cy="38160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DCCB1CE-1440-F071-83F5-A2CEB14314A4}"/>
              </a:ext>
            </a:extLst>
          </p:cNvPr>
          <p:cNvCxnSpPr/>
          <p:nvPr/>
        </p:nvCxnSpPr>
        <p:spPr>
          <a:xfrm>
            <a:off x="5286000" y="2290800"/>
            <a:ext cx="0" cy="38160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9F3279A-0FEF-FEF8-ECF9-EEF1C41667B9}"/>
              </a:ext>
            </a:extLst>
          </p:cNvPr>
          <p:cNvSpPr/>
          <p:nvPr/>
        </p:nvSpPr>
        <p:spPr>
          <a:xfrm>
            <a:off x="8856171" y="2419200"/>
            <a:ext cx="3270971" cy="2732046"/>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p:txBody>
      </p:sp>
      <p:sp>
        <p:nvSpPr>
          <p:cNvPr id="10" name="TextBox 9">
            <a:extLst>
              <a:ext uri="{FF2B5EF4-FFF2-40B4-BE49-F238E27FC236}">
                <a16:creationId xmlns:a16="http://schemas.microsoft.com/office/drawing/2014/main" id="{39E990CF-6000-829F-0364-EADC230FD21C}"/>
              </a:ext>
            </a:extLst>
          </p:cNvPr>
          <p:cNvSpPr txBox="1"/>
          <p:nvPr/>
        </p:nvSpPr>
        <p:spPr>
          <a:xfrm>
            <a:off x="8856171" y="2473590"/>
            <a:ext cx="3270971" cy="2677656"/>
          </a:xfrm>
          <a:prstGeom prst="rect">
            <a:avLst/>
          </a:prstGeom>
          <a:noFill/>
        </p:spPr>
        <p:txBody>
          <a:bodyPr wrap="square">
            <a:spAutoFit/>
          </a:bodyPr>
          <a:lstStyle/>
          <a:p>
            <a:pPr marL="285750" indent="-285750">
              <a:buFont typeface="Arial" panose="020B0604020202020204" pitchFamily="34" charset="0"/>
              <a:buChar char="•"/>
            </a:pPr>
            <a:r>
              <a:rPr kumimoji="0" lang="en-US" sz="1200" i="0" u="none" strike="noStrike" kern="1200" cap="none" spc="0" normalizeH="0" baseline="0" noProof="0" dirty="0">
                <a:ln>
                  <a:noFill/>
                </a:ln>
                <a:solidFill>
                  <a:schemeClr val="accent1"/>
                </a:solidFill>
                <a:effectLst/>
                <a:uLnTx/>
                <a:uFillTx/>
                <a:latin typeface="Apis For Office"/>
                <a:ea typeface="+mn-ea"/>
                <a:cs typeface="+mn-cs"/>
              </a:rPr>
              <a:t>Significant </a:t>
            </a:r>
            <a:r>
              <a:rPr kumimoji="0" lang="en-US" sz="1200" b="1" i="0" u="none" strike="noStrike" kern="1200" cap="none" spc="0" normalizeH="0" baseline="0" noProof="0" dirty="0">
                <a:ln>
                  <a:noFill/>
                </a:ln>
                <a:solidFill>
                  <a:schemeClr val="accent1"/>
                </a:solidFill>
                <a:effectLst/>
                <a:uLnTx/>
                <a:uFillTx/>
                <a:latin typeface="Apis For Office"/>
                <a:ea typeface="+mn-ea"/>
                <a:cs typeface="+mn-cs"/>
              </a:rPr>
              <a:t>decrease in fat mass </a:t>
            </a:r>
            <a:r>
              <a:rPr kumimoji="0" lang="en-US" sz="1200" i="0" u="none" strike="noStrike" kern="1200" cap="none" spc="0" normalizeH="0" baseline="0" noProof="0" dirty="0">
                <a:ln>
                  <a:noFill/>
                </a:ln>
                <a:solidFill>
                  <a:schemeClr val="accent1"/>
                </a:solidFill>
                <a:effectLst/>
                <a:uLnTx/>
                <a:uFillTx/>
                <a:latin typeface="Apis For Office"/>
                <a:ea typeface="+mn-ea"/>
                <a:cs typeface="+mn-cs"/>
              </a:rPr>
              <a:t>and </a:t>
            </a:r>
            <a:r>
              <a:rPr kumimoji="0" lang="en-US" sz="1200" b="1" i="0" u="none" strike="noStrike" kern="1200" cap="none" spc="0" normalizeH="0" baseline="0" noProof="0" dirty="0">
                <a:ln>
                  <a:noFill/>
                </a:ln>
                <a:solidFill>
                  <a:schemeClr val="accent1"/>
                </a:solidFill>
                <a:effectLst/>
                <a:uLnTx/>
                <a:uFillTx/>
                <a:latin typeface="Apis For Office"/>
                <a:ea typeface="+mn-ea"/>
                <a:cs typeface="+mn-cs"/>
              </a:rPr>
              <a:t>VAT</a:t>
            </a:r>
            <a:r>
              <a:rPr kumimoji="0" lang="en-US" sz="1200" i="0" u="none" strike="noStrike" kern="1200" cap="none" spc="0" normalizeH="0" baseline="0" noProof="0" dirty="0">
                <a:ln>
                  <a:noFill/>
                </a:ln>
                <a:solidFill>
                  <a:schemeClr val="accent1"/>
                </a:solidFill>
                <a:effectLst/>
                <a:uLnTx/>
                <a:uFillTx/>
                <a:latin typeface="Apis For Office"/>
                <a:ea typeface="+mn-ea"/>
                <a:cs typeface="+mn-cs"/>
              </a:rPr>
              <a:t> at M7, which </a:t>
            </a:r>
            <a:r>
              <a:rPr kumimoji="0" lang="en-US" sz="1200" b="1" i="0" u="none" strike="noStrike" kern="1200" cap="none" spc="0" normalizeH="0" baseline="0" noProof="0" dirty="0">
                <a:ln>
                  <a:noFill/>
                </a:ln>
                <a:solidFill>
                  <a:schemeClr val="accent1"/>
                </a:solidFill>
                <a:effectLst/>
                <a:uLnTx/>
                <a:uFillTx/>
                <a:latin typeface="Apis For Office"/>
                <a:ea typeface="+mn-ea"/>
                <a:cs typeface="+mn-cs"/>
              </a:rPr>
              <a:t>continued to decrease until M12</a:t>
            </a:r>
            <a:r>
              <a:rPr kumimoji="0" lang="en-US" sz="1200" i="0" u="none" strike="noStrike" kern="1200" cap="none" spc="0" normalizeH="0" baseline="0" noProof="0" dirty="0">
                <a:ln>
                  <a:noFill/>
                </a:ln>
                <a:solidFill>
                  <a:schemeClr val="accent1"/>
                </a:solidFill>
                <a:effectLst/>
                <a:uLnTx/>
                <a:uFillTx/>
                <a:latin typeface="Apis For Office"/>
                <a:ea typeface="+mn-ea"/>
                <a:cs typeface="+mn-cs"/>
              </a:rPr>
              <a:t>. However, lean mass showed a different trajectory, with an </a:t>
            </a:r>
            <a:r>
              <a:rPr kumimoji="0" lang="en-US" sz="1200" b="1" i="0" u="none" strike="noStrike" kern="1200" cap="none" spc="0" normalizeH="0" baseline="0" noProof="0" dirty="0">
                <a:ln>
                  <a:noFill/>
                </a:ln>
                <a:solidFill>
                  <a:schemeClr val="accent1"/>
                </a:solidFill>
                <a:effectLst/>
                <a:uLnTx/>
                <a:uFillTx/>
                <a:latin typeface="Apis For Office"/>
                <a:ea typeface="+mn-ea"/>
                <a:cs typeface="+mn-cs"/>
              </a:rPr>
              <a:t>initial significant decrease at M7</a:t>
            </a:r>
            <a:r>
              <a:rPr kumimoji="0" lang="en-US" sz="1200" i="0" u="none" strike="noStrike" kern="1200" cap="none" spc="0" normalizeH="0" baseline="0" noProof="0" dirty="0">
                <a:ln>
                  <a:noFill/>
                </a:ln>
                <a:solidFill>
                  <a:schemeClr val="accent1"/>
                </a:solidFill>
                <a:effectLst/>
                <a:uLnTx/>
                <a:uFillTx/>
                <a:latin typeface="Apis For Office"/>
                <a:ea typeface="+mn-ea"/>
                <a:cs typeface="+mn-cs"/>
              </a:rPr>
              <a:t>, followed by </a:t>
            </a:r>
            <a:r>
              <a:rPr kumimoji="0" lang="en-US" sz="1200" b="1" i="0" u="none" strike="noStrike" kern="1200" cap="none" spc="0" normalizeH="0" baseline="0" noProof="0" dirty="0" err="1">
                <a:ln>
                  <a:noFill/>
                </a:ln>
                <a:solidFill>
                  <a:schemeClr val="accent1"/>
                </a:solidFill>
                <a:effectLst/>
                <a:uLnTx/>
                <a:uFillTx/>
                <a:latin typeface="Apis For Office"/>
                <a:ea typeface="+mn-ea"/>
                <a:cs typeface="+mn-cs"/>
              </a:rPr>
              <a:t>stabilisation</a:t>
            </a:r>
            <a:r>
              <a:rPr kumimoji="0" lang="en-US" sz="1200" b="1" i="0" u="none" strike="noStrike" kern="1200" cap="none" spc="0" normalizeH="0" baseline="0" noProof="0" dirty="0">
                <a:ln>
                  <a:noFill/>
                </a:ln>
                <a:solidFill>
                  <a:schemeClr val="accent1"/>
                </a:solidFill>
                <a:effectLst/>
                <a:uLnTx/>
                <a:uFillTx/>
                <a:latin typeface="Apis For Office"/>
                <a:ea typeface="+mn-ea"/>
                <a:cs typeface="+mn-cs"/>
              </a:rPr>
              <a:t> through M12</a:t>
            </a:r>
          </a:p>
          <a:p>
            <a:endParaRPr kumimoji="0" lang="en-US" sz="1200" b="1" i="0" u="none" strike="noStrike" kern="1200" cap="none" spc="0" normalizeH="0" baseline="0" noProof="0" dirty="0">
              <a:ln>
                <a:noFill/>
              </a:ln>
              <a:solidFill>
                <a:schemeClr val="accent1"/>
              </a:solidFill>
              <a:effectLst/>
              <a:uLnTx/>
              <a:uFillTx/>
              <a:latin typeface="Apis For Office"/>
              <a:ea typeface="+mn-ea"/>
              <a:cs typeface="+mn-cs"/>
            </a:endParaRPr>
          </a:p>
          <a:p>
            <a:pPr marL="285750" indent="-285750">
              <a:buFont typeface="Arial" panose="020B0604020202020204" pitchFamily="34" charset="0"/>
              <a:buChar char="•"/>
            </a:pPr>
            <a:r>
              <a:rPr lang="en-US" sz="1200" b="1" dirty="0">
                <a:solidFill>
                  <a:schemeClr val="accent1"/>
                </a:solidFill>
              </a:rPr>
              <a:t>ASMM decreased </a:t>
            </a:r>
            <a:r>
              <a:rPr lang="en-US" sz="1200" dirty="0">
                <a:solidFill>
                  <a:schemeClr val="accent1"/>
                </a:solidFill>
              </a:rPr>
              <a:t>significantly at M7. However, this quantitative reduction was associated with a relative </a:t>
            </a:r>
            <a:r>
              <a:rPr lang="en-US" sz="1200" b="1" dirty="0">
                <a:solidFill>
                  <a:schemeClr val="accent1"/>
                </a:solidFill>
              </a:rPr>
              <a:t>increase in lean mass proportion </a:t>
            </a:r>
            <a:r>
              <a:rPr lang="en-US" sz="1200" dirty="0">
                <a:solidFill>
                  <a:schemeClr val="accent1"/>
                </a:solidFill>
              </a:rPr>
              <a:t>and an </a:t>
            </a:r>
            <a:r>
              <a:rPr lang="en-US" sz="1200" b="1" dirty="0">
                <a:solidFill>
                  <a:schemeClr val="accent1"/>
                </a:solidFill>
              </a:rPr>
              <a:t>improvement in handgrip strength</a:t>
            </a:r>
            <a:endParaRPr kumimoji="0" lang="en-US" sz="1200" b="1" i="0" u="none" strike="noStrike" kern="1200" cap="none" spc="0" normalizeH="0" baseline="0" noProof="0" dirty="0">
              <a:ln>
                <a:noFill/>
              </a:ln>
              <a:solidFill>
                <a:schemeClr val="accent1"/>
              </a:solidFill>
              <a:effectLst/>
              <a:uLnTx/>
              <a:uFillTx/>
              <a:latin typeface="Apis For Office"/>
            </a:endParaRPr>
          </a:p>
        </p:txBody>
      </p:sp>
      <p:sp>
        <p:nvSpPr>
          <p:cNvPr id="11" name="Rectangle: Rounded Corners 10">
            <a:extLst>
              <a:ext uri="{FF2B5EF4-FFF2-40B4-BE49-F238E27FC236}">
                <a16:creationId xmlns:a16="http://schemas.microsoft.com/office/drawing/2014/main" id="{8C237EC5-7846-8ED5-CDA5-52D0AF4A8F96}"/>
              </a:ext>
            </a:extLst>
          </p:cNvPr>
          <p:cNvSpPr/>
          <p:nvPr/>
        </p:nvSpPr>
        <p:spPr>
          <a:xfrm>
            <a:off x="690515" y="4095990"/>
            <a:ext cx="6235886" cy="2039340"/>
          </a:xfrm>
          <a:prstGeom prst="roundRect">
            <a:avLst>
              <a:gd name="adj" fmla="val 791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cxnSp>
        <p:nvCxnSpPr>
          <p:cNvPr id="12" name="Straight Arrow Connector 11">
            <a:extLst>
              <a:ext uri="{FF2B5EF4-FFF2-40B4-BE49-F238E27FC236}">
                <a16:creationId xmlns:a16="http://schemas.microsoft.com/office/drawing/2014/main" id="{8F597FA9-DA6F-2806-ECA6-8E16C9A53522}"/>
              </a:ext>
            </a:extLst>
          </p:cNvPr>
          <p:cNvCxnSpPr/>
          <p:nvPr/>
        </p:nvCxnSpPr>
        <p:spPr>
          <a:xfrm>
            <a:off x="3601200" y="4638000"/>
            <a:ext cx="0" cy="38160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4986C82-AD4F-B2B9-D4D5-25E4F8297B0F}"/>
              </a:ext>
            </a:extLst>
          </p:cNvPr>
          <p:cNvCxnSpPr/>
          <p:nvPr/>
        </p:nvCxnSpPr>
        <p:spPr>
          <a:xfrm>
            <a:off x="5286000" y="4381200"/>
            <a:ext cx="0" cy="38160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6E13D5B9-AC03-BFD0-7F75-F6D942B48347}"/>
              </a:ext>
            </a:extLst>
          </p:cNvPr>
          <p:cNvSpPr/>
          <p:nvPr/>
        </p:nvSpPr>
        <p:spPr>
          <a:xfrm>
            <a:off x="6992057" y="1784790"/>
            <a:ext cx="1742968" cy="2218410"/>
          </a:xfrm>
          <a:prstGeom prst="roundRect">
            <a:avLst>
              <a:gd name="adj" fmla="val 7913"/>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spTree>
    <p:extLst>
      <p:ext uri="{BB962C8B-B14F-4D97-AF65-F5344CB8AC3E}">
        <p14:creationId xmlns:p14="http://schemas.microsoft.com/office/powerpoint/2010/main" val="2234733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animEffect transition="in" filter="fade">
                                      <p:cBhvr>
                                        <p:cTn id="19" dur="500"/>
                                        <p:tgtEl>
                                          <p:spTgt spid="10">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xEl>
                                              <p:pRg st="2" end="2"/>
                                            </p:txEl>
                                          </p:spTgt>
                                        </p:tgtEl>
                                        <p:attrNameLst>
                                          <p:attrName>style.visibility</p:attrName>
                                        </p:attrNameLst>
                                      </p:cBhvr>
                                      <p:to>
                                        <p:strVal val="visible"/>
                                      </p:to>
                                    </p:set>
                                    <p:animEffect transition="in" filter="fade">
                                      <p:cBhvr>
                                        <p:cTn id="33" dur="500"/>
                                        <p:tgtEl>
                                          <p:spTgt spid="10">
                                            <p:txEl>
                                              <p:pRg st="2" end="2"/>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1"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0D9D8-5B2A-919C-B8D6-F657D32F45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B1F690-9422-64E8-1626-AAFA9F0C8B27}"/>
              </a:ext>
            </a:extLst>
          </p:cNvPr>
          <p:cNvSpPr>
            <a:spLocks noGrp="1"/>
          </p:cNvSpPr>
          <p:nvPr>
            <p:ph type="title"/>
          </p:nvPr>
        </p:nvSpPr>
        <p:spPr/>
        <p:txBody>
          <a:bodyPr/>
          <a:lstStyle/>
          <a:p>
            <a:r>
              <a:rPr lang="it-IT" dirty="0"/>
              <a:t>Results </a:t>
            </a:r>
            <a:br>
              <a:rPr lang="it-IT" dirty="0"/>
            </a:br>
            <a:r>
              <a:rPr lang="en-US" sz="2000" dirty="0">
                <a:solidFill>
                  <a:schemeClr val="accent5"/>
                </a:solidFill>
              </a:rPr>
              <a:t>Change in resting energy expenditure (REE)</a:t>
            </a:r>
            <a:endParaRPr lang="it-IT" sz="2000" dirty="0">
              <a:solidFill>
                <a:schemeClr val="accent5"/>
              </a:solidFill>
            </a:endParaRPr>
          </a:p>
        </p:txBody>
      </p:sp>
      <p:sp>
        <p:nvSpPr>
          <p:cNvPr id="6" name="Text Placeholder 2">
            <a:extLst>
              <a:ext uri="{FF2B5EF4-FFF2-40B4-BE49-F238E27FC236}">
                <a16:creationId xmlns:a16="http://schemas.microsoft.com/office/drawing/2014/main" id="{715C2B93-6B26-57E0-BE43-605C88B7A06D}"/>
              </a:ext>
            </a:extLst>
          </p:cNvPr>
          <p:cNvSpPr txBox="1">
            <a:spLocks/>
          </p:cNvSpPr>
          <p:nvPr/>
        </p:nvSpPr>
        <p:spPr>
          <a:xfrm>
            <a:off x="484215" y="6156930"/>
            <a:ext cx="10896301" cy="3240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700" i="1"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r>
              <a:rPr lang="it-IT" dirty="0"/>
              <a:t>REE, Resting </a:t>
            </a:r>
            <a:r>
              <a:rPr lang="en-US" dirty="0">
                <a:solidFill>
                  <a:srgbClr val="001965"/>
                </a:solidFill>
              </a:rPr>
              <a:t>Energy Expenditure; LM, Lean Mass</a:t>
            </a:r>
            <a:endParaRPr lang="it-IT" dirty="0">
              <a:solidFill>
                <a:srgbClr val="001965"/>
              </a:solidFill>
            </a:endParaRPr>
          </a:p>
          <a:p>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p>
          <a:p>
            <a:r>
              <a:rPr lang="it-IT" dirty="0"/>
              <a:t>1. Choi RH, Karasawa T, Meza CA, et al. Semaglutide-induced weight loss improves mitochondrial energy efficiency in skeletal muscle bioRxiv 2024</a:t>
            </a:r>
          </a:p>
        </p:txBody>
      </p:sp>
      <p:cxnSp>
        <p:nvCxnSpPr>
          <p:cNvPr id="8" name="Straight Arrow Connector 7">
            <a:extLst>
              <a:ext uri="{FF2B5EF4-FFF2-40B4-BE49-F238E27FC236}">
                <a16:creationId xmlns:a16="http://schemas.microsoft.com/office/drawing/2014/main" id="{409CE007-E35C-A213-FC1D-82424BBE4D26}"/>
              </a:ext>
            </a:extLst>
          </p:cNvPr>
          <p:cNvCxnSpPr/>
          <p:nvPr/>
        </p:nvCxnSpPr>
        <p:spPr>
          <a:xfrm>
            <a:off x="8211657" y="2929335"/>
            <a:ext cx="0" cy="38160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677B1B5-690A-8457-B6C9-13554E2CC8F6}"/>
              </a:ext>
            </a:extLst>
          </p:cNvPr>
          <p:cNvSpPr/>
          <p:nvPr/>
        </p:nvSpPr>
        <p:spPr>
          <a:xfrm>
            <a:off x="7646686" y="2793600"/>
            <a:ext cx="3270971" cy="1944603"/>
          </a:xfrm>
          <a:prstGeom prst="rect">
            <a:avLst/>
          </a:prstGeom>
          <a:solidFill>
            <a:srgbClr val="E5F1F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p:txBody>
      </p:sp>
      <p:sp>
        <p:nvSpPr>
          <p:cNvPr id="10" name="TextBox 9">
            <a:extLst>
              <a:ext uri="{FF2B5EF4-FFF2-40B4-BE49-F238E27FC236}">
                <a16:creationId xmlns:a16="http://schemas.microsoft.com/office/drawing/2014/main" id="{FA833170-22B5-3E43-9E24-D232F7208371}"/>
              </a:ext>
            </a:extLst>
          </p:cNvPr>
          <p:cNvSpPr txBox="1"/>
          <p:nvPr/>
        </p:nvSpPr>
        <p:spPr>
          <a:xfrm>
            <a:off x="7646685" y="2694876"/>
            <a:ext cx="3270971" cy="2123658"/>
          </a:xfrm>
          <a:prstGeom prst="rect">
            <a:avLst/>
          </a:prstGeom>
          <a:solidFill>
            <a:srgbClr val="F0DCF4"/>
          </a:solidFill>
        </p:spPr>
        <p:txBody>
          <a:bodyPr wrap="square">
            <a:spAutoFit/>
          </a:bodyPr>
          <a:lstStyle/>
          <a:p>
            <a:pPr marL="285750" indent="-285750">
              <a:buFont typeface="Arial" panose="020B0604020202020204" pitchFamily="34" charset="0"/>
              <a:buChar char="•"/>
            </a:pPr>
            <a:endParaRPr lang="en-US" sz="1200" b="1" dirty="0">
              <a:solidFill>
                <a:schemeClr val="accent1"/>
              </a:solidFill>
              <a:latin typeface="Apis For Office"/>
            </a:endParaRPr>
          </a:p>
          <a:p>
            <a:pPr marL="285750" indent="-285750">
              <a:buFont typeface="Arial" panose="020B0604020202020204" pitchFamily="34" charset="0"/>
              <a:buChar char="•"/>
            </a:pPr>
            <a:r>
              <a:rPr lang="en-US" sz="1200" dirty="0" err="1">
                <a:solidFill>
                  <a:schemeClr val="accent1"/>
                </a:solidFill>
              </a:rPr>
              <a:t>Semaglutide</a:t>
            </a:r>
            <a:r>
              <a:rPr lang="en-US" sz="1200" dirty="0">
                <a:solidFill>
                  <a:schemeClr val="accent1"/>
                </a:solidFill>
              </a:rPr>
              <a:t> </a:t>
            </a:r>
            <a:r>
              <a:rPr lang="en-US" sz="1200" b="1" dirty="0">
                <a:solidFill>
                  <a:schemeClr val="accent1"/>
                </a:solidFill>
              </a:rPr>
              <a:t>maintains metabolic activity </a:t>
            </a:r>
            <a:r>
              <a:rPr lang="en-US" sz="1200" dirty="0">
                <a:solidFill>
                  <a:schemeClr val="accent1"/>
                </a:solidFill>
              </a:rPr>
              <a:t>despite weight loss, thereby aiding in prolonged weight loss or maintenance</a:t>
            </a:r>
            <a:r>
              <a:rPr lang="en-US" sz="1200" b="1" dirty="0">
                <a:solidFill>
                  <a:schemeClr val="accent1"/>
                </a:solidFill>
              </a:rPr>
              <a:t>. </a:t>
            </a:r>
          </a:p>
          <a:p>
            <a:pPr marL="285750" indent="-285750">
              <a:buFont typeface="Arial" panose="020B0604020202020204" pitchFamily="34" charset="0"/>
              <a:buChar char="•"/>
            </a:pPr>
            <a:endParaRPr lang="en-US" sz="1200" b="1" dirty="0">
              <a:solidFill>
                <a:schemeClr val="accent1"/>
              </a:solidFill>
            </a:endParaRPr>
          </a:p>
          <a:p>
            <a:pPr marL="285750" indent="-285750">
              <a:buFont typeface="Arial" panose="020B0604020202020204" pitchFamily="34" charset="0"/>
              <a:buChar char="•"/>
            </a:pPr>
            <a:r>
              <a:rPr lang="en-US" sz="1200" dirty="0">
                <a:solidFill>
                  <a:schemeClr val="accent1"/>
                </a:solidFill>
              </a:rPr>
              <a:t>Recent data indicate that weight loss with </a:t>
            </a:r>
            <a:r>
              <a:rPr lang="en-US" sz="1200" dirty="0" err="1">
                <a:solidFill>
                  <a:schemeClr val="accent1"/>
                </a:solidFill>
              </a:rPr>
              <a:t>Semaglutide</a:t>
            </a:r>
            <a:r>
              <a:rPr lang="en-US" sz="1200" dirty="0">
                <a:solidFill>
                  <a:schemeClr val="accent1"/>
                </a:solidFill>
              </a:rPr>
              <a:t> treatment </a:t>
            </a:r>
            <a:r>
              <a:rPr lang="en-US" sz="1200" b="1" dirty="0">
                <a:solidFill>
                  <a:schemeClr val="accent1"/>
                </a:solidFill>
              </a:rPr>
              <a:t>increases skeletal muscle mitochondrial efficiency </a:t>
            </a:r>
            <a:r>
              <a:rPr lang="en-US" sz="1200" dirty="0">
                <a:solidFill>
                  <a:schemeClr val="accent1"/>
                </a:solidFill>
              </a:rPr>
              <a:t>in mice</a:t>
            </a:r>
            <a:r>
              <a:rPr lang="en-US" sz="1200" baseline="30000" dirty="0">
                <a:solidFill>
                  <a:schemeClr val="accent1"/>
                </a:solidFill>
              </a:rPr>
              <a:t>1</a:t>
            </a:r>
            <a:endParaRPr kumimoji="0" lang="en-US" sz="1200" i="0" u="none" strike="noStrike" kern="1200" cap="none" spc="0" normalizeH="0" baseline="30000" noProof="0" dirty="0">
              <a:ln>
                <a:noFill/>
              </a:ln>
              <a:solidFill>
                <a:schemeClr val="accent1"/>
              </a:solidFill>
              <a:effectLst/>
              <a:uLnTx/>
              <a:uFillTx/>
              <a:latin typeface="Apis For Office"/>
            </a:endParaRPr>
          </a:p>
          <a:p>
            <a:endParaRPr kumimoji="0" lang="en-US" sz="1200" b="1" i="0" u="none" strike="noStrike" kern="1200" cap="none" spc="0" normalizeH="0" baseline="0" noProof="0" dirty="0">
              <a:ln>
                <a:noFill/>
              </a:ln>
              <a:solidFill>
                <a:schemeClr val="accent1"/>
              </a:solidFill>
              <a:effectLst/>
              <a:uLnTx/>
              <a:uFillTx/>
              <a:latin typeface="Apis For Office"/>
              <a:ea typeface="+mn-ea"/>
              <a:cs typeface="+mn-cs"/>
            </a:endParaRPr>
          </a:p>
        </p:txBody>
      </p:sp>
      <p:pic>
        <p:nvPicPr>
          <p:cNvPr id="15" name="Picture 14">
            <a:extLst>
              <a:ext uri="{FF2B5EF4-FFF2-40B4-BE49-F238E27FC236}">
                <a16:creationId xmlns:a16="http://schemas.microsoft.com/office/drawing/2014/main" id="{F26C56EE-6571-48AE-56D4-EDD1E75C8BBF}"/>
              </a:ext>
            </a:extLst>
          </p:cNvPr>
          <p:cNvPicPr>
            <a:picLocks noChangeAspect="1"/>
          </p:cNvPicPr>
          <p:nvPr/>
        </p:nvPicPr>
        <p:blipFill>
          <a:blip r:embed="rId2"/>
          <a:srcRect l="15880" t="-183" r="15235" b="14110"/>
          <a:stretch>
            <a:fillRect/>
          </a:stretch>
        </p:blipFill>
        <p:spPr>
          <a:xfrm>
            <a:off x="648000" y="1852585"/>
            <a:ext cx="6465600" cy="4055688"/>
          </a:xfrm>
          <a:prstGeom prst="rect">
            <a:avLst/>
          </a:prstGeom>
        </p:spPr>
      </p:pic>
      <p:sp>
        <p:nvSpPr>
          <p:cNvPr id="3" name="Rectangle: Rounded Corners 2">
            <a:extLst>
              <a:ext uri="{FF2B5EF4-FFF2-40B4-BE49-F238E27FC236}">
                <a16:creationId xmlns:a16="http://schemas.microsoft.com/office/drawing/2014/main" id="{C1502751-09F3-A8F0-072A-654351B2C845}"/>
              </a:ext>
            </a:extLst>
          </p:cNvPr>
          <p:cNvSpPr/>
          <p:nvPr/>
        </p:nvSpPr>
        <p:spPr>
          <a:xfrm>
            <a:off x="648001" y="1728001"/>
            <a:ext cx="6372342" cy="4255199"/>
          </a:xfrm>
          <a:prstGeom prst="roundRect">
            <a:avLst>
              <a:gd name="adj" fmla="val 1349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spTree>
    <p:extLst>
      <p:ext uri="{BB962C8B-B14F-4D97-AF65-F5344CB8AC3E}">
        <p14:creationId xmlns:p14="http://schemas.microsoft.com/office/powerpoint/2010/main" val="41202588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3CD18-E9CE-63B5-B1FF-3B617EAD86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6D537A-2021-80F0-0793-B7E3221C69A2}"/>
              </a:ext>
            </a:extLst>
          </p:cNvPr>
          <p:cNvSpPr>
            <a:spLocks noGrp="1"/>
          </p:cNvSpPr>
          <p:nvPr>
            <p:ph type="title"/>
          </p:nvPr>
        </p:nvSpPr>
        <p:spPr/>
        <p:txBody>
          <a:bodyPr/>
          <a:lstStyle/>
          <a:p>
            <a:r>
              <a:rPr lang="it-IT" dirty="0"/>
              <a:t>Results </a:t>
            </a:r>
            <a:br>
              <a:rPr lang="it-IT" dirty="0"/>
            </a:br>
            <a:r>
              <a:rPr lang="en-US" sz="2000" dirty="0">
                <a:solidFill>
                  <a:schemeClr val="accent5"/>
                </a:solidFill>
              </a:rPr>
              <a:t>Change in Sarcopenia</a:t>
            </a:r>
            <a:endParaRPr lang="it-IT" sz="2000" dirty="0">
              <a:solidFill>
                <a:schemeClr val="accent5"/>
              </a:solidFill>
            </a:endParaRPr>
          </a:p>
        </p:txBody>
      </p:sp>
      <p:sp>
        <p:nvSpPr>
          <p:cNvPr id="6" name="Text Placeholder 2">
            <a:extLst>
              <a:ext uri="{FF2B5EF4-FFF2-40B4-BE49-F238E27FC236}">
                <a16:creationId xmlns:a16="http://schemas.microsoft.com/office/drawing/2014/main" id="{11D1D5EF-D0CF-D663-2209-945DE8E85035}"/>
              </a:ext>
            </a:extLst>
          </p:cNvPr>
          <p:cNvSpPr txBox="1">
            <a:spLocks/>
          </p:cNvSpPr>
          <p:nvPr/>
        </p:nvSpPr>
        <p:spPr>
          <a:xfrm>
            <a:off x="484215" y="6156930"/>
            <a:ext cx="10896301" cy="3240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700" i="1"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r>
              <a:rPr lang="it-IT" dirty="0"/>
              <a:t>SO, Sarcopenic Obesity</a:t>
            </a:r>
            <a:endParaRPr lang="it-IT" dirty="0">
              <a:solidFill>
                <a:srgbClr val="001965"/>
              </a:solidFill>
            </a:endParaRPr>
          </a:p>
          <a:p>
            <a:r>
              <a:rPr lang="it-IT" i="0" dirty="0"/>
              <a:t>Alissou M. </a:t>
            </a:r>
            <a:r>
              <a:rPr lang="en-US" dirty="0"/>
              <a:t>Diabetes </a:t>
            </a:r>
            <a:r>
              <a:rPr lang="en-US" dirty="0" err="1"/>
              <a:t>Obes</a:t>
            </a:r>
            <a:r>
              <a:rPr lang="en-US" dirty="0"/>
              <a:t> </a:t>
            </a:r>
            <a:r>
              <a:rPr lang="en-US" dirty="0" err="1"/>
              <a:t>Metab</a:t>
            </a:r>
            <a:r>
              <a:rPr lang="en-US" dirty="0"/>
              <a:t>. 2025;1–10. </a:t>
            </a:r>
            <a:r>
              <a:rPr lang="it-IT" i="0" dirty="0"/>
              <a:t>DOI: 10.1111/dom.70141</a:t>
            </a:r>
          </a:p>
        </p:txBody>
      </p:sp>
      <p:cxnSp>
        <p:nvCxnSpPr>
          <p:cNvPr id="8" name="Straight Arrow Connector 7">
            <a:extLst>
              <a:ext uri="{FF2B5EF4-FFF2-40B4-BE49-F238E27FC236}">
                <a16:creationId xmlns:a16="http://schemas.microsoft.com/office/drawing/2014/main" id="{DB99E2DF-1B2A-B84A-997C-D5C75D7F23FF}"/>
              </a:ext>
            </a:extLst>
          </p:cNvPr>
          <p:cNvCxnSpPr/>
          <p:nvPr/>
        </p:nvCxnSpPr>
        <p:spPr>
          <a:xfrm>
            <a:off x="8211657" y="2929335"/>
            <a:ext cx="0" cy="38160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1C584E2-ADB7-1D1D-4497-08CF25FF4F6D}"/>
              </a:ext>
            </a:extLst>
          </p:cNvPr>
          <p:cNvSpPr/>
          <p:nvPr/>
        </p:nvSpPr>
        <p:spPr>
          <a:xfrm>
            <a:off x="7646686" y="2793600"/>
            <a:ext cx="3270971" cy="1944603"/>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p:txBody>
      </p:sp>
      <p:sp>
        <p:nvSpPr>
          <p:cNvPr id="10" name="TextBox 9">
            <a:extLst>
              <a:ext uri="{FF2B5EF4-FFF2-40B4-BE49-F238E27FC236}">
                <a16:creationId xmlns:a16="http://schemas.microsoft.com/office/drawing/2014/main" id="{1DC6D086-0C1E-6212-6146-C1F6F29DA4D6}"/>
              </a:ext>
            </a:extLst>
          </p:cNvPr>
          <p:cNvSpPr txBox="1"/>
          <p:nvPr/>
        </p:nvSpPr>
        <p:spPr>
          <a:xfrm>
            <a:off x="7596285" y="2614545"/>
            <a:ext cx="3270971" cy="2123658"/>
          </a:xfrm>
          <a:prstGeom prst="rect">
            <a:avLst/>
          </a:prstGeom>
          <a:noFill/>
        </p:spPr>
        <p:txBody>
          <a:bodyPr wrap="square">
            <a:spAutoFit/>
          </a:bodyPr>
          <a:lstStyle/>
          <a:p>
            <a:pPr marL="285750" indent="-285750">
              <a:buFont typeface="Arial" panose="020B0604020202020204" pitchFamily="34" charset="0"/>
              <a:buChar char="•"/>
            </a:pPr>
            <a:endParaRPr lang="en-US" sz="1200" b="1" dirty="0">
              <a:solidFill>
                <a:schemeClr val="accent1"/>
              </a:solidFill>
              <a:latin typeface="Apis For Office"/>
            </a:endParaRPr>
          </a:p>
          <a:p>
            <a:pPr marL="285750" indent="-285750">
              <a:buFont typeface="Arial" panose="020B0604020202020204" pitchFamily="34" charset="0"/>
              <a:buChar char="•"/>
            </a:pPr>
            <a:r>
              <a:rPr lang="en-US" sz="1200" dirty="0">
                <a:solidFill>
                  <a:schemeClr val="accent1"/>
                </a:solidFill>
              </a:rPr>
              <a:t>Patients with sarcopenic obesity </a:t>
            </a:r>
            <a:r>
              <a:rPr lang="en-US" sz="1200" b="1" dirty="0">
                <a:solidFill>
                  <a:schemeClr val="accent1"/>
                </a:solidFill>
              </a:rPr>
              <a:t>decreased significantly from baseline </a:t>
            </a:r>
            <a:r>
              <a:rPr lang="en-US" sz="1200" dirty="0">
                <a:solidFill>
                  <a:schemeClr val="accent1"/>
                </a:solidFill>
              </a:rPr>
              <a:t>(49%) to M12 (33%). </a:t>
            </a:r>
          </a:p>
          <a:p>
            <a:pPr marL="285750" indent="-285750">
              <a:buFont typeface="Arial" panose="020B0604020202020204" pitchFamily="34" charset="0"/>
              <a:buChar char="•"/>
            </a:pPr>
            <a:endParaRPr lang="en-US" sz="1200" dirty="0">
              <a:solidFill>
                <a:schemeClr val="accent1"/>
              </a:solidFill>
            </a:endParaRPr>
          </a:p>
          <a:p>
            <a:pPr marL="285750" indent="-285750">
              <a:buFont typeface="Arial" panose="020B0604020202020204" pitchFamily="34" charset="0"/>
              <a:buChar char="•"/>
            </a:pPr>
            <a:r>
              <a:rPr lang="en-US" sz="1200" dirty="0">
                <a:solidFill>
                  <a:schemeClr val="accent1"/>
                </a:solidFill>
              </a:rPr>
              <a:t>22% of patients who were sarcopenic at baseline were no longer sarcopenic at M12; 49% of patients maintained their non-sarcopenic status at M12; and 5% of patients developed sarcopenic obesity at M12</a:t>
            </a:r>
            <a:endParaRPr kumimoji="0" lang="en-US" sz="1200" b="1" i="0" u="none" strike="noStrike" kern="1200" cap="none" spc="0" normalizeH="0" baseline="0" noProof="0" dirty="0">
              <a:ln>
                <a:noFill/>
              </a:ln>
              <a:solidFill>
                <a:schemeClr val="accent1"/>
              </a:solidFill>
              <a:effectLst/>
              <a:uLnTx/>
              <a:uFillTx/>
              <a:latin typeface="Apis For Office"/>
              <a:ea typeface="+mn-ea"/>
              <a:cs typeface="+mn-cs"/>
            </a:endParaRPr>
          </a:p>
        </p:txBody>
      </p:sp>
      <p:sp>
        <p:nvSpPr>
          <p:cNvPr id="3" name="Rectangle: Rounded Corners 2">
            <a:extLst>
              <a:ext uri="{FF2B5EF4-FFF2-40B4-BE49-F238E27FC236}">
                <a16:creationId xmlns:a16="http://schemas.microsoft.com/office/drawing/2014/main" id="{B2D8DFB8-D6F4-5F2F-9955-6143505A0FF4}"/>
              </a:ext>
            </a:extLst>
          </p:cNvPr>
          <p:cNvSpPr/>
          <p:nvPr/>
        </p:nvSpPr>
        <p:spPr>
          <a:xfrm>
            <a:off x="734400" y="1728001"/>
            <a:ext cx="6084000" cy="4255199"/>
          </a:xfrm>
          <a:prstGeom prst="roundRect">
            <a:avLst>
              <a:gd name="adj" fmla="val 1349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noProof="0" dirty="0" err="1"/>
          </a:p>
        </p:txBody>
      </p:sp>
      <p:pic>
        <p:nvPicPr>
          <p:cNvPr id="5" name="Picture 4">
            <a:extLst>
              <a:ext uri="{FF2B5EF4-FFF2-40B4-BE49-F238E27FC236}">
                <a16:creationId xmlns:a16="http://schemas.microsoft.com/office/drawing/2014/main" id="{25B39C32-7E6F-869C-E3E2-973392782191}"/>
              </a:ext>
            </a:extLst>
          </p:cNvPr>
          <p:cNvPicPr>
            <a:picLocks noChangeAspect="1"/>
          </p:cNvPicPr>
          <p:nvPr/>
        </p:nvPicPr>
        <p:blipFill>
          <a:blip r:embed="rId2"/>
          <a:srcRect t="2449" r="2406" b="1925"/>
          <a:stretch>
            <a:fillRect/>
          </a:stretch>
        </p:blipFill>
        <p:spPr>
          <a:xfrm>
            <a:off x="1016778" y="1893600"/>
            <a:ext cx="5499222" cy="3945600"/>
          </a:xfrm>
          <a:prstGeom prst="rect">
            <a:avLst/>
          </a:prstGeom>
        </p:spPr>
      </p:pic>
    </p:spTree>
    <p:extLst>
      <p:ext uri="{BB962C8B-B14F-4D97-AF65-F5344CB8AC3E}">
        <p14:creationId xmlns:p14="http://schemas.microsoft.com/office/powerpoint/2010/main" val="3655749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81AA0-A58D-8026-7F79-651FFBBC2FD3}"/>
              </a:ext>
            </a:extLst>
          </p:cNvPr>
          <p:cNvSpPr>
            <a:spLocks noGrp="1"/>
          </p:cNvSpPr>
          <p:nvPr>
            <p:ph type="title"/>
          </p:nvPr>
        </p:nvSpPr>
        <p:spPr/>
        <p:txBody>
          <a:bodyPr/>
          <a:lstStyle/>
          <a:p>
            <a:r>
              <a:rPr lang="en-US" dirty="0"/>
              <a:t>DEFINITION</a:t>
            </a:r>
            <a:br>
              <a:rPr lang="en-US" dirty="0"/>
            </a:br>
            <a:br>
              <a:rPr lang="en-US" dirty="0"/>
            </a:br>
            <a:br>
              <a:rPr lang="en-US" dirty="0"/>
            </a:br>
            <a:r>
              <a:rPr lang="en-US" dirty="0"/>
              <a:t>OBESITY IS DEFINED AS A CHRONIC, RELAPSING, PROGRESSIVE DISEASE STATE</a:t>
            </a:r>
            <a:r>
              <a:rPr lang="en-US" baseline="30000" dirty="0"/>
              <a:t>1</a:t>
            </a:r>
            <a:endParaRPr lang="en-ZA" dirty="0"/>
          </a:p>
        </p:txBody>
      </p:sp>
      <p:sp>
        <p:nvSpPr>
          <p:cNvPr id="3" name="Text Placeholder 2">
            <a:extLst>
              <a:ext uri="{FF2B5EF4-FFF2-40B4-BE49-F238E27FC236}">
                <a16:creationId xmlns:a16="http://schemas.microsoft.com/office/drawing/2014/main" id="{AEE9FBAD-8B6E-85AA-138E-F6D1F68104F3}"/>
              </a:ext>
            </a:extLst>
          </p:cNvPr>
          <p:cNvSpPr>
            <a:spLocks noGrp="1"/>
          </p:cNvSpPr>
          <p:nvPr>
            <p:ph type="body" sz="quarter" idx="13"/>
          </p:nvPr>
        </p:nvSpPr>
        <p:spPr/>
        <p:txBody>
          <a:bodyPr/>
          <a:lstStyle/>
          <a:p>
            <a:r>
              <a:rPr lang="en-GB" dirty="0"/>
              <a:t>Christensen, S., &amp; Nelson, C. (2025). Chronicity of obesity and the importance of early treatment to reduce cardiometabolic risk and improve body composition. Obesity Pillars, 15, 100175. https://doi.org/10.1016/j.obpill.2025.100175</a:t>
            </a:r>
            <a:endParaRPr lang="en-ZA" dirty="0"/>
          </a:p>
        </p:txBody>
      </p:sp>
    </p:spTree>
    <p:extLst>
      <p:ext uri="{BB962C8B-B14F-4D97-AF65-F5344CB8AC3E}">
        <p14:creationId xmlns:p14="http://schemas.microsoft.com/office/powerpoint/2010/main" val="37044710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83DB9-0909-B2B7-5120-44B7342AF400}"/>
              </a:ext>
            </a:extLst>
          </p:cNvPr>
          <p:cNvSpPr>
            <a:spLocks noGrp="1"/>
          </p:cNvSpPr>
          <p:nvPr>
            <p:ph type="title"/>
          </p:nvPr>
        </p:nvSpPr>
        <p:spPr/>
        <p:txBody>
          <a:bodyPr/>
          <a:lstStyle/>
          <a:p>
            <a:r>
              <a:rPr lang="it-IT" dirty="0"/>
              <a:t>Conclusion</a:t>
            </a:r>
          </a:p>
        </p:txBody>
      </p:sp>
      <p:sp>
        <p:nvSpPr>
          <p:cNvPr id="5" name="Rectangle 4">
            <a:extLst>
              <a:ext uri="{FF2B5EF4-FFF2-40B4-BE49-F238E27FC236}">
                <a16:creationId xmlns:a16="http://schemas.microsoft.com/office/drawing/2014/main" id="{AC8C8652-F614-0206-B448-069636B9766A}"/>
              </a:ext>
            </a:extLst>
          </p:cNvPr>
          <p:cNvSpPr/>
          <p:nvPr/>
        </p:nvSpPr>
        <p:spPr>
          <a:xfrm>
            <a:off x="415199" y="1533600"/>
            <a:ext cx="11361602" cy="4161127"/>
          </a:xfrm>
          <a:prstGeom prst="rect">
            <a:avLst/>
          </a:prstGeom>
          <a:solidFill>
            <a:srgbClr val="F0DC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b"/>
          <a:lstStyle/>
          <a:p>
            <a:pPr marL="285750" indent="-285750">
              <a:buFont typeface="Arial" panose="020B0604020202020204" pitchFamily="34" charset="0"/>
              <a:buChar char="•"/>
            </a:pPr>
            <a:r>
              <a:rPr kumimoji="0" lang="en-US" sz="1400" i="0" u="none" strike="noStrike" kern="1200" cap="none" spc="0" normalizeH="0" baseline="0" noProof="0" dirty="0" err="1">
                <a:ln>
                  <a:noFill/>
                </a:ln>
                <a:solidFill>
                  <a:schemeClr val="accent1"/>
                </a:solidFill>
                <a:effectLst/>
                <a:uLnTx/>
                <a:uFillTx/>
                <a:latin typeface="Apis For Office"/>
                <a:ea typeface="+mn-ea"/>
                <a:cs typeface="+mn-cs"/>
              </a:rPr>
              <a:t>Semaglutide</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2.4 mg led to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substantial weight loss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in patients with obesity: on average, a 10% reduction at 7 months and 13% at 12 months. These results confirm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the high efficacy of </a:t>
            </a:r>
            <a:r>
              <a:rPr kumimoji="0" lang="en-US" sz="1400" b="1" i="0" u="none" strike="noStrike" kern="1200" cap="none" spc="0" normalizeH="0" baseline="0" noProof="0" dirty="0" err="1">
                <a:ln>
                  <a:noFill/>
                </a:ln>
                <a:solidFill>
                  <a:schemeClr val="accent1"/>
                </a:solidFill>
                <a:effectLst/>
                <a:uLnTx/>
                <a:uFillTx/>
                <a:latin typeface="Apis For Office"/>
                <a:ea typeface="+mn-ea"/>
                <a:cs typeface="+mn-cs"/>
              </a:rPr>
              <a:t>Semaglutide</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 in real-world clinical practice</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consistent with previous clinical trials.</a:t>
            </a:r>
          </a:p>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a:p>
            <a:pPr marL="285750" indent="-285750">
              <a:buFont typeface="Arial" panose="020B0604020202020204" pitchFamily="34" charset="0"/>
              <a:buChar char="•"/>
            </a:pPr>
            <a:r>
              <a:rPr kumimoji="0" lang="en-US" sz="1400" i="0" u="none" strike="noStrike" kern="1200" cap="none" spc="0" normalizeH="0" baseline="0" noProof="0" dirty="0">
                <a:ln>
                  <a:noFill/>
                </a:ln>
                <a:solidFill>
                  <a:schemeClr val="accent1"/>
                </a:solidFill>
                <a:effectLst/>
                <a:uLnTx/>
                <a:uFillTx/>
                <a:latin typeface="Apis For Office"/>
                <a:ea typeface="+mn-ea"/>
                <a:cs typeface="+mn-cs"/>
              </a:rPr>
              <a:t>Total fat mass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decreased by 14%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at 7 months and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19%</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at 12 months.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Visceral adipose tissue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VAT) also showed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significant reduction</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Lean mass initially decreased (about 3 kg at 7 months) but then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stabilized</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the proportion of lean mass relative to total body weight actually increased. </a:t>
            </a:r>
          </a:p>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a:p>
            <a:pPr marL="285750" indent="-285750">
              <a:buFont typeface="Arial" panose="020B0604020202020204" pitchFamily="34" charset="0"/>
              <a:buChar char="•"/>
            </a:pPr>
            <a:r>
              <a:rPr kumimoji="0" lang="en-US" sz="1400" i="0" u="none" strike="noStrike" kern="1200" cap="none" spc="0" normalizeH="0" baseline="0" noProof="0" dirty="0">
                <a:ln>
                  <a:noFill/>
                </a:ln>
                <a:solidFill>
                  <a:schemeClr val="accent1"/>
                </a:solidFill>
                <a:effectLst/>
                <a:uLnTx/>
                <a:uFillTx/>
                <a:latin typeface="Apis For Office"/>
                <a:ea typeface="+mn-ea"/>
                <a:cs typeface="+mn-cs"/>
              </a:rPr>
              <a:t>Handgrip strength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improved significantly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4.1 kg at 12 months). The prevalence of sarcopenic obesity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decreased</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from 49% at baseline to 33% at 12 months. Despite some loss of lean mass,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muscle function improved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and the risk of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sarcopenic obesity was reduced</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suggesting a qualitative improvement in body composition.</a:t>
            </a:r>
          </a:p>
          <a:p>
            <a:r>
              <a:rPr kumimoji="0" lang="en-US" sz="1400" i="0" u="none" strike="noStrike" kern="1200" cap="none" spc="0" normalizeH="0" baseline="0" noProof="0" dirty="0">
                <a:ln>
                  <a:noFill/>
                </a:ln>
                <a:solidFill>
                  <a:schemeClr val="accent1"/>
                </a:solidFill>
                <a:effectLst/>
                <a:uLnTx/>
                <a:uFillTx/>
                <a:latin typeface="Apis For Office"/>
                <a:ea typeface="+mn-ea"/>
                <a:cs typeface="+mn-cs"/>
              </a:rPr>
              <a:t> </a:t>
            </a:r>
          </a:p>
          <a:p>
            <a:pPr marL="285750" indent="-285750">
              <a:buFont typeface="Arial" panose="020B0604020202020204" pitchFamily="34" charset="0"/>
              <a:buChar char="•"/>
            </a:pPr>
            <a:r>
              <a:rPr kumimoji="0" lang="en-US" sz="1400" i="0" u="none" strike="noStrike" kern="1200" cap="none" spc="0" normalizeH="0" baseline="0" noProof="0" dirty="0">
                <a:ln>
                  <a:noFill/>
                </a:ln>
                <a:solidFill>
                  <a:schemeClr val="accent1"/>
                </a:solidFill>
                <a:effectLst/>
                <a:uLnTx/>
                <a:uFillTx/>
                <a:latin typeface="Apis For Office"/>
                <a:ea typeface="+mn-ea"/>
                <a:cs typeface="+mn-cs"/>
              </a:rPr>
              <a:t>Resting energy expenditure (REE) decreased at 7 months (as expected with weight loss), but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increased again at 12 months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when normalized to lean mass. This suggests a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positive adaptation in metabolic efficiency</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which may help with long-term weight maintenance. </a:t>
            </a:r>
          </a:p>
          <a:p>
            <a:pPr marL="285750" indent="-285750">
              <a:buFont typeface="Arial" panose="020B0604020202020204" pitchFamily="34" charset="0"/>
              <a:buChar char="•"/>
            </a:pPr>
            <a:endParaRPr kumimoji="0" lang="en-US" sz="1400" i="0" u="none" strike="noStrike" kern="1200" cap="none" spc="0" normalizeH="0" baseline="0" noProof="0" dirty="0">
              <a:ln>
                <a:noFill/>
              </a:ln>
              <a:solidFill>
                <a:schemeClr val="accent1"/>
              </a:solidFill>
              <a:effectLst/>
              <a:uLnTx/>
              <a:uFillTx/>
              <a:latin typeface="Apis For Office"/>
              <a:ea typeface="+mn-ea"/>
              <a:cs typeface="+mn-cs"/>
            </a:endParaRPr>
          </a:p>
          <a:p>
            <a:pPr marL="285750" indent="-285750">
              <a:buFont typeface="Arial" panose="020B0604020202020204" pitchFamily="34" charset="0"/>
              <a:buChar char="•"/>
            </a:pPr>
            <a:r>
              <a:rPr kumimoji="0" lang="en-US" sz="1400" i="0" u="none" strike="noStrike" kern="1200" cap="none" spc="0" normalizeH="0" baseline="0" noProof="0" dirty="0">
                <a:ln>
                  <a:noFill/>
                </a:ln>
                <a:solidFill>
                  <a:schemeClr val="accent1"/>
                </a:solidFill>
                <a:effectLst/>
                <a:uLnTx/>
                <a:uFillTx/>
                <a:latin typeface="Apis For Office"/>
                <a:ea typeface="+mn-ea"/>
                <a:cs typeface="+mn-cs"/>
              </a:rPr>
              <a:t>This study underscores the need for a comprehensive approach to obesity management, focusing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not only on weight loss </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but also on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preserving muscle mass</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improving muscle function</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and </a:t>
            </a:r>
            <a:r>
              <a:rPr kumimoji="0" lang="en-US" sz="1400" b="1" i="0" u="none" strike="noStrike" kern="1200" cap="none" spc="0" normalizeH="0" baseline="0" noProof="0" dirty="0">
                <a:ln>
                  <a:noFill/>
                </a:ln>
                <a:solidFill>
                  <a:schemeClr val="accent1"/>
                </a:solidFill>
                <a:effectLst/>
                <a:uLnTx/>
                <a:uFillTx/>
                <a:latin typeface="Apis For Office"/>
                <a:ea typeface="+mn-ea"/>
                <a:cs typeface="+mn-cs"/>
              </a:rPr>
              <a:t>supporting metabolic health</a:t>
            </a:r>
            <a:r>
              <a:rPr kumimoji="0" lang="en-US" sz="1400" i="0" u="none" strike="noStrike" kern="1200" cap="none" spc="0" normalizeH="0" baseline="0" noProof="0" dirty="0">
                <a:ln>
                  <a:noFill/>
                </a:ln>
                <a:solidFill>
                  <a:schemeClr val="accent1"/>
                </a:solidFill>
                <a:effectLst/>
                <a:uLnTx/>
                <a:uFillTx/>
                <a:latin typeface="Apis For Office"/>
                <a:ea typeface="+mn-ea"/>
                <a:cs typeface="+mn-cs"/>
              </a:rPr>
              <a:t>. </a:t>
            </a:r>
          </a:p>
        </p:txBody>
      </p:sp>
    </p:spTree>
    <p:extLst>
      <p:ext uri="{BB962C8B-B14F-4D97-AF65-F5344CB8AC3E}">
        <p14:creationId xmlns:p14="http://schemas.microsoft.com/office/powerpoint/2010/main" val="7764516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1"/>
          <p:cNvSpPr/>
          <p:nvPr/>
        </p:nvSpPr>
        <p:spPr>
          <a:xfrm>
            <a:off x="609600" y="633984"/>
            <a:ext cx="10972800" cy="670560"/>
          </a:xfrm>
          <a:prstGeom prst="rect">
            <a:avLst/>
          </a:prstGeom>
          <a:noFill/>
          <a:ln/>
        </p:spPr>
        <p:txBody>
          <a:bodyPr wrap="square" lIns="0" tIns="0" rIns="0" bIns="0" rtlCol="0" anchor="ctr"/>
          <a:lstStyle/>
          <a:p>
            <a:r>
              <a:rPr lang="en-US" sz="3600" dirty="0">
                <a:solidFill>
                  <a:schemeClr val="tx2"/>
                </a:solidFill>
                <a:latin typeface="+mj-lt"/>
                <a:ea typeface="+mj-ea"/>
                <a:cs typeface="+mj-cs"/>
              </a:rPr>
              <a:t>Factors Affecting Muscle Loss</a:t>
            </a:r>
          </a:p>
        </p:txBody>
      </p:sp>
      <p:sp>
        <p:nvSpPr>
          <p:cNvPr id="4" name="Text 2"/>
          <p:cNvSpPr/>
          <p:nvPr/>
        </p:nvSpPr>
        <p:spPr>
          <a:xfrm>
            <a:off x="609600" y="1316736"/>
            <a:ext cx="10972800" cy="487680"/>
          </a:xfrm>
          <a:prstGeom prst="rect">
            <a:avLst/>
          </a:prstGeom>
          <a:noFill/>
          <a:ln/>
        </p:spPr>
        <p:txBody>
          <a:bodyPr wrap="square" lIns="0" tIns="0" rIns="0" bIns="0" rtlCol="0" anchor="ctr"/>
          <a:lstStyle/>
          <a:p>
            <a:r>
              <a:rPr lang="en-US" sz="1600" dirty="0">
                <a:solidFill>
                  <a:schemeClr val="tx2"/>
                </a:solidFill>
                <a:latin typeface="+mj-lt"/>
                <a:ea typeface="+mj-ea"/>
                <a:cs typeface="+mj-cs"/>
              </a:rPr>
              <a:t>Muscle loss is inevitable in a significant calorie deficit — regardless of GLP-1s or diet — but it can be minimized.</a:t>
            </a:r>
          </a:p>
        </p:txBody>
      </p:sp>
      <p:sp>
        <p:nvSpPr>
          <p:cNvPr id="5" name="Text 3"/>
          <p:cNvSpPr/>
          <p:nvPr/>
        </p:nvSpPr>
        <p:spPr>
          <a:xfrm>
            <a:off x="609600" y="2011680"/>
            <a:ext cx="2560320" cy="670560"/>
          </a:xfrm>
          <a:prstGeom prst="rect">
            <a:avLst/>
          </a:prstGeom>
          <a:noFill/>
          <a:ln/>
        </p:spPr>
        <p:txBody>
          <a:bodyPr wrap="square" lIns="0" tIns="0" rIns="0" bIns="0" rtlCol="0" anchor="ctr"/>
          <a:lstStyle/>
          <a:p>
            <a:r>
              <a:rPr lang="en-US" sz="1333" b="1" kern="0" spc="400" dirty="0">
                <a:solidFill>
                  <a:schemeClr val="tx2"/>
                </a:solidFill>
                <a:latin typeface="Calibri" pitchFamily="34" charset="0"/>
                <a:ea typeface="Calibri" pitchFamily="34" charset="-122"/>
                <a:cs typeface="Calibri" pitchFamily="34" charset="-120"/>
              </a:rPr>
              <a:t>FEATURE</a:t>
            </a:r>
            <a:endParaRPr lang="en-US" sz="1333" dirty="0">
              <a:solidFill>
                <a:schemeClr val="tx2"/>
              </a:solidFill>
            </a:endParaRPr>
          </a:p>
        </p:txBody>
      </p:sp>
      <p:sp>
        <p:nvSpPr>
          <p:cNvPr id="6" name="Shape 4"/>
          <p:cNvSpPr/>
          <p:nvPr/>
        </p:nvSpPr>
        <p:spPr>
          <a:xfrm>
            <a:off x="3352800" y="2011680"/>
            <a:ext cx="4206240" cy="670560"/>
          </a:xfrm>
          <a:prstGeom prst="rect">
            <a:avLst/>
          </a:prstGeom>
          <a:solidFill>
            <a:srgbClr val="0D9488"/>
          </a:solidFill>
          <a:ln w="12700">
            <a:solidFill>
              <a:srgbClr val="0D9488"/>
            </a:solidFill>
            <a:prstDash val="solid"/>
          </a:ln>
        </p:spPr>
        <p:txBody>
          <a:bodyPr/>
          <a:lstStyle/>
          <a:p>
            <a:endParaRPr lang="en-US" sz="2400">
              <a:solidFill>
                <a:schemeClr val="tx2"/>
              </a:solidFill>
            </a:endParaRPr>
          </a:p>
        </p:txBody>
      </p:sp>
      <p:sp>
        <p:nvSpPr>
          <p:cNvPr id="7" name="Text 5"/>
          <p:cNvSpPr/>
          <p:nvPr/>
        </p:nvSpPr>
        <p:spPr>
          <a:xfrm>
            <a:off x="3352800" y="2011680"/>
            <a:ext cx="4206240" cy="670560"/>
          </a:xfrm>
          <a:prstGeom prst="rect">
            <a:avLst/>
          </a:prstGeom>
          <a:noFill/>
          <a:ln/>
        </p:spPr>
        <p:txBody>
          <a:bodyPr wrap="square" lIns="0" tIns="0" rIns="0" bIns="0" rtlCol="0" anchor="ctr"/>
          <a:lstStyle/>
          <a:p>
            <a:pPr algn="ctr"/>
            <a:r>
              <a:rPr lang="en-US" sz="1600" b="1" kern="0" spc="267" dirty="0">
                <a:solidFill>
                  <a:schemeClr val="bg1"/>
                </a:solidFill>
                <a:latin typeface="Calibri" pitchFamily="34" charset="0"/>
                <a:ea typeface="Calibri" pitchFamily="34" charset="-122"/>
                <a:cs typeface="Calibri" pitchFamily="34" charset="-120"/>
              </a:rPr>
              <a:t>GLP-1 RECEPTOR AGONISTS</a:t>
            </a:r>
            <a:endParaRPr lang="en-US" sz="1600" dirty="0">
              <a:solidFill>
                <a:schemeClr val="bg1"/>
              </a:solidFill>
            </a:endParaRPr>
          </a:p>
        </p:txBody>
      </p:sp>
      <p:sp>
        <p:nvSpPr>
          <p:cNvPr id="8" name="Shape 6"/>
          <p:cNvSpPr/>
          <p:nvPr/>
        </p:nvSpPr>
        <p:spPr>
          <a:xfrm>
            <a:off x="7741920" y="2011680"/>
            <a:ext cx="3840480" cy="670560"/>
          </a:xfrm>
          <a:prstGeom prst="rect">
            <a:avLst/>
          </a:prstGeom>
          <a:solidFill>
            <a:srgbClr val="475569"/>
          </a:solidFill>
          <a:ln w="12700">
            <a:solidFill>
              <a:srgbClr val="475569"/>
            </a:solidFill>
            <a:prstDash val="solid"/>
          </a:ln>
        </p:spPr>
        <p:txBody>
          <a:bodyPr/>
          <a:lstStyle/>
          <a:p>
            <a:endParaRPr lang="en-US" sz="2400"/>
          </a:p>
        </p:txBody>
      </p:sp>
      <p:sp>
        <p:nvSpPr>
          <p:cNvPr id="9" name="Text 7"/>
          <p:cNvSpPr/>
          <p:nvPr/>
        </p:nvSpPr>
        <p:spPr>
          <a:xfrm>
            <a:off x="7741920" y="2011680"/>
            <a:ext cx="3840480" cy="670560"/>
          </a:xfrm>
          <a:prstGeom prst="rect">
            <a:avLst/>
          </a:prstGeom>
          <a:noFill/>
          <a:ln/>
        </p:spPr>
        <p:txBody>
          <a:bodyPr wrap="square" lIns="0" tIns="0" rIns="0" bIns="0" rtlCol="0" anchor="ctr"/>
          <a:lstStyle/>
          <a:p>
            <a:pPr algn="ctr"/>
            <a:r>
              <a:rPr lang="en-US" sz="1600" b="1" kern="0" spc="267" dirty="0">
                <a:solidFill>
                  <a:schemeClr val="bg1"/>
                </a:solidFill>
                <a:latin typeface="Calibri" pitchFamily="34" charset="0"/>
                <a:ea typeface="Calibri" pitchFamily="34" charset="-122"/>
                <a:cs typeface="Calibri" pitchFamily="34" charset="-120"/>
              </a:rPr>
              <a:t>CONVENTIONAL DIET</a:t>
            </a:r>
            <a:endParaRPr lang="en-US" sz="1600" dirty="0">
              <a:solidFill>
                <a:schemeClr val="bg1"/>
              </a:solidFill>
            </a:endParaRPr>
          </a:p>
        </p:txBody>
      </p:sp>
      <p:sp>
        <p:nvSpPr>
          <p:cNvPr id="10" name="Text 8"/>
          <p:cNvSpPr/>
          <p:nvPr/>
        </p:nvSpPr>
        <p:spPr>
          <a:xfrm>
            <a:off x="609600" y="2901696"/>
            <a:ext cx="2560320" cy="755904"/>
          </a:xfrm>
          <a:prstGeom prst="rect">
            <a:avLst/>
          </a:prstGeom>
          <a:noFill/>
          <a:ln/>
        </p:spPr>
        <p:txBody>
          <a:bodyPr wrap="square" lIns="0" tIns="0" rIns="0" bIns="0" rtlCol="0" anchor="ctr"/>
          <a:lstStyle/>
          <a:p>
            <a:r>
              <a:rPr lang="en-US" sz="1600" b="1" dirty="0">
                <a:solidFill>
                  <a:schemeClr val="tx2"/>
                </a:solidFill>
                <a:latin typeface="Calibri" pitchFamily="34" charset="0"/>
                <a:ea typeface="Calibri" pitchFamily="34" charset="-122"/>
                <a:cs typeface="Calibri" pitchFamily="34" charset="-120"/>
              </a:rPr>
              <a:t>Typical Lean Loss</a:t>
            </a:r>
            <a:endParaRPr lang="en-US" sz="1600" dirty="0">
              <a:solidFill>
                <a:schemeClr val="tx2"/>
              </a:solidFill>
            </a:endParaRPr>
          </a:p>
        </p:txBody>
      </p:sp>
      <p:sp>
        <p:nvSpPr>
          <p:cNvPr id="11" name="Shape 9"/>
          <p:cNvSpPr/>
          <p:nvPr/>
        </p:nvSpPr>
        <p:spPr>
          <a:xfrm>
            <a:off x="3352800" y="2901696"/>
            <a:ext cx="4206240" cy="755904"/>
          </a:xfrm>
          <a:prstGeom prst="rect">
            <a:avLst/>
          </a:prstGeom>
          <a:solidFill>
            <a:srgbClr val="CCFBF1"/>
          </a:solidFill>
          <a:ln w="12700">
            <a:solidFill>
              <a:srgbClr val="CCFBF1"/>
            </a:solidFill>
            <a:prstDash val="solid"/>
          </a:ln>
        </p:spPr>
        <p:txBody>
          <a:bodyPr/>
          <a:lstStyle/>
          <a:p>
            <a:endParaRPr lang="en-US" sz="2400"/>
          </a:p>
        </p:txBody>
      </p:sp>
      <p:sp>
        <p:nvSpPr>
          <p:cNvPr id="12" name="Shape 10"/>
          <p:cNvSpPr/>
          <p:nvPr/>
        </p:nvSpPr>
        <p:spPr>
          <a:xfrm>
            <a:off x="3352800" y="2901696"/>
            <a:ext cx="73152" cy="755904"/>
          </a:xfrm>
          <a:prstGeom prst="rect">
            <a:avLst/>
          </a:prstGeom>
          <a:solidFill>
            <a:srgbClr val="0D9488"/>
          </a:solidFill>
          <a:ln w="12700">
            <a:solidFill>
              <a:srgbClr val="0D9488"/>
            </a:solidFill>
            <a:prstDash val="solid"/>
          </a:ln>
        </p:spPr>
        <p:txBody>
          <a:bodyPr/>
          <a:lstStyle/>
          <a:p>
            <a:endParaRPr lang="en-US" sz="2400"/>
          </a:p>
        </p:txBody>
      </p:sp>
      <p:sp>
        <p:nvSpPr>
          <p:cNvPr id="13" name="Text 11"/>
          <p:cNvSpPr/>
          <p:nvPr/>
        </p:nvSpPr>
        <p:spPr>
          <a:xfrm>
            <a:off x="3572256" y="2901696"/>
            <a:ext cx="3840480" cy="755904"/>
          </a:xfrm>
          <a:prstGeom prst="rect">
            <a:avLst/>
          </a:prstGeom>
          <a:noFill/>
          <a:ln/>
        </p:spPr>
        <p:txBody>
          <a:bodyPr wrap="square" lIns="0" tIns="0" rIns="0" bIns="0" rtlCol="0" anchor="ctr"/>
          <a:lstStyle/>
          <a:p>
            <a:r>
              <a:rPr lang="en-US" sz="1733" b="1" dirty="0">
                <a:solidFill>
                  <a:schemeClr val="tx2"/>
                </a:solidFill>
                <a:latin typeface="Calibri" pitchFamily="34" charset="0"/>
                <a:ea typeface="Calibri" pitchFamily="34" charset="-122"/>
                <a:cs typeface="Calibri" pitchFamily="34" charset="-120"/>
              </a:rPr>
              <a:t>~25–40%</a:t>
            </a:r>
            <a:endParaRPr lang="en-US" sz="1733" dirty="0">
              <a:solidFill>
                <a:schemeClr val="tx2"/>
              </a:solidFill>
            </a:endParaRPr>
          </a:p>
        </p:txBody>
      </p:sp>
      <p:sp>
        <p:nvSpPr>
          <p:cNvPr id="14" name="Shape 12"/>
          <p:cNvSpPr/>
          <p:nvPr/>
        </p:nvSpPr>
        <p:spPr>
          <a:xfrm>
            <a:off x="7741920" y="2901696"/>
            <a:ext cx="3840480" cy="755904"/>
          </a:xfrm>
          <a:prstGeom prst="rect">
            <a:avLst/>
          </a:prstGeom>
          <a:solidFill>
            <a:srgbClr val="E2E8F0"/>
          </a:solidFill>
          <a:ln w="12700">
            <a:solidFill>
              <a:srgbClr val="E2E8F0"/>
            </a:solidFill>
            <a:prstDash val="solid"/>
          </a:ln>
        </p:spPr>
        <p:txBody>
          <a:bodyPr/>
          <a:lstStyle/>
          <a:p>
            <a:endParaRPr lang="en-US" sz="2400"/>
          </a:p>
        </p:txBody>
      </p:sp>
      <p:sp>
        <p:nvSpPr>
          <p:cNvPr id="15" name="Shape 13"/>
          <p:cNvSpPr/>
          <p:nvPr/>
        </p:nvSpPr>
        <p:spPr>
          <a:xfrm>
            <a:off x="7741920" y="2901696"/>
            <a:ext cx="73152" cy="755904"/>
          </a:xfrm>
          <a:prstGeom prst="rect">
            <a:avLst/>
          </a:prstGeom>
          <a:solidFill>
            <a:srgbClr val="475569"/>
          </a:solidFill>
          <a:ln w="12700">
            <a:solidFill>
              <a:srgbClr val="475569"/>
            </a:solidFill>
            <a:prstDash val="solid"/>
          </a:ln>
        </p:spPr>
        <p:txBody>
          <a:bodyPr/>
          <a:lstStyle/>
          <a:p>
            <a:endParaRPr lang="en-US" sz="2400"/>
          </a:p>
        </p:txBody>
      </p:sp>
      <p:sp>
        <p:nvSpPr>
          <p:cNvPr id="16" name="Text 14"/>
          <p:cNvSpPr/>
          <p:nvPr/>
        </p:nvSpPr>
        <p:spPr>
          <a:xfrm>
            <a:off x="7961376" y="2901696"/>
            <a:ext cx="3474720" cy="755904"/>
          </a:xfrm>
          <a:prstGeom prst="rect">
            <a:avLst/>
          </a:prstGeom>
          <a:noFill/>
          <a:ln/>
        </p:spPr>
        <p:txBody>
          <a:bodyPr wrap="square" lIns="0" tIns="0" rIns="0" bIns="0" rtlCol="0" anchor="ctr"/>
          <a:lstStyle/>
          <a:p>
            <a:r>
              <a:rPr lang="en-US" sz="1733" b="1" dirty="0">
                <a:solidFill>
                  <a:schemeClr val="tx2"/>
                </a:solidFill>
                <a:latin typeface="Calibri" pitchFamily="34" charset="0"/>
                <a:ea typeface="Calibri" pitchFamily="34" charset="-122"/>
                <a:cs typeface="Calibri" pitchFamily="34" charset="-120"/>
              </a:rPr>
              <a:t>~10–30%</a:t>
            </a:r>
            <a:endParaRPr lang="en-US" sz="1733" dirty="0">
              <a:solidFill>
                <a:schemeClr val="tx2"/>
              </a:solidFill>
            </a:endParaRPr>
          </a:p>
        </p:txBody>
      </p:sp>
      <p:sp>
        <p:nvSpPr>
          <p:cNvPr id="17" name="Text 15"/>
          <p:cNvSpPr/>
          <p:nvPr/>
        </p:nvSpPr>
        <p:spPr>
          <a:xfrm>
            <a:off x="609600" y="3755136"/>
            <a:ext cx="2560320" cy="755904"/>
          </a:xfrm>
          <a:prstGeom prst="rect">
            <a:avLst/>
          </a:prstGeom>
          <a:noFill/>
          <a:ln/>
        </p:spPr>
        <p:txBody>
          <a:bodyPr wrap="square" lIns="0" tIns="0" rIns="0" bIns="0" rtlCol="0" anchor="ctr"/>
          <a:lstStyle/>
          <a:p>
            <a:r>
              <a:rPr lang="en-US" sz="1600" b="1" dirty="0">
                <a:solidFill>
                  <a:schemeClr val="tx2"/>
                </a:solidFill>
                <a:latin typeface="Calibri" pitchFamily="34" charset="0"/>
                <a:ea typeface="Calibri" pitchFamily="34" charset="-122"/>
                <a:cs typeface="Calibri" pitchFamily="34" charset="-120"/>
              </a:rPr>
              <a:t>Magnitude of Weight Loss</a:t>
            </a:r>
            <a:endParaRPr lang="en-US" sz="1600" dirty="0">
              <a:solidFill>
                <a:schemeClr val="tx2"/>
              </a:solidFill>
            </a:endParaRPr>
          </a:p>
        </p:txBody>
      </p:sp>
      <p:sp>
        <p:nvSpPr>
          <p:cNvPr id="18" name="Shape 16"/>
          <p:cNvSpPr/>
          <p:nvPr/>
        </p:nvSpPr>
        <p:spPr>
          <a:xfrm>
            <a:off x="3352800" y="3755136"/>
            <a:ext cx="4206240" cy="755904"/>
          </a:xfrm>
          <a:prstGeom prst="rect">
            <a:avLst/>
          </a:prstGeom>
          <a:solidFill>
            <a:srgbClr val="CCFBF1"/>
          </a:solidFill>
          <a:ln w="12700">
            <a:solidFill>
              <a:srgbClr val="CCFBF1"/>
            </a:solidFill>
            <a:prstDash val="solid"/>
          </a:ln>
        </p:spPr>
        <p:txBody>
          <a:bodyPr/>
          <a:lstStyle/>
          <a:p>
            <a:endParaRPr lang="en-US" sz="2400"/>
          </a:p>
        </p:txBody>
      </p:sp>
      <p:sp>
        <p:nvSpPr>
          <p:cNvPr id="19" name="Shape 17"/>
          <p:cNvSpPr/>
          <p:nvPr/>
        </p:nvSpPr>
        <p:spPr>
          <a:xfrm>
            <a:off x="3352800" y="3755136"/>
            <a:ext cx="73152" cy="755904"/>
          </a:xfrm>
          <a:prstGeom prst="rect">
            <a:avLst/>
          </a:prstGeom>
          <a:solidFill>
            <a:srgbClr val="0D9488"/>
          </a:solidFill>
          <a:ln w="12700">
            <a:solidFill>
              <a:srgbClr val="0D9488"/>
            </a:solidFill>
            <a:prstDash val="solid"/>
          </a:ln>
        </p:spPr>
        <p:txBody>
          <a:bodyPr/>
          <a:lstStyle/>
          <a:p>
            <a:endParaRPr lang="en-US" sz="2400"/>
          </a:p>
        </p:txBody>
      </p:sp>
      <p:sp>
        <p:nvSpPr>
          <p:cNvPr id="20" name="Text 18"/>
          <p:cNvSpPr/>
          <p:nvPr/>
        </p:nvSpPr>
        <p:spPr>
          <a:xfrm>
            <a:off x="3572256" y="3755136"/>
            <a:ext cx="3840480" cy="755904"/>
          </a:xfrm>
          <a:prstGeom prst="rect">
            <a:avLst/>
          </a:prstGeom>
          <a:noFill/>
          <a:ln/>
        </p:spPr>
        <p:txBody>
          <a:bodyPr wrap="square" lIns="0" tIns="0" rIns="0" bIns="0" rtlCol="0" anchor="ctr"/>
          <a:lstStyle/>
          <a:p>
            <a:r>
              <a:rPr lang="en-US" sz="1733" b="1" dirty="0">
                <a:solidFill>
                  <a:schemeClr val="tx2"/>
                </a:solidFill>
                <a:latin typeface="Calibri" pitchFamily="34" charset="0"/>
                <a:ea typeface="Calibri" pitchFamily="34" charset="-122"/>
                <a:cs typeface="Calibri" pitchFamily="34" charset="-120"/>
              </a:rPr>
              <a:t>Higher (15–25%)</a:t>
            </a:r>
            <a:endParaRPr lang="en-US" sz="1733" dirty="0">
              <a:solidFill>
                <a:schemeClr val="tx2"/>
              </a:solidFill>
            </a:endParaRPr>
          </a:p>
        </p:txBody>
      </p:sp>
      <p:sp>
        <p:nvSpPr>
          <p:cNvPr id="21" name="Shape 19"/>
          <p:cNvSpPr/>
          <p:nvPr/>
        </p:nvSpPr>
        <p:spPr>
          <a:xfrm>
            <a:off x="7741920" y="3755136"/>
            <a:ext cx="3840480" cy="755904"/>
          </a:xfrm>
          <a:prstGeom prst="rect">
            <a:avLst/>
          </a:prstGeom>
          <a:solidFill>
            <a:srgbClr val="E2E8F0"/>
          </a:solidFill>
          <a:ln w="12700">
            <a:solidFill>
              <a:srgbClr val="E2E8F0"/>
            </a:solidFill>
            <a:prstDash val="solid"/>
          </a:ln>
        </p:spPr>
        <p:txBody>
          <a:bodyPr/>
          <a:lstStyle/>
          <a:p>
            <a:endParaRPr lang="en-US" sz="2400"/>
          </a:p>
        </p:txBody>
      </p:sp>
      <p:sp>
        <p:nvSpPr>
          <p:cNvPr id="22" name="Shape 20"/>
          <p:cNvSpPr/>
          <p:nvPr/>
        </p:nvSpPr>
        <p:spPr>
          <a:xfrm>
            <a:off x="7741920" y="3755136"/>
            <a:ext cx="73152" cy="755904"/>
          </a:xfrm>
          <a:prstGeom prst="rect">
            <a:avLst/>
          </a:prstGeom>
          <a:solidFill>
            <a:srgbClr val="475569"/>
          </a:solidFill>
          <a:ln w="12700">
            <a:solidFill>
              <a:srgbClr val="475569"/>
            </a:solidFill>
            <a:prstDash val="solid"/>
          </a:ln>
        </p:spPr>
        <p:txBody>
          <a:bodyPr/>
          <a:lstStyle/>
          <a:p>
            <a:endParaRPr lang="en-US" sz="2400"/>
          </a:p>
        </p:txBody>
      </p:sp>
      <p:sp>
        <p:nvSpPr>
          <p:cNvPr id="23" name="Text 21"/>
          <p:cNvSpPr/>
          <p:nvPr/>
        </p:nvSpPr>
        <p:spPr>
          <a:xfrm>
            <a:off x="7961376" y="3755136"/>
            <a:ext cx="3474720" cy="755904"/>
          </a:xfrm>
          <a:prstGeom prst="rect">
            <a:avLst/>
          </a:prstGeom>
          <a:noFill/>
          <a:ln/>
        </p:spPr>
        <p:txBody>
          <a:bodyPr wrap="square" lIns="0" tIns="0" rIns="0" bIns="0" rtlCol="0" anchor="ctr"/>
          <a:lstStyle/>
          <a:p>
            <a:r>
              <a:rPr lang="en-US" sz="1733" b="1" dirty="0">
                <a:solidFill>
                  <a:schemeClr val="tx2"/>
                </a:solidFill>
                <a:latin typeface="Calibri" pitchFamily="34" charset="0"/>
                <a:ea typeface="Calibri" pitchFamily="34" charset="-122"/>
                <a:cs typeface="Calibri" pitchFamily="34" charset="-120"/>
              </a:rPr>
              <a:t>Lower (10–20%)</a:t>
            </a:r>
            <a:endParaRPr lang="en-US" sz="1733" dirty="0">
              <a:solidFill>
                <a:schemeClr val="tx2"/>
              </a:solidFill>
            </a:endParaRPr>
          </a:p>
        </p:txBody>
      </p:sp>
      <p:sp>
        <p:nvSpPr>
          <p:cNvPr id="24" name="Text 22"/>
          <p:cNvSpPr/>
          <p:nvPr/>
        </p:nvSpPr>
        <p:spPr>
          <a:xfrm>
            <a:off x="609600" y="4608576"/>
            <a:ext cx="2560320" cy="755904"/>
          </a:xfrm>
          <a:prstGeom prst="rect">
            <a:avLst/>
          </a:prstGeom>
          <a:noFill/>
          <a:ln/>
        </p:spPr>
        <p:txBody>
          <a:bodyPr wrap="square" lIns="0" tIns="0" rIns="0" bIns="0" rtlCol="0" anchor="ctr"/>
          <a:lstStyle/>
          <a:p>
            <a:r>
              <a:rPr lang="en-US" sz="1600" b="1" dirty="0">
                <a:solidFill>
                  <a:schemeClr val="tx2"/>
                </a:solidFill>
                <a:latin typeface="Calibri" pitchFamily="34" charset="0"/>
                <a:ea typeface="Calibri" pitchFamily="34" charset="-122"/>
                <a:cs typeface="Calibri" pitchFamily="34" charset="-120"/>
              </a:rPr>
              <a:t>Primary Driver</a:t>
            </a:r>
            <a:endParaRPr lang="en-US" sz="1600" dirty="0">
              <a:solidFill>
                <a:schemeClr val="tx2"/>
              </a:solidFill>
            </a:endParaRPr>
          </a:p>
        </p:txBody>
      </p:sp>
      <p:sp>
        <p:nvSpPr>
          <p:cNvPr id="25" name="Shape 23"/>
          <p:cNvSpPr/>
          <p:nvPr/>
        </p:nvSpPr>
        <p:spPr>
          <a:xfrm>
            <a:off x="3352800" y="4608576"/>
            <a:ext cx="4206240" cy="755904"/>
          </a:xfrm>
          <a:prstGeom prst="rect">
            <a:avLst/>
          </a:prstGeom>
          <a:solidFill>
            <a:srgbClr val="CCFBF1"/>
          </a:solidFill>
          <a:ln w="12700">
            <a:solidFill>
              <a:srgbClr val="CCFBF1"/>
            </a:solidFill>
            <a:prstDash val="solid"/>
          </a:ln>
        </p:spPr>
        <p:txBody>
          <a:bodyPr/>
          <a:lstStyle/>
          <a:p>
            <a:endParaRPr lang="en-US" sz="2400"/>
          </a:p>
        </p:txBody>
      </p:sp>
      <p:sp>
        <p:nvSpPr>
          <p:cNvPr id="26" name="Shape 24"/>
          <p:cNvSpPr/>
          <p:nvPr/>
        </p:nvSpPr>
        <p:spPr>
          <a:xfrm>
            <a:off x="3352800" y="4608576"/>
            <a:ext cx="73152" cy="755904"/>
          </a:xfrm>
          <a:prstGeom prst="rect">
            <a:avLst/>
          </a:prstGeom>
          <a:solidFill>
            <a:srgbClr val="0D9488"/>
          </a:solidFill>
          <a:ln w="12700">
            <a:solidFill>
              <a:srgbClr val="0D9488"/>
            </a:solidFill>
            <a:prstDash val="solid"/>
          </a:ln>
        </p:spPr>
        <p:txBody>
          <a:bodyPr/>
          <a:lstStyle/>
          <a:p>
            <a:endParaRPr lang="en-US" sz="2400"/>
          </a:p>
        </p:txBody>
      </p:sp>
      <p:sp>
        <p:nvSpPr>
          <p:cNvPr id="27" name="Text 25"/>
          <p:cNvSpPr/>
          <p:nvPr/>
        </p:nvSpPr>
        <p:spPr>
          <a:xfrm>
            <a:off x="3572256" y="4608576"/>
            <a:ext cx="3840480" cy="755904"/>
          </a:xfrm>
          <a:prstGeom prst="rect">
            <a:avLst/>
          </a:prstGeom>
          <a:noFill/>
          <a:ln/>
        </p:spPr>
        <p:txBody>
          <a:bodyPr wrap="square" lIns="0" tIns="0" rIns="0" bIns="0" rtlCol="0" anchor="ctr"/>
          <a:lstStyle/>
          <a:p>
            <a:r>
              <a:rPr lang="en-US" sz="1733" b="1" dirty="0">
                <a:solidFill>
                  <a:schemeClr val="tx2"/>
                </a:solidFill>
                <a:latin typeface="Calibri" pitchFamily="34" charset="0"/>
                <a:ea typeface="Calibri" pitchFamily="34" charset="-122"/>
                <a:cs typeface="Calibri" pitchFamily="34" charset="-120"/>
              </a:rPr>
              <a:t>Rapid reduction in food intake</a:t>
            </a:r>
            <a:endParaRPr lang="en-US" sz="1733" dirty="0">
              <a:solidFill>
                <a:schemeClr val="tx2"/>
              </a:solidFill>
            </a:endParaRPr>
          </a:p>
        </p:txBody>
      </p:sp>
      <p:sp>
        <p:nvSpPr>
          <p:cNvPr id="28" name="Shape 26"/>
          <p:cNvSpPr/>
          <p:nvPr/>
        </p:nvSpPr>
        <p:spPr>
          <a:xfrm>
            <a:off x="7741920" y="4608576"/>
            <a:ext cx="3840480" cy="755904"/>
          </a:xfrm>
          <a:prstGeom prst="rect">
            <a:avLst/>
          </a:prstGeom>
          <a:solidFill>
            <a:srgbClr val="E2E8F0"/>
          </a:solidFill>
          <a:ln w="12700">
            <a:solidFill>
              <a:srgbClr val="E2E8F0"/>
            </a:solidFill>
            <a:prstDash val="solid"/>
          </a:ln>
        </p:spPr>
        <p:txBody>
          <a:bodyPr/>
          <a:lstStyle/>
          <a:p>
            <a:endParaRPr lang="en-US" sz="2400">
              <a:solidFill>
                <a:schemeClr val="tx2"/>
              </a:solidFill>
            </a:endParaRPr>
          </a:p>
        </p:txBody>
      </p:sp>
      <p:sp>
        <p:nvSpPr>
          <p:cNvPr id="29" name="Shape 27"/>
          <p:cNvSpPr/>
          <p:nvPr/>
        </p:nvSpPr>
        <p:spPr>
          <a:xfrm>
            <a:off x="7741920" y="4608576"/>
            <a:ext cx="73152" cy="755904"/>
          </a:xfrm>
          <a:prstGeom prst="rect">
            <a:avLst/>
          </a:prstGeom>
          <a:solidFill>
            <a:srgbClr val="475569"/>
          </a:solidFill>
          <a:ln w="12700">
            <a:solidFill>
              <a:srgbClr val="475569"/>
            </a:solidFill>
            <a:prstDash val="solid"/>
          </a:ln>
        </p:spPr>
        <p:txBody>
          <a:bodyPr/>
          <a:lstStyle/>
          <a:p>
            <a:endParaRPr lang="en-US" sz="2400"/>
          </a:p>
        </p:txBody>
      </p:sp>
      <p:sp>
        <p:nvSpPr>
          <p:cNvPr id="30" name="Text 28"/>
          <p:cNvSpPr/>
          <p:nvPr/>
        </p:nvSpPr>
        <p:spPr>
          <a:xfrm>
            <a:off x="7961376" y="4608576"/>
            <a:ext cx="3474720" cy="755904"/>
          </a:xfrm>
          <a:prstGeom prst="rect">
            <a:avLst/>
          </a:prstGeom>
          <a:noFill/>
          <a:ln/>
        </p:spPr>
        <p:txBody>
          <a:bodyPr wrap="square" lIns="0" tIns="0" rIns="0" bIns="0" rtlCol="0" anchor="ctr"/>
          <a:lstStyle/>
          <a:p>
            <a:r>
              <a:rPr lang="en-US" sz="1733" b="1" dirty="0">
                <a:solidFill>
                  <a:srgbClr val="1E293B"/>
                </a:solidFill>
                <a:latin typeface="Calibri" pitchFamily="34" charset="0"/>
                <a:ea typeface="Calibri" pitchFamily="34" charset="-122"/>
                <a:cs typeface="Calibri" pitchFamily="34" charset="-120"/>
              </a:rPr>
              <a:t>Calorie deficit</a:t>
            </a:r>
            <a:endParaRPr lang="en-US" sz="1733" dirty="0"/>
          </a:p>
        </p:txBody>
      </p:sp>
      <p:sp>
        <p:nvSpPr>
          <p:cNvPr id="31" name="Text 29"/>
          <p:cNvSpPr/>
          <p:nvPr/>
        </p:nvSpPr>
        <p:spPr>
          <a:xfrm>
            <a:off x="609600" y="5462016"/>
            <a:ext cx="2560320" cy="853440"/>
          </a:xfrm>
          <a:prstGeom prst="rect">
            <a:avLst/>
          </a:prstGeom>
          <a:noFill/>
          <a:ln/>
        </p:spPr>
        <p:txBody>
          <a:bodyPr wrap="square" lIns="0" tIns="0" rIns="0" bIns="0" rtlCol="0" anchor="ctr"/>
          <a:lstStyle/>
          <a:p>
            <a:r>
              <a:rPr lang="en-US" sz="1600" b="1" dirty="0">
                <a:solidFill>
                  <a:schemeClr val="tx2"/>
                </a:solidFill>
                <a:latin typeface="Calibri" pitchFamily="34" charset="0"/>
                <a:ea typeface="Calibri" pitchFamily="34" charset="-122"/>
                <a:cs typeface="Calibri" pitchFamily="34" charset="-120"/>
              </a:rPr>
              <a:t>Preventative Action</a:t>
            </a:r>
            <a:endParaRPr lang="en-US" sz="1600" dirty="0">
              <a:solidFill>
                <a:schemeClr val="tx2"/>
              </a:solidFill>
            </a:endParaRPr>
          </a:p>
        </p:txBody>
      </p:sp>
      <p:sp>
        <p:nvSpPr>
          <p:cNvPr id="32" name="Shape 30"/>
          <p:cNvSpPr/>
          <p:nvPr/>
        </p:nvSpPr>
        <p:spPr>
          <a:xfrm>
            <a:off x="3352800" y="5462016"/>
            <a:ext cx="8229600" cy="853440"/>
          </a:xfrm>
          <a:prstGeom prst="rect">
            <a:avLst/>
          </a:prstGeom>
          <a:solidFill>
            <a:srgbClr val="FEF3C7"/>
          </a:solidFill>
          <a:ln w="12700">
            <a:solidFill>
              <a:srgbClr val="FEF3C7"/>
            </a:solidFill>
            <a:prstDash val="solid"/>
          </a:ln>
        </p:spPr>
        <p:txBody>
          <a:bodyPr/>
          <a:lstStyle/>
          <a:p>
            <a:endParaRPr lang="en-US" sz="2400"/>
          </a:p>
        </p:txBody>
      </p:sp>
      <p:sp>
        <p:nvSpPr>
          <p:cNvPr id="33" name="Shape 31"/>
          <p:cNvSpPr/>
          <p:nvPr/>
        </p:nvSpPr>
        <p:spPr>
          <a:xfrm>
            <a:off x="3352800" y="5462016"/>
            <a:ext cx="73152" cy="853440"/>
          </a:xfrm>
          <a:prstGeom prst="rect">
            <a:avLst/>
          </a:prstGeom>
          <a:solidFill>
            <a:srgbClr val="D97706"/>
          </a:solidFill>
          <a:ln w="12700">
            <a:solidFill>
              <a:srgbClr val="D97706"/>
            </a:solidFill>
            <a:prstDash val="solid"/>
          </a:ln>
        </p:spPr>
        <p:txBody>
          <a:bodyPr/>
          <a:lstStyle/>
          <a:p>
            <a:endParaRPr lang="en-US" sz="2400"/>
          </a:p>
        </p:txBody>
      </p:sp>
      <p:sp>
        <p:nvSpPr>
          <p:cNvPr id="34" name="Text 32"/>
          <p:cNvSpPr/>
          <p:nvPr/>
        </p:nvSpPr>
        <p:spPr>
          <a:xfrm>
            <a:off x="3596640" y="5462016"/>
            <a:ext cx="7863840" cy="853440"/>
          </a:xfrm>
          <a:prstGeom prst="rect">
            <a:avLst/>
          </a:prstGeom>
          <a:noFill/>
          <a:ln/>
        </p:spPr>
        <p:txBody>
          <a:bodyPr wrap="square" lIns="0" tIns="0" rIns="0" bIns="0" rtlCol="0" anchor="ctr"/>
          <a:lstStyle/>
          <a:p>
            <a:r>
              <a:rPr lang="en-US" sz="1333" b="1" kern="0" spc="267" dirty="0">
                <a:solidFill>
                  <a:srgbClr val="D97706"/>
                </a:solidFill>
                <a:latin typeface="Calibri" pitchFamily="34" charset="0"/>
                <a:ea typeface="Calibri" pitchFamily="34" charset="-122"/>
                <a:cs typeface="Calibri" pitchFamily="34" charset="-120"/>
              </a:rPr>
              <a:t>SAME FOR BOTH  </a:t>
            </a:r>
            <a:r>
              <a:rPr lang="en-US" sz="1867" b="1" dirty="0">
                <a:solidFill>
                  <a:srgbClr val="78350F"/>
                </a:solidFill>
                <a:latin typeface="Calibri" pitchFamily="34" charset="0"/>
                <a:ea typeface="Calibri" pitchFamily="34" charset="-122"/>
                <a:cs typeface="Calibri" pitchFamily="34" charset="-120"/>
              </a:rPr>
              <a:t>Resistance training + high protein intake</a:t>
            </a:r>
            <a:endParaRPr lang="en-US" sz="1333" dirty="0"/>
          </a:p>
        </p:txBody>
      </p:sp>
      <p:sp>
        <p:nvSpPr>
          <p:cNvPr id="35" name="Text 33"/>
          <p:cNvSpPr/>
          <p:nvPr/>
        </p:nvSpPr>
        <p:spPr>
          <a:xfrm>
            <a:off x="609600" y="6400800"/>
            <a:ext cx="10972800" cy="304800"/>
          </a:xfrm>
          <a:prstGeom prst="rect">
            <a:avLst/>
          </a:prstGeom>
          <a:noFill/>
          <a:ln/>
        </p:spPr>
        <p:txBody>
          <a:bodyPr wrap="square" lIns="0" tIns="0" rIns="0" bIns="0" rtlCol="0" anchor="ctr"/>
          <a:lstStyle/>
          <a:p>
            <a:r>
              <a:rPr lang="en-US" sz="1200" i="1" dirty="0">
                <a:solidFill>
                  <a:srgbClr val="64748B"/>
                </a:solidFill>
                <a:latin typeface="Calibri" pitchFamily="34" charset="0"/>
                <a:ea typeface="Calibri" pitchFamily="34" charset="-122"/>
                <a:cs typeface="Calibri" pitchFamily="34" charset="-120"/>
              </a:rPr>
              <a:t>Source: Advances in Motion / Wiley (+6)</a:t>
            </a:r>
            <a:endParaRPr lang="en-US" sz="1200"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AD823-EB91-09B9-374A-B99E88F73983}"/>
              </a:ext>
            </a:extLst>
          </p:cNvPr>
          <p:cNvSpPr>
            <a:spLocks noGrp="1"/>
          </p:cNvSpPr>
          <p:nvPr>
            <p:ph type="title"/>
          </p:nvPr>
        </p:nvSpPr>
        <p:spPr/>
        <p:txBody>
          <a:bodyPr/>
          <a:lstStyle/>
          <a:p>
            <a:r>
              <a:rPr lang="en-US" dirty="0"/>
              <a:t>Comparative Summary Table </a:t>
            </a:r>
            <a:br>
              <a:rPr lang="en-US" dirty="0"/>
            </a:br>
            <a:r>
              <a:rPr lang="en-US" sz="2000" dirty="0"/>
              <a:t>(GLP-1 VS Caloric Restriction)</a:t>
            </a:r>
            <a:endParaRPr lang="en-ZA" sz="2000" dirty="0"/>
          </a:p>
        </p:txBody>
      </p:sp>
      <p:sp>
        <p:nvSpPr>
          <p:cNvPr id="6" name="Text Placeholder 5">
            <a:extLst>
              <a:ext uri="{FF2B5EF4-FFF2-40B4-BE49-F238E27FC236}">
                <a16:creationId xmlns:a16="http://schemas.microsoft.com/office/drawing/2014/main" id="{98E87DBC-5323-7FFC-DEBA-8C08D72D59AB}"/>
              </a:ext>
            </a:extLst>
          </p:cNvPr>
          <p:cNvSpPr>
            <a:spLocks noGrp="1"/>
          </p:cNvSpPr>
          <p:nvPr>
            <p:ph type="body" sz="quarter" idx="13"/>
          </p:nvPr>
        </p:nvSpPr>
        <p:spPr>
          <a:xfrm>
            <a:off x="514735" y="6534000"/>
            <a:ext cx="8652000" cy="324000"/>
          </a:xfrm>
        </p:spPr>
        <p:txBody>
          <a:bodyPr/>
          <a:lstStyle/>
          <a:p>
            <a:r>
              <a:rPr lang="en-US" dirty="0">
                <a:solidFill>
                  <a:srgbClr val="64748B"/>
                </a:solidFill>
                <a:latin typeface="Calibri" pitchFamily="34" charset="0"/>
                <a:ea typeface="Calibri" pitchFamily="34" charset="-122"/>
                <a:cs typeface="Calibri" pitchFamily="34" charset="-120"/>
              </a:rPr>
              <a:t>Source: Advances in Motion / Wiley (+6)</a:t>
            </a:r>
            <a:endParaRPr lang="en-US" dirty="0"/>
          </a:p>
          <a:p>
            <a:endParaRPr lang="en-ZA" dirty="0"/>
          </a:p>
        </p:txBody>
      </p:sp>
      <p:graphicFrame>
        <p:nvGraphicFramePr>
          <p:cNvPr id="7" name="Content Placeholder 5">
            <a:extLst>
              <a:ext uri="{FF2B5EF4-FFF2-40B4-BE49-F238E27FC236}">
                <a16:creationId xmlns:a16="http://schemas.microsoft.com/office/drawing/2014/main" id="{6A09F490-BB47-EDB2-AFF7-26706243304D}"/>
              </a:ext>
            </a:extLst>
          </p:cNvPr>
          <p:cNvGraphicFramePr>
            <a:graphicFrameLocks/>
          </p:cNvGraphicFramePr>
          <p:nvPr>
            <p:extLst>
              <p:ext uri="{D42A27DB-BD31-4B8C-83A1-F6EECF244321}">
                <p14:modId xmlns:p14="http://schemas.microsoft.com/office/powerpoint/2010/main" val="1251895158"/>
              </p:ext>
            </p:extLst>
          </p:nvPr>
        </p:nvGraphicFramePr>
        <p:xfrm>
          <a:off x="291986" y="1861939"/>
          <a:ext cx="11568372" cy="4389120"/>
        </p:xfrm>
        <a:graphic>
          <a:graphicData uri="http://schemas.openxmlformats.org/drawingml/2006/table">
            <a:tbl>
              <a:tblPr firstRow="1" bandRow="1">
                <a:tableStyleId>{5C22544A-7EE6-4342-B048-85BDC9FD1C3A}</a:tableStyleId>
              </a:tblPr>
              <a:tblGrid>
                <a:gridCol w="2707670">
                  <a:extLst>
                    <a:ext uri="{9D8B030D-6E8A-4147-A177-3AD203B41FA5}">
                      <a16:colId xmlns:a16="http://schemas.microsoft.com/office/drawing/2014/main" val="20000"/>
                    </a:ext>
                  </a:extLst>
                </a:gridCol>
                <a:gridCol w="5004578">
                  <a:extLst>
                    <a:ext uri="{9D8B030D-6E8A-4147-A177-3AD203B41FA5}">
                      <a16:colId xmlns:a16="http://schemas.microsoft.com/office/drawing/2014/main" val="20001"/>
                    </a:ext>
                  </a:extLst>
                </a:gridCol>
                <a:gridCol w="3856124">
                  <a:extLst>
                    <a:ext uri="{9D8B030D-6E8A-4147-A177-3AD203B41FA5}">
                      <a16:colId xmlns:a16="http://schemas.microsoft.com/office/drawing/2014/main" val="20002"/>
                    </a:ext>
                  </a:extLst>
                </a:gridCol>
              </a:tblGrid>
              <a:tr h="0">
                <a:tc>
                  <a:txBody>
                    <a:bodyPr/>
                    <a:lstStyle/>
                    <a:p>
                      <a:pPr marL="0" lvl="0" indent="0">
                        <a:buNone/>
                      </a:pPr>
                      <a:r>
                        <a:rPr sz="1800" dirty="0"/>
                        <a:t>Parameter</a:t>
                      </a:r>
                    </a:p>
                  </a:txBody>
                  <a:tcPr/>
                </a:tc>
                <a:tc>
                  <a:txBody>
                    <a:bodyPr/>
                    <a:lstStyle/>
                    <a:p>
                      <a:pPr marL="0" lvl="0" indent="0">
                        <a:buNone/>
                      </a:pPr>
                      <a:r>
                        <a:rPr sz="1800" dirty="0"/>
                        <a:t>GLP-1 Receptor Agonists</a:t>
                      </a:r>
                    </a:p>
                  </a:txBody>
                  <a:tcPr/>
                </a:tc>
                <a:tc>
                  <a:txBody>
                    <a:bodyPr/>
                    <a:lstStyle/>
                    <a:p>
                      <a:pPr marL="0" lvl="0" indent="0">
                        <a:buNone/>
                      </a:pPr>
                      <a:r>
                        <a:rPr sz="1800" dirty="0"/>
                        <a:t>Caloric Restriction (Diet)</a:t>
                      </a:r>
                    </a:p>
                  </a:txBody>
                  <a:tcPr/>
                </a:tc>
                <a:extLst>
                  <a:ext uri="{0D108BD9-81ED-4DB2-BD59-A6C34878D82A}">
                    <a16:rowId xmlns:a16="http://schemas.microsoft.com/office/drawing/2014/main" val="10000"/>
                  </a:ext>
                </a:extLst>
              </a:tr>
              <a:tr h="0">
                <a:tc>
                  <a:txBody>
                    <a:bodyPr/>
                    <a:lstStyle/>
                    <a:p>
                      <a:pPr marL="0" lvl="0" indent="0">
                        <a:buNone/>
                      </a:pPr>
                      <a:r>
                        <a:rPr sz="1400" dirty="0"/>
                        <a:t>Total weight loss</a:t>
                      </a:r>
                    </a:p>
                  </a:txBody>
                  <a:tcPr/>
                </a:tc>
                <a:tc>
                  <a:txBody>
                    <a:bodyPr/>
                    <a:lstStyle/>
                    <a:p>
                      <a:pPr marL="0" lvl="0" indent="0">
                        <a:buNone/>
                      </a:pPr>
                      <a:r>
                        <a:rPr sz="1400" dirty="0"/>
                        <a:t>15–20% over 1–1.5 years (semaglutide/tirzepatide)</a:t>
                      </a:r>
                    </a:p>
                  </a:txBody>
                  <a:tcPr/>
                </a:tc>
                <a:tc>
                  <a:txBody>
                    <a:bodyPr/>
                    <a:lstStyle/>
                    <a:p>
                      <a:pPr marL="0" lvl="0" indent="0">
                        <a:buNone/>
                      </a:pPr>
                      <a:r>
                        <a:rPr sz="1400"/>
                        <a:t>10–20% over 6 months</a:t>
                      </a:r>
                    </a:p>
                  </a:txBody>
                  <a:tcPr/>
                </a:tc>
                <a:extLst>
                  <a:ext uri="{0D108BD9-81ED-4DB2-BD59-A6C34878D82A}">
                    <a16:rowId xmlns:a16="http://schemas.microsoft.com/office/drawing/2014/main" val="10001"/>
                  </a:ext>
                </a:extLst>
              </a:tr>
              <a:tr h="0">
                <a:tc>
                  <a:txBody>
                    <a:bodyPr/>
                    <a:lstStyle/>
                    <a:p>
                      <a:pPr marL="0" lvl="0" indent="0">
                        <a:buNone/>
                      </a:pPr>
                      <a:r>
                        <a:rPr sz="1400" dirty="0"/>
                        <a:t>Fat mass loss</a:t>
                      </a:r>
                    </a:p>
                  </a:txBody>
                  <a:tcPr/>
                </a:tc>
                <a:tc>
                  <a:txBody>
                    <a:bodyPr/>
                    <a:lstStyle/>
                    <a:p>
                      <a:pPr marL="0" lvl="0" indent="0">
                        <a:buNone/>
                      </a:pPr>
                      <a:r>
                        <a:rPr sz="1400"/>
                        <a:t>Predominant; ~75–80% of weight lost is fat mass</a:t>
                      </a:r>
                    </a:p>
                  </a:txBody>
                  <a:tcPr/>
                </a:tc>
                <a:tc>
                  <a:txBody>
                    <a:bodyPr/>
                    <a:lstStyle/>
                    <a:p>
                      <a:pPr marL="0" lvl="0" indent="0">
                        <a:buNone/>
                      </a:pPr>
                      <a:r>
                        <a:rPr sz="1400"/>
                        <a:t>~60% of weight lost is fat mass</a:t>
                      </a:r>
                    </a:p>
                  </a:txBody>
                  <a:tcPr/>
                </a:tc>
                <a:extLst>
                  <a:ext uri="{0D108BD9-81ED-4DB2-BD59-A6C34878D82A}">
                    <a16:rowId xmlns:a16="http://schemas.microsoft.com/office/drawing/2014/main" val="10002"/>
                  </a:ext>
                </a:extLst>
              </a:tr>
              <a:tr h="0">
                <a:tc>
                  <a:txBody>
                    <a:bodyPr/>
                    <a:lstStyle/>
                    <a:p>
                      <a:pPr marL="0" lvl="0" indent="0">
                        <a:buNone/>
                      </a:pPr>
                      <a:r>
                        <a:rPr sz="1400" dirty="0"/>
                        <a:t>Lean mass (LBM) loss</a:t>
                      </a:r>
                    </a:p>
                  </a:txBody>
                  <a:tcPr/>
                </a:tc>
                <a:tc>
                  <a:txBody>
                    <a:bodyPr/>
                    <a:lstStyle/>
                    <a:p>
                      <a:pPr marL="0" lvl="0" indent="0">
                        <a:buNone/>
                      </a:pPr>
                      <a:r>
                        <a:rPr sz="1400"/>
                        <a:t>~20–40% of total weight loss; absolute decline modest</a:t>
                      </a:r>
                    </a:p>
                  </a:txBody>
                  <a:tcPr/>
                </a:tc>
                <a:tc>
                  <a:txBody>
                    <a:bodyPr/>
                    <a:lstStyle/>
                    <a:p>
                      <a:pPr marL="0" lvl="0" indent="0">
                        <a:buNone/>
                      </a:pPr>
                      <a:r>
                        <a:rPr sz="1400"/>
                        <a:t>~30% of total weight loss; comparable overall</a:t>
                      </a:r>
                    </a:p>
                  </a:txBody>
                  <a:tcPr/>
                </a:tc>
                <a:extLst>
                  <a:ext uri="{0D108BD9-81ED-4DB2-BD59-A6C34878D82A}">
                    <a16:rowId xmlns:a16="http://schemas.microsoft.com/office/drawing/2014/main" val="10003"/>
                  </a:ext>
                </a:extLst>
              </a:tr>
              <a:tr h="0">
                <a:tc>
                  <a:txBody>
                    <a:bodyPr/>
                    <a:lstStyle/>
                    <a:p>
                      <a:pPr marL="0" lvl="0" indent="0">
                        <a:buNone/>
                      </a:pPr>
                      <a:r>
                        <a:rPr sz="1400"/>
                        <a:t>Relative LBM proportion</a:t>
                      </a:r>
                    </a:p>
                  </a:txBody>
                  <a:tcPr/>
                </a:tc>
                <a:tc>
                  <a:txBody>
                    <a:bodyPr/>
                    <a:lstStyle/>
                    <a:p>
                      <a:pPr marL="0" lvl="0" indent="0">
                        <a:buNone/>
                      </a:pPr>
                      <a:r>
                        <a:rPr sz="1400"/>
                        <a:t>Increases (+~3%) relative to total body weight</a:t>
                      </a:r>
                    </a:p>
                  </a:txBody>
                  <a:tcPr/>
                </a:tc>
                <a:tc>
                  <a:txBody>
                    <a:bodyPr/>
                    <a:lstStyle/>
                    <a:p>
                      <a:pPr marL="0" lvl="0" indent="0">
                        <a:buNone/>
                      </a:pPr>
                      <a:r>
                        <a:rPr sz="1400"/>
                        <a:t>Generally preserved or slightly reduced</a:t>
                      </a:r>
                    </a:p>
                  </a:txBody>
                  <a:tcPr/>
                </a:tc>
                <a:extLst>
                  <a:ext uri="{0D108BD9-81ED-4DB2-BD59-A6C34878D82A}">
                    <a16:rowId xmlns:a16="http://schemas.microsoft.com/office/drawing/2014/main" val="10004"/>
                  </a:ext>
                </a:extLst>
              </a:tr>
              <a:tr h="0">
                <a:tc>
                  <a:txBody>
                    <a:bodyPr/>
                    <a:lstStyle/>
                    <a:p>
                      <a:pPr marL="0" lvl="0" indent="0">
                        <a:buNone/>
                      </a:pPr>
                      <a:r>
                        <a:rPr sz="1400"/>
                        <a:t>Muscle function / strength</a:t>
                      </a:r>
                    </a:p>
                  </a:txBody>
                  <a:tcPr/>
                </a:tc>
                <a:tc>
                  <a:txBody>
                    <a:bodyPr/>
                    <a:lstStyle/>
                    <a:p>
                      <a:pPr marL="0" lvl="0" indent="0">
                        <a:buNone/>
                      </a:pPr>
                      <a:r>
                        <a:rPr sz="1400" dirty="0"/>
                        <a:t>Generally preserved; some studies show improvement in handgrip strength</a:t>
                      </a:r>
                    </a:p>
                  </a:txBody>
                  <a:tcPr/>
                </a:tc>
                <a:tc>
                  <a:txBody>
                    <a:bodyPr/>
                    <a:lstStyle/>
                    <a:p>
                      <a:pPr marL="0" lvl="0" indent="0">
                        <a:buNone/>
                      </a:pPr>
                      <a:r>
                        <a:rPr sz="1400"/>
                        <a:t>Maintained or improved with adequate protein</a:t>
                      </a:r>
                    </a:p>
                  </a:txBody>
                  <a:tcPr/>
                </a:tc>
                <a:extLst>
                  <a:ext uri="{0D108BD9-81ED-4DB2-BD59-A6C34878D82A}">
                    <a16:rowId xmlns:a16="http://schemas.microsoft.com/office/drawing/2014/main" val="10005"/>
                  </a:ext>
                </a:extLst>
              </a:tr>
              <a:tr h="0">
                <a:tc>
                  <a:txBody>
                    <a:bodyPr/>
                    <a:lstStyle/>
                    <a:p>
                      <a:pPr marL="0" lvl="0" indent="0">
                        <a:buNone/>
                      </a:pPr>
                      <a:r>
                        <a:rPr sz="1400"/>
                        <a:t>Muscle quality</a:t>
                      </a:r>
                    </a:p>
                  </a:txBody>
                  <a:tcPr/>
                </a:tc>
                <a:tc>
                  <a:txBody>
                    <a:bodyPr/>
                    <a:lstStyle/>
                    <a:p>
                      <a:pPr marL="0" lvl="0" indent="0">
                        <a:buNone/>
                      </a:pPr>
                      <a:r>
                        <a:rPr sz="1400" dirty="0"/>
                        <a:t>Improved: reduced intramuscular fat, better mitochondrial efficiency, microvascular benefits</a:t>
                      </a:r>
                    </a:p>
                  </a:txBody>
                  <a:tcPr/>
                </a:tc>
                <a:tc>
                  <a:txBody>
                    <a:bodyPr/>
                    <a:lstStyle/>
                    <a:p>
                      <a:pPr marL="0" lvl="0" indent="0">
                        <a:buNone/>
                      </a:pPr>
                      <a:r>
                        <a:rPr sz="1400"/>
                        <a:t>Improved with weight loss; dependent on dietary composition</a:t>
                      </a:r>
                    </a:p>
                  </a:txBody>
                  <a:tcPr/>
                </a:tc>
                <a:extLst>
                  <a:ext uri="{0D108BD9-81ED-4DB2-BD59-A6C34878D82A}">
                    <a16:rowId xmlns:a16="http://schemas.microsoft.com/office/drawing/2014/main" val="10006"/>
                  </a:ext>
                </a:extLst>
              </a:tr>
              <a:tr h="0">
                <a:tc>
                  <a:txBody>
                    <a:bodyPr/>
                    <a:lstStyle/>
                    <a:p>
                      <a:pPr marL="0" lvl="0" indent="0">
                        <a:buNone/>
                      </a:pPr>
                      <a:r>
                        <a:rPr sz="1400"/>
                        <a:t>Sarcopenic obesity prevalence</a:t>
                      </a:r>
                    </a:p>
                  </a:txBody>
                  <a:tcPr/>
                </a:tc>
                <a:tc>
                  <a:txBody>
                    <a:bodyPr/>
                    <a:lstStyle/>
                    <a:p>
                      <a:pPr marL="0" lvl="0" indent="0">
                        <a:buNone/>
                      </a:pPr>
                      <a:r>
                        <a:rPr sz="1400" dirty="0"/>
                        <a:t>Reduced (49% → 33% at 12 months in SEMALEAN)</a:t>
                      </a:r>
                    </a:p>
                  </a:txBody>
                  <a:tcPr/>
                </a:tc>
                <a:tc>
                  <a:txBody>
                    <a:bodyPr/>
                    <a:lstStyle/>
                    <a:p>
                      <a:pPr marL="0" lvl="0" indent="0">
                        <a:buNone/>
                      </a:pPr>
                      <a:r>
                        <a:rPr sz="1400" dirty="0"/>
                        <a:t>Variable; risk increases with severe restriction in elderly</a:t>
                      </a:r>
                    </a:p>
                  </a:txBody>
                  <a:tcPr/>
                </a:tc>
                <a:extLst>
                  <a:ext uri="{0D108BD9-81ED-4DB2-BD59-A6C34878D82A}">
                    <a16:rowId xmlns:a16="http://schemas.microsoft.com/office/drawing/2014/main" val="10007"/>
                  </a:ext>
                </a:extLst>
              </a:tr>
              <a:tr h="0">
                <a:tc>
                  <a:txBody>
                    <a:bodyPr/>
                    <a:lstStyle/>
                    <a:p>
                      <a:pPr marL="0" lvl="0" indent="0">
                        <a:buNone/>
                      </a:pPr>
                      <a:r>
                        <a:rPr sz="1400"/>
                        <a:t>Resting energy expenditure</a:t>
                      </a:r>
                    </a:p>
                  </a:txBody>
                  <a:tcPr/>
                </a:tc>
                <a:tc>
                  <a:txBody>
                    <a:bodyPr/>
                    <a:lstStyle/>
                    <a:p>
                      <a:pPr marL="0" lvl="0" indent="0">
                        <a:buNone/>
                      </a:pPr>
                      <a:r>
                        <a:rPr sz="1400"/>
                        <a:t>Decreases initially; normalises to lean mass over 12 months</a:t>
                      </a:r>
                    </a:p>
                  </a:txBody>
                  <a:tcPr/>
                </a:tc>
                <a:tc>
                  <a:txBody>
                    <a:bodyPr/>
                    <a:lstStyle/>
                    <a:p>
                      <a:pPr marL="0" lvl="0" indent="0">
                        <a:buNone/>
                      </a:pPr>
                      <a:r>
                        <a:rPr sz="1400" dirty="0"/>
                        <a:t>Decreases; metabolic adaptation is a known challenge</a:t>
                      </a:r>
                    </a:p>
                  </a:txBody>
                  <a:tcPr/>
                </a:tc>
                <a:extLst>
                  <a:ext uri="{0D108BD9-81ED-4DB2-BD59-A6C34878D82A}">
                    <a16:rowId xmlns:a16="http://schemas.microsoft.com/office/drawing/2014/main" val="10008"/>
                  </a:ext>
                </a:extLst>
              </a:tr>
              <a:tr h="0">
                <a:tc>
                  <a:txBody>
                    <a:bodyPr/>
                    <a:lstStyle/>
                    <a:p>
                      <a:pPr marL="0" lvl="0" indent="0">
                        <a:buNone/>
                      </a:pPr>
                      <a:r>
                        <a:rPr sz="1400" dirty="0"/>
                        <a:t>Malnutrition risk</a:t>
                      </a:r>
                    </a:p>
                  </a:txBody>
                  <a:tcPr/>
                </a:tc>
                <a:tc>
                  <a:txBody>
                    <a:bodyPr/>
                    <a:lstStyle/>
                    <a:p>
                      <a:pPr marL="0" lvl="0" indent="0">
                        <a:buNone/>
                      </a:pPr>
                      <a:r>
                        <a:rPr sz="1400" dirty="0"/>
                        <a:t>~20% incidence at 1 year; nutritional counselling advised</a:t>
                      </a:r>
                    </a:p>
                  </a:txBody>
                  <a:tcPr/>
                </a:tc>
                <a:tc>
                  <a:txBody>
                    <a:bodyPr/>
                    <a:lstStyle/>
                    <a:p>
                      <a:pPr marL="0" lvl="0" indent="0">
                        <a:buNone/>
                      </a:pPr>
                      <a:r>
                        <a:rPr sz="1400" dirty="0"/>
                        <a:t>Variable; depends on dietary quality and restriction severity</a:t>
                      </a:r>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453049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a:bodyPr>
          <a:lstStyle/>
          <a:p>
            <a:endParaRPr lang="en-US" sz="1600" dirty="0"/>
          </a:p>
          <a:p>
            <a:endParaRPr lang="en-US" sz="1600" dirty="0"/>
          </a:p>
          <a:p>
            <a:endParaRPr lang="en-US" sz="1600" dirty="0"/>
          </a:p>
          <a:p>
            <a:r>
              <a:rPr lang="en-US" sz="1600" dirty="0"/>
              <a:t>37 year old male, businessman.</a:t>
            </a:r>
          </a:p>
          <a:p>
            <a:r>
              <a:rPr lang="en-US" sz="1600" dirty="0"/>
              <a:t>Presented for weight loss and improved quality of life</a:t>
            </a:r>
          </a:p>
          <a:p>
            <a:r>
              <a:rPr lang="en-US" sz="1600" dirty="0"/>
              <a:t>HXN:</a:t>
            </a:r>
            <a:endParaRPr lang="en-US" sz="1200" dirty="0"/>
          </a:p>
          <a:p>
            <a:r>
              <a:rPr lang="en-US" sz="1600" dirty="0"/>
              <a:t>Living with the disease of chronic obesity since childhood </a:t>
            </a:r>
          </a:p>
          <a:p>
            <a:endParaRPr lang="en-US" sz="1600" dirty="0"/>
          </a:p>
          <a:p>
            <a:r>
              <a:rPr lang="en-US" sz="1600" dirty="0"/>
              <a:t>1. School – Chubby </a:t>
            </a:r>
          </a:p>
          <a:p>
            <a:r>
              <a:rPr lang="en-US" sz="1600" dirty="0"/>
              <a:t> 2. Secondary School – Obese</a:t>
            </a:r>
          </a:p>
        </p:txBody>
      </p:sp>
      <p:sp>
        <p:nvSpPr>
          <p:cNvPr id="4" name="Title 3"/>
          <p:cNvSpPr>
            <a:spLocks noGrp="1"/>
          </p:cNvSpPr>
          <p:nvPr>
            <p:ph type="title"/>
          </p:nvPr>
        </p:nvSpPr>
        <p:spPr/>
        <p:txBody>
          <a:bodyPr/>
          <a:lstStyle/>
          <a:p>
            <a:pPr algn="ctr"/>
            <a:r>
              <a:rPr lang="en-US" dirty="0"/>
              <a:t>CASE STUDY</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600" dirty="0"/>
              <a:t>MHXN: Reflux many years </a:t>
            </a:r>
          </a:p>
          <a:p>
            <a:pPr lvl="3"/>
            <a:r>
              <a:rPr lang="en-US" sz="1400" dirty="0"/>
              <a:t>Hiatus hernia (2016) Esomeprazole 40mg daily </a:t>
            </a:r>
          </a:p>
          <a:p>
            <a:pPr lvl="3"/>
            <a:r>
              <a:rPr lang="en-US" sz="1400" dirty="0"/>
              <a:t>H/T – 5years. Cozaar (Losartan) 50mg daily</a:t>
            </a:r>
          </a:p>
          <a:p>
            <a:endParaRPr lang="en-US" sz="1600" dirty="0"/>
          </a:p>
          <a:p>
            <a:r>
              <a:rPr lang="en-US" sz="1600" dirty="0"/>
              <a:t>FHXN: </a:t>
            </a:r>
            <a:r>
              <a:rPr lang="en-US" sz="1600" b="1" dirty="0"/>
              <a:t>♂ </a:t>
            </a:r>
            <a:r>
              <a:rPr lang="en-US" sz="1600" dirty="0"/>
              <a:t>Overweight, stroke</a:t>
            </a:r>
          </a:p>
          <a:p>
            <a:pPr lvl="3">
              <a:buNone/>
            </a:pPr>
            <a:r>
              <a:rPr lang="en-US" sz="1400" dirty="0"/>
              <a:t>  </a:t>
            </a:r>
            <a:r>
              <a:rPr lang="en-US" sz="1400" b="1" dirty="0"/>
              <a:t>♀ </a:t>
            </a:r>
            <a:r>
              <a:rPr lang="en-US" sz="1400" dirty="0"/>
              <a:t>Obese died of stomach cancer +- 6years ago (70year old) </a:t>
            </a:r>
          </a:p>
          <a:p>
            <a:endParaRPr lang="en-US" sz="1600" dirty="0"/>
          </a:p>
          <a:p>
            <a:endParaRPr lang="en-US" sz="1600"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600" dirty="0"/>
              <a:t>Typical </a:t>
            </a:r>
            <a:r>
              <a:rPr lang="en-US" sz="1600" dirty="0" err="1"/>
              <a:t>hxn</a:t>
            </a:r>
            <a:r>
              <a:rPr lang="en-US" sz="1600" dirty="0"/>
              <a:t> of yoyo pattern of dieting. </a:t>
            </a:r>
          </a:p>
          <a:p>
            <a:pPr>
              <a:buNone/>
            </a:pPr>
            <a:endParaRPr lang="en-US" sz="1600" dirty="0"/>
          </a:p>
          <a:p>
            <a:r>
              <a:rPr lang="en-US" sz="1600" dirty="0"/>
              <a:t>Grade 11 (16yrs old) Atkins Diet, Planet fitness. Lost 15kg, struggled to maintain weight loss. </a:t>
            </a:r>
          </a:p>
          <a:p>
            <a:endParaRPr lang="en-US" sz="1600" dirty="0"/>
          </a:p>
          <a:p>
            <a:r>
              <a:rPr lang="en-US" sz="1600" dirty="0"/>
              <a:t>Early 20’s. Dietician, boxing. Lost 20kg , Had first child. Regained the lost weight and a bit more. </a:t>
            </a:r>
          </a:p>
          <a:p>
            <a:endParaRPr lang="en-US" sz="1600" dirty="0"/>
          </a:p>
          <a:p>
            <a:r>
              <a:rPr lang="en-US" sz="1600" dirty="0"/>
              <a:t>COVID (Overweight). Diet (Restrictive), exercise. Lost 22kg </a:t>
            </a:r>
          </a:p>
          <a:p>
            <a:endParaRPr lang="en-US" sz="1600" dirty="0"/>
          </a:p>
          <a:p>
            <a:r>
              <a:rPr lang="en-US" sz="1600" dirty="0"/>
              <a:t>Slowly regained despite continuing to exercise, boxing and weights </a:t>
            </a:r>
          </a:p>
          <a:p>
            <a:endParaRPr lang="en-US" sz="1600" dirty="0"/>
          </a:p>
          <a:p>
            <a:r>
              <a:rPr lang="en-US" sz="1600" dirty="0"/>
              <a:t>Weight range 90kg – 100kg </a:t>
            </a:r>
          </a:p>
        </p:txBody>
      </p:sp>
      <p:sp>
        <p:nvSpPr>
          <p:cNvPr id="3" name="Title 2"/>
          <p:cNvSpPr>
            <a:spLocks noGrp="1"/>
          </p:cNvSpPr>
          <p:nvPr>
            <p:ph type="title"/>
          </p:nvPr>
        </p:nvSpPr>
        <p:spPr/>
        <p:txBody>
          <a:bodyPr>
            <a:normAutofit/>
          </a:bodyPr>
          <a:lstStyle/>
          <a:p>
            <a:pPr algn="ctr"/>
            <a:r>
              <a:rPr lang="en-US" sz="2800" dirty="0">
                <a:effectLst>
                  <a:outerShdw blurRad="38100" dist="38100" dir="2700000" algn="tl">
                    <a:srgbClr val="000000">
                      <a:alpha val="43137"/>
                    </a:srgbClr>
                  </a:outerShdw>
                </a:effectLst>
              </a:rPr>
              <a:t>WEIGHTLOSS HXN</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1600" dirty="0"/>
          </a:p>
          <a:p>
            <a:endParaRPr lang="en-US" sz="1600" dirty="0"/>
          </a:p>
          <a:p>
            <a:endParaRPr lang="en-US" sz="1600" dirty="0"/>
          </a:p>
          <a:p>
            <a:r>
              <a:rPr lang="en-US" sz="1600" dirty="0"/>
              <a:t>SMOKING : 15-20 Cigarettes a day +- 15years </a:t>
            </a:r>
          </a:p>
          <a:p>
            <a:pPr lvl="5"/>
            <a:r>
              <a:rPr lang="en-US" sz="1600" dirty="0"/>
              <a:t>Stopped 5 years ago </a:t>
            </a:r>
          </a:p>
          <a:p>
            <a:pPr lvl="5"/>
            <a:r>
              <a:rPr lang="en-US" sz="1600" dirty="0"/>
              <a:t>Currently </a:t>
            </a:r>
            <a:r>
              <a:rPr lang="en-US" sz="1600" dirty="0" err="1"/>
              <a:t>Vapes</a:t>
            </a:r>
            <a:r>
              <a:rPr lang="en-US" sz="1600" dirty="0"/>
              <a:t> 					</a:t>
            </a:r>
          </a:p>
          <a:p>
            <a:pPr lvl="5"/>
            <a:endParaRPr lang="en-US" sz="1600" dirty="0"/>
          </a:p>
          <a:p>
            <a:r>
              <a:rPr lang="en-US" sz="1600" dirty="0"/>
              <a:t>ALCOHOL: Fridays, Saturdays 4-5 tots of whiskey each day.</a:t>
            </a:r>
          </a:p>
          <a:p>
            <a:pPr lvl="5"/>
            <a:endParaRPr lang="en-US" sz="1600" dirty="0"/>
          </a:p>
        </p:txBody>
      </p:sp>
      <p:sp>
        <p:nvSpPr>
          <p:cNvPr id="3" name="Title 2"/>
          <p:cNvSpPr>
            <a:spLocks noGrp="1"/>
          </p:cNvSpPr>
          <p:nvPr>
            <p:ph type="title"/>
          </p:nvPr>
        </p:nvSpPr>
        <p:spPr>
          <a:xfrm>
            <a:off x="1952596" y="285728"/>
            <a:ext cx="8258204" cy="1131910"/>
          </a:xfrm>
        </p:spPr>
        <p:txBody>
          <a:bodyPr>
            <a:normAutofit/>
          </a:bodyPr>
          <a:lstStyle/>
          <a:p>
            <a:pPr algn="ctr"/>
            <a:r>
              <a:rPr lang="en-US" sz="3200" dirty="0"/>
              <a:t>RELEVANT DETAILS IN HISTORY</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24034" y="1643051"/>
            <a:ext cx="8229600" cy="4525963"/>
          </a:xfrm>
        </p:spPr>
        <p:txBody>
          <a:bodyPr>
            <a:normAutofit/>
          </a:bodyPr>
          <a:lstStyle/>
          <a:p>
            <a:r>
              <a:rPr lang="en-US" sz="1600" dirty="0"/>
              <a:t>WEEKDAYS: REGULAR – 3 balanced meals per day </a:t>
            </a:r>
          </a:p>
          <a:p>
            <a:pPr lvl="8"/>
            <a:r>
              <a:rPr lang="en-US" sz="500" dirty="0"/>
              <a:t>                           </a:t>
            </a:r>
            <a:r>
              <a:rPr lang="en-US" dirty="0"/>
              <a:t>Following dieticians plan</a:t>
            </a:r>
          </a:p>
          <a:p>
            <a:pPr lvl="8">
              <a:buNone/>
            </a:pPr>
            <a:endParaRPr lang="en-US" dirty="0"/>
          </a:p>
          <a:p>
            <a:pPr lvl="1">
              <a:buNone/>
            </a:pPr>
            <a:r>
              <a:rPr lang="en-US" dirty="0"/>
              <a:t>		       </a:t>
            </a:r>
            <a:r>
              <a:rPr lang="en-US" sz="1600" dirty="0"/>
              <a:t>PROBLEMS – Portion size </a:t>
            </a:r>
          </a:p>
          <a:p>
            <a:pPr lvl="1">
              <a:buNone/>
            </a:pPr>
            <a:r>
              <a:rPr lang="en-US" sz="1600" dirty="0"/>
              <a:t>				 Decreased protein: Carbohydrate Increased </a:t>
            </a:r>
          </a:p>
          <a:p>
            <a:pPr lvl="1">
              <a:buNone/>
            </a:pPr>
            <a:r>
              <a:rPr lang="en-US" sz="1600" dirty="0"/>
              <a:t>				 Late night eating </a:t>
            </a:r>
          </a:p>
          <a:p>
            <a:pPr lvl="1">
              <a:buNone/>
            </a:pPr>
            <a:endParaRPr lang="en-US" sz="1600" dirty="0"/>
          </a:p>
          <a:p>
            <a:pPr lvl="1">
              <a:buNone/>
            </a:pPr>
            <a:r>
              <a:rPr lang="en-US" sz="1600" dirty="0"/>
              <a:t>Exercise: 2-3x week. Mix boxing, weights and cardiac. (one hour sessions)</a:t>
            </a:r>
          </a:p>
          <a:p>
            <a:pPr lvl="1">
              <a:buNone/>
            </a:pPr>
            <a:endParaRPr lang="en-US" sz="1600" dirty="0"/>
          </a:p>
        </p:txBody>
      </p:sp>
      <p:sp>
        <p:nvSpPr>
          <p:cNvPr id="3" name="Title 2"/>
          <p:cNvSpPr>
            <a:spLocks noGrp="1"/>
          </p:cNvSpPr>
          <p:nvPr>
            <p:ph type="title"/>
          </p:nvPr>
        </p:nvSpPr>
        <p:spPr/>
        <p:txBody>
          <a:bodyPr/>
          <a:lstStyle/>
          <a:p>
            <a:pPr algn="ctr"/>
            <a:r>
              <a:rPr lang="en-US" dirty="0"/>
              <a:t>DIETARY</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09776" y="1166018"/>
            <a:ext cx="8229600" cy="4927278"/>
          </a:xfrm>
        </p:spPr>
        <p:txBody>
          <a:bodyPr>
            <a:normAutofit fontScale="92500" lnSpcReduction="10000"/>
          </a:bodyPr>
          <a:lstStyle/>
          <a:p>
            <a:r>
              <a:rPr lang="en-US" sz="1600" dirty="0"/>
              <a:t>Central Adiposity </a:t>
            </a:r>
          </a:p>
          <a:p>
            <a:endParaRPr lang="en-US" sz="1600" dirty="0"/>
          </a:p>
          <a:p>
            <a:r>
              <a:rPr lang="en-US" sz="1600" dirty="0"/>
              <a:t>Weight = 103.8</a:t>
            </a:r>
          </a:p>
          <a:p>
            <a:pPr>
              <a:buNone/>
            </a:pPr>
            <a:endParaRPr lang="en-US" sz="1600" dirty="0"/>
          </a:p>
          <a:p>
            <a:r>
              <a:rPr lang="en-US" sz="1600" dirty="0"/>
              <a:t>Height = 162</a:t>
            </a:r>
          </a:p>
          <a:p>
            <a:endParaRPr lang="en-US" sz="1600" dirty="0"/>
          </a:p>
          <a:p>
            <a:r>
              <a:rPr lang="en-US" sz="1600" dirty="0"/>
              <a:t>Waist cm = 112cm</a:t>
            </a:r>
          </a:p>
          <a:p>
            <a:endParaRPr lang="en-US" sz="1600" dirty="0"/>
          </a:p>
          <a:p>
            <a:r>
              <a:rPr lang="en-US" sz="1600" dirty="0"/>
              <a:t>Hip cm = 108cm</a:t>
            </a:r>
          </a:p>
          <a:p>
            <a:endParaRPr lang="en-US" sz="1600" dirty="0"/>
          </a:p>
          <a:p>
            <a:r>
              <a:rPr lang="en-US" sz="1600" dirty="0"/>
              <a:t>BP = 140/90</a:t>
            </a:r>
          </a:p>
          <a:p>
            <a:endParaRPr lang="en-US" sz="1600" dirty="0"/>
          </a:p>
          <a:p>
            <a:r>
              <a:rPr lang="en-US" sz="1600" dirty="0"/>
              <a:t>BMI = 39  </a:t>
            </a:r>
          </a:p>
          <a:p>
            <a:endParaRPr lang="en-US" sz="1600" dirty="0"/>
          </a:p>
          <a:p>
            <a:r>
              <a:rPr lang="en-US" sz="1600" dirty="0"/>
              <a:t>W: height = 0,69 ( Ideally less than 0,5) (0,69+ is highest risk of central adiposity)</a:t>
            </a:r>
          </a:p>
          <a:p>
            <a:endParaRPr lang="en-US" sz="1600" dirty="0"/>
          </a:p>
          <a:p>
            <a:r>
              <a:rPr lang="en-US" sz="1600" dirty="0"/>
              <a:t>W: hip = 1,03 (Less than 0,90 males, less 0,85 females) (</a:t>
            </a:r>
            <a:r>
              <a:rPr lang="en-US" sz="1600" b="1" dirty="0"/>
              <a:t>&gt;</a:t>
            </a:r>
            <a:r>
              <a:rPr lang="en-US" sz="1600" dirty="0"/>
              <a:t> than 1is highest risk of central adiposity)</a:t>
            </a:r>
          </a:p>
          <a:p>
            <a:endParaRPr lang="en-US" sz="1600" dirty="0"/>
          </a:p>
        </p:txBody>
      </p:sp>
      <p:sp>
        <p:nvSpPr>
          <p:cNvPr id="3" name="Title 2"/>
          <p:cNvSpPr>
            <a:spLocks noGrp="1"/>
          </p:cNvSpPr>
          <p:nvPr>
            <p:ph type="title"/>
          </p:nvPr>
        </p:nvSpPr>
        <p:spPr/>
        <p:txBody>
          <a:bodyPr/>
          <a:lstStyle/>
          <a:p>
            <a:pPr algn="ctr"/>
            <a:r>
              <a:rPr lang="en-US" dirty="0"/>
              <a:t>O/E CENTRAL ADIPOSITY</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43C616-EBD2-18F3-443D-0C01BBB1A59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0332847-AA3A-F69D-6AE7-9CB6A707F983}"/>
              </a:ext>
            </a:extLst>
          </p:cNvPr>
          <p:cNvSpPr>
            <a:spLocks noGrp="1"/>
          </p:cNvSpPr>
          <p:nvPr>
            <p:ph type="title"/>
          </p:nvPr>
        </p:nvSpPr>
        <p:spPr>
          <a:xfrm>
            <a:off x="1981199" y="-99392"/>
            <a:ext cx="8229600" cy="1143000"/>
          </a:xfrm>
        </p:spPr>
        <p:txBody>
          <a:bodyPr/>
          <a:lstStyle/>
          <a:p>
            <a:pPr algn="ctr"/>
            <a:r>
              <a:rPr lang="en-US" dirty="0"/>
              <a:t>BLOOD RESULTS</a:t>
            </a:r>
          </a:p>
        </p:txBody>
      </p:sp>
      <p:pic>
        <p:nvPicPr>
          <p:cNvPr id="7" name="Picture 6">
            <a:extLst>
              <a:ext uri="{FF2B5EF4-FFF2-40B4-BE49-F238E27FC236}">
                <a16:creationId xmlns:a16="http://schemas.microsoft.com/office/drawing/2014/main" id="{BD4973F4-B52F-D6B6-8723-417C2A0787C5}"/>
              </a:ext>
            </a:extLst>
          </p:cNvPr>
          <p:cNvPicPr>
            <a:picLocks noChangeAspect="1"/>
          </p:cNvPicPr>
          <p:nvPr/>
        </p:nvPicPr>
        <p:blipFill>
          <a:blip r:embed="rId2"/>
          <a:stretch>
            <a:fillRect/>
          </a:stretch>
        </p:blipFill>
        <p:spPr>
          <a:xfrm>
            <a:off x="4007768" y="908720"/>
            <a:ext cx="4372150" cy="5400600"/>
          </a:xfrm>
          <a:prstGeom prst="rect">
            <a:avLst/>
          </a:prstGeom>
        </p:spPr>
      </p:pic>
    </p:spTree>
    <p:extLst>
      <p:ext uri="{BB962C8B-B14F-4D97-AF65-F5344CB8AC3E}">
        <p14:creationId xmlns:p14="http://schemas.microsoft.com/office/powerpoint/2010/main" val="30655401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33" name="Group 2132">
            <a:extLst>
              <a:ext uri="{FF2B5EF4-FFF2-40B4-BE49-F238E27FC236}">
                <a16:creationId xmlns:a16="http://schemas.microsoft.com/office/drawing/2014/main" id="{A63A77C6-08CC-9E2C-E015-4CB2058FD932}"/>
              </a:ext>
            </a:extLst>
          </p:cNvPr>
          <p:cNvGrpSpPr/>
          <p:nvPr/>
        </p:nvGrpSpPr>
        <p:grpSpPr>
          <a:xfrm flipV="1">
            <a:off x="8483234" y="4414840"/>
            <a:ext cx="1320833" cy="1293758"/>
            <a:chOff x="-385353" y="1930663"/>
            <a:chExt cx="1320833" cy="1293758"/>
          </a:xfrm>
        </p:grpSpPr>
        <p:cxnSp>
          <p:nvCxnSpPr>
            <p:cNvPr id="2134" name="Straight Connector 2133">
              <a:extLst>
                <a:ext uri="{FF2B5EF4-FFF2-40B4-BE49-F238E27FC236}">
                  <a16:creationId xmlns:a16="http://schemas.microsoft.com/office/drawing/2014/main" id="{9794D3E7-41AB-0BD1-5AA0-6F3247D0BADD}"/>
                </a:ext>
              </a:extLst>
            </p:cNvPr>
            <p:cNvCxnSpPr>
              <a:cxnSpLocks/>
            </p:cNvCxnSpPr>
            <p:nvPr/>
          </p:nvCxnSpPr>
          <p:spPr>
            <a:xfrm flipV="1">
              <a:off x="-385353" y="1930663"/>
              <a:ext cx="0" cy="1282485"/>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135" name="Straight Connector 2134">
              <a:extLst>
                <a:ext uri="{FF2B5EF4-FFF2-40B4-BE49-F238E27FC236}">
                  <a16:creationId xmlns:a16="http://schemas.microsoft.com/office/drawing/2014/main" id="{34557E14-D6D8-54D3-09C1-05C02383797A}"/>
                </a:ext>
              </a:extLst>
            </p:cNvPr>
            <p:cNvCxnSpPr>
              <a:cxnSpLocks/>
            </p:cNvCxnSpPr>
            <p:nvPr/>
          </p:nvCxnSpPr>
          <p:spPr>
            <a:xfrm flipH="1" flipV="1">
              <a:off x="-381778" y="3213148"/>
              <a:ext cx="1317258"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136" name="Straight Connector 2135">
              <a:extLst>
                <a:ext uri="{FF2B5EF4-FFF2-40B4-BE49-F238E27FC236}">
                  <a16:creationId xmlns:a16="http://schemas.microsoft.com/office/drawing/2014/main" id="{0546FD35-82B5-853F-1C78-3BC044FDE900}"/>
                </a:ext>
              </a:extLst>
            </p:cNvPr>
            <p:cNvCxnSpPr>
              <a:cxnSpLocks/>
              <a:endCxn id="2103" idx="2"/>
            </p:cNvCxnSpPr>
            <p:nvPr/>
          </p:nvCxnSpPr>
          <p:spPr>
            <a:xfrm>
              <a:off x="197040" y="2864198"/>
              <a:ext cx="0" cy="360223"/>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7F0AD93-CEE8-AE4E-E72D-5A65F46258C7}"/>
              </a:ext>
            </a:extLst>
          </p:cNvPr>
          <p:cNvSpPr>
            <a:spLocks noGrp="1"/>
          </p:cNvSpPr>
          <p:nvPr>
            <p:ph type="title"/>
          </p:nvPr>
        </p:nvSpPr>
        <p:spPr/>
        <p:txBody>
          <a:bodyPr/>
          <a:lstStyle/>
          <a:p>
            <a:r>
              <a:rPr lang="en-GB" sz="3200"/>
              <a:t>Obesity is recognised as a disease and a health issue</a:t>
            </a:r>
            <a:endParaRPr lang="en-GB" sz="2800"/>
          </a:p>
        </p:txBody>
      </p:sp>
      <p:sp>
        <p:nvSpPr>
          <p:cNvPr id="4" name="Text Placeholder 3">
            <a:extLst>
              <a:ext uri="{FF2B5EF4-FFF2-40B4-BE49-F238E27FC236}">
                <a16:creationId xmlns:a16="http://schemas.microsoft.com/office/drawing/2014/main" id="{F8FFAB5F-D966-5E42-3FBA-633F3CD11E14}"/>
              </a:ext>
            </a:extLst>
          </p:cNvPr>
          <p:cNvSpPr>
            <a:spLocks noGrp="1"/>
          </p:cNvSpPr>
          <p:nvPr>
            <p:ph type="body" sz="quarter" idx="13"/>
          </p:nvPr>
        </p:nvSpPr>
        <p:spPr/>
        <p:txBody>
          <a:bodyPr/>
          <a:lstStyle/>
          <a:p>
            <a:r>
              <a:rPr lang="en-GB"/>
              <a:t>1. Burki T. Lancet Diabetes-</a:t>
            </a:r>
            <a:r>
              <a:rPr lang="en-GB" err="1"/>
              <a:t>endocrinol</a:t>
            </a:r>
            <a:r>
              <a:rPr lang="en-GB"/>
              <a:t>. In Focus. 2021;9:418; 2. </a:t>
            </a:r>
            <a:r>
              <a:rPr lang="en-GB" sz="700"/>
              <a:t>AMA resolutions. June 2012. Available </a:t>
            </a:r>
            <a:r>
              <a:rPr lang="en-US" sz="700"/>
              <a:t>at https://</a:t>
            </a:r>
            <a:r>
              <a:rPr lang="en-US" sz="700" err="1"/>
              <a:t>www.ama-assn.org</a:t>
            </a:r>
            <a:r>
              <a:rPr lang="en-US" sz="700"/>
              <a:t>/sites/ama-</a:t>
            </a:r>
            <a:r>
              <a:rPr lang="en-US" sz="700" err="1"/>
              <a:t>assn.org</a:t>
            </a:r>
            <a:r>
              <a:rPr lang="en-US" sz="700"/>
              <a:t>/files/</a:t>
            </a:r>
            <a:r>
              <a:rPr lang="en-US" sz="700" err="1"/>
              <a:t>corp</a:t>
            </a:r>
            <a:r>
              <a:rPr lang="en-US" sz="700"/>
              <a:t>/media-browser/public/hod/a12-resolutions_0.pdf. Accessed June 2024;</a:t>
            </a:r>
            <a:r>
              <a:rPr lang="en-GB"/>
              <a:t> 3. </a:t>
            </a:r>
            <a:r>
              <a:rPr lang="en-GB" sz="700"/>
              <a:t>EASO: 2015 Milan Declaration: A Call to Action on Obesity. Available at https://</a:t>
            </a:r>
            <a:r>
              <a:rPr lang="en-GB" sz="700" err="1"/>
              <a:t>easo.org</a:t>
            </a:r>
            <a:r>
              <a:rPr lang="en-GB" sz="700"/>
              <a:t>/2015-milan-declaration-a-call-to-action-on-obesity/. Accessed June 2024; 4. AOASO position statement, Nagoya Declaration 2015. </a:t>
            </a:r>
            <a:r>
              <a:rPr lang="en-GB" sz="700">
                <a:hlinkClick r:id="rId3">
                  <a:extLst>
                    <a:ext uri="{A12FA001-AC4F-418D-AE19-62706E023703}">
                      <ahyp:hlinkClr xmlns:ahyp="http://schemas.microsoft.com/office/drawing/2018/hyperlinkcolor" val="tx"/>
                    </a:ext>
                  </a:extLst>
                </a:hlinkClick>
              </a:rPr>
              <a:t>https://www.c-linkage.co.jp/aoco2015/data/declaraN-en.pdf</a:t>
            </a:r>
            <a:r>
              <a:rPr lang="en-GB" sz="700"/>
              <a:t>; 5. Raynor et al. J </a:t>
            </a:r>
            <a:r>
              <a:rPr lang="en-GB" sz="700" err="1"/>
              <a:t>Acad</a:t>
            </a:r>
            <a:r>
              <a:rPr lang="en-GB" sz="700"/>
              <a:t> </a:t>
            </a:r>
            <a:r>
              <a:rPr lang="en-GB" sz="700" err="1"/>
              <a:t>Nutr</a:t>
            </a:r>
            <a:r>
              <a:rPr lang="en-GB" sz="700"/>
              <a:t> Diet 2016;116:129‒47; 6.  Bray et al. </a:t>
            </a:r>
            <a:r>
              <a:rPr lang="en-GB" sz="700" err="1"/>
              <a:t>Obes</a:t>
            </a:r>
            <a:r>
              <a:rPr lang="en-GB" sz="700"/>
              <a:t> Rev 2017;18:715–23; 7. Royal College of Physicians. Anon. BMJ 2019;364:l45; 8. Obesity Canada. Available at </a:t>
            </a:r>
            <a:r>
              <a:rPr lang="en-US" sz="700"/>
              <a:t>https://obesitycanada.ca/obesity-in-canada/. Accessed June 2024; 9. </a:t>
            </a:r>
            <a:r>
              <a:rPr lang="en-CA" sz="700"/>
              <a:t>European Commission. </a:t>
            </a:r>
            <a:r>
              <a:rPr lang="en-US" sz="700"/>
              <a:t>Obesity prevention</a:t>
            </a:r>
            <a:r>
              <a:rPr lang="en-GB" sz="700"/>
              <a:t>. Available from https://knowledge4policy.ec.europa.eu/health-promotion-knowledge-gateway/</a:t>
            </a:r>
            <a:r>
              <a:rPr lang="en-GB" sz="700" err="1"/>
              <a:t>obesity_en</a:t>
            </a:r>
            <a:r>
              <a:rPr lang="en-GB" sz="700"/>
              <a:t>. Accessed June 2024; 10. </a:t>
            </a:r>
            <a:r>
              <a:rPr lang="en-GB" sz="700">
                <a:cs typeface="Verdana" panose="020B0604030504040204" pitchFamily="34" charset="0"/>
              </a:rPr>
              <a:t>Konstantinos CK et al. Eur Heart J 2024;45(38):4063–98.</a:t>
            </a:r>
            <a:endParaRPr lang="en-GB"/>
          </a:p>
        </p:txBody>
      </p:sp>
      <p:sp>
        <p:nvSpPr>
          <p:cNvPr id="5" name="Rectangle 4">
            <a:extLst>
              <a:ext uri="{FF2B5EF4-FFF2-40B4-BE49-F238E27FC236}">
                <a16:creationId xmlns:a16="http://schemas.microsoft.com/office/drawing/2014/main" id="{12869BAE-CACF-2EF1-C853-CEC3AEC485D8}"/>
              </a:ext>
            </a:extLst>
          </p:cNvPr>
          <p:cNvSpPr/>
          <p:nvPr/>
        </p:nvSpPr>
        <p:spPr>
          <a:xfrm>
            <a:off x="0" y="3924815"/>
            <a:ext cx="12192000" cy="959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pic>
        <p:nvPicPr>
          <p:cNvPr id="13" name="Picture 12">
            <a:extLst>
              <a:ext uri="{FF2B5EF4-FFF2-40B4-BE49-F238E27FC236}">
                <a16:creationId xmlns:a16="http://schemas.microsoft.com/office/drawing/2014/main" id="{56E27385-6DC3-0AB7-43C5-341753FA1F87}"/>
              </a:ext>
            </a:extLst>
          </p:cNvPr>
          <p:cNvPicPr>
            <a:picLocks noChangeAspect="1"/>
          </p:cNvPicPr>
          <p:nvPr/>
        </p:nvPicPr>
        <p:blipFill rotWithShape="1">
          <a:blip r:embed="rId4"/>
          <a:srcRect t="10005" b="12944"/>
          <a:stretch/>
        </p:blipFill>
        <p:spPr>
          <a:xfrm>
            <a:off x="334713" y="5575562"/>
            <a:ext cx="1243517" cy="377726"/>
          </a:xfrm>
          <a:prstGeom prst="rect">
            <a:avLst/>
          </a:prstGeom>
        </p:spPr>
      </p:pic>
      <p:sp>
        <p:nvSpPr>
          <p:cNvPr id="20" name="TextBox 19">
            <a:extLst>
              <a:ext uri="{FF2B5EF4-FFF2-40B4-BE49-F238E27FC236}">
                <a16:creationId xmlns:a16="http://schemas.microsoft.com/office/drawing/2014/main" id="{59DD0856-5E2F-7691-EDB9-FF9C2469470D}"/>
              </a:ext>
            </a:extLst>
          </p:cNvPr>
          <p:cNvSpPr txBox="1"/>
          <p:nvPr/>
        </p:nvSpPr>
        <p:spPr>
          <a:xfrm flipH="1">
            <a:off x="1070846" y="3711654"/>
            <a:ext cx="436589" cy="480453"/>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2800" b="0" i="0" u="none" strike="noStrike" kern="1200" cap="none" spc="0" normalizeH="0" baseline="0" noProof="0">
                <a:ln>
                  <a:noFill/>
                </a:ln>
                <a:solidFill>
                  <a:srgbClr val="FFFFFF"/>
                </a:solidFill>
                <a:effectLst/>
                <a:uLnTx/>
                <a:uFillTx/>
                <a:latin typeface="Apis For Office"/>
                <a:ea typeface="+mn-ea"/>
                <a:cs typeface="+mn-cs"/>
              </a:rPr>
              <a:t>&gt;&gt;</a:t>
            </a:r>
          </a:p>
        </p:txBody>
      </p:sp>
      <p:pic>
        <p:nvPicPr>
          <p:cNvPr id="2052" name="Picture 4" descr="Obesity Canada Logo">
            <a:extLst>
              <a:ext uri="{FF2B5EF4-FFF2-40B4-BE49-F238E27FC236}">
                <a16:creationId xmlns:a16="http://schemas.microsoft.com/office/drawing/2014/main" id="{B6FC0880-3F07-978F-58A9-E09C991CDB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9971" y="1677064"/>
            <a:ext cx="1196078" cy="436009"/>
          </a:xfrm>
          <a:prstGeom prst="rect">
            <a:avLst/>
          </a:prstGeom>
          <a:noFill/>
          <a:extLst>
            <a:ext uri="{909E8E84-426E-40DD-AFC4-6F175D3DCCD1}">
              <a14:hiddenFill xmlns:a14="http://schemas.microsoft.com/office/drawing/2010/main">
                <a:solidFill>
                  <a:srgbClr val="FFFFFF"/>
                </a:solidFill>
              </a14:hiddenFill>
            </a:ext>
          </a:extLst>
        </p:spPr>
      </p:pic>
      <p:grpSp>
        <p:nvGrpSpPr>
          <p:cNvPr id="2140" name="Group 2139">
            <a:extLst>
              <a:ext uri="{FF2B5EF4-FFF2-40B4-BE49-F238E27FC236}">
                <a16:creationId xmlns:a16="http://schemas.microsoft.com/office/drawing/2014/main" id="{5AB8AE86-4AA8-EBE9-F88B-B0EEA57D1F69}"/>
              </a:ext>
            </a:extLst>
          </p:cNvPr>
          <p:cNvGrpSpPr/>
          <p:nvPr/>
        </p:nvGrpSpPr>
        <p:grpSpPr>
          <a:xfrm>
            <a:off x="8650018" y="5505037"/>
            <a:ext cx="1384301" cy="514379"/>
            <a:chOff x="9763591" y="5499382"/>
            <a:chExt cx="1384301" cy="514379"/>
          </a:xfrm>
        </p:grpSpPr>
        <p:pic>
          <p:nvPicPr>
            <p:cNvPr id="41" name="Picture 2" descr="Circle, country, european union, flag icon">
              <a:extLst>
                <a:ext uri="{FF2B5EF4-FFF2-40B4-BE49-F238E27FC236}">
                  <a16:creationId xmlns:a16="http://schemas.microsoft.com/office/drawing/2014/main" id="{AFF5E7D7-4B2C-E373-71FE-10674774577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63591" y="5618187"/>
              <a:ext cx="281254" cy="27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Box 41">
              <a:extLst>
                <a:ext uri="{FF2B5EF4-FFF2-40B4-BE49-F238E27FC236}">
                  <a16:creationId xmlns:a16="http://schemas.microsoft.com/office/drawing/2014/main" id="{BF3FDF17-3BD7-2606-179A-4898137B0552}"/>
                </a:ext>
              </a:extLst>
            </p:cNvPr>
            <p:cNvSpPr txBox="1"/>
            <p:nvPr/>
          </p:nvSpPr>
          <p:spPr>
            <a:xfrm>
              <a:off x="10051801" y="5499382"/>
              <a:ext cx="1096091" cy="514379"/>
            </a:xfrm>
            <a:prstGeom prst="rect">
              <a:avLst/>
            </a:prstGeom>
            <a:noFill/>
          </p:spPr>
          <p:txBody>
            <a:bodyPr lIns="48000" tIns="0" rIns="48000" bIns="4800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1965"/>
                  </a:solidFill>
                  <a:effectLst/>
                  <a:uLnTx/>
                  <a:uFillTx/>
                  <a:latin typeface="Apis For Office"/>
                  <a:ea typeface="+mn-ea"/>
                  <a:cs typeface="+mn-cs"/>
                </a:rPr>
                <a:t>European</a:t>
              </a:r>
              <a:br>
                <a:rPr kumimoji="0" lang="en-GB" sz="1200" b="1" i="0" u="none" strike="noStrike" kern="1200" cap="none" spc="0" normalizeH="0" baseline="0" noProof="0">
                  <a:ln>
                    <a:noFill/>
                  </a:ln>
                  <a:solidFill>
                    <a:srgbClr val="001965"/>
                  </a:solidFill>
                  <a:effectLst/>
                  <a:uLnTx/>
                  <a:uFillTx/>
                  <a:latin typeface="Apis For Office"/>
                  <a:ea typeface="+mn-ea"/>
                  <a:cs typeface="+mn-cs"/>
                </a:rPr>
              </a:br>
              <a:r>
                <a:rPr kumimoji="0" lang="en-GB" sz="1200" b="1" i="0" u="none" strike="noStrike" kern="1200" cap="none" spc="0" normalizeH="0" baseline="0" noProof="0">
                  <a:ln>
                    <a:noFill/>
                  </a:ln>
                  <a:solidFill>
                    <a:srgbClr val="001965"/>
                  </a:solidFill>
                  <a:effectLst/>
                  <a:uLnTx/>
                  <a:uFillTx/>
                  <a:latin typeface="Apis For Office"/>
                  <a:ea typeface="+mn-ea"/>
                  <a:cs typeface="+mn-cs"/>
                </a:rPr>
                <a:t>Commission</a:t>
              </a:r>
            </a:p>
          </p:txBody>
        </p:sp>
      </p:grpSp>
      <p:sp>
        <p:nvSpPr>
          <p:cNvPr id="48" name="AutoShape 6" descr="eatright.org logo">
            <a:extLst>
              <a:ext uri="{FF2B5EF4-FFF2-40B4-BE49-F238E27FC236}">
                <a16:creationId xmlns:a16="http://schemas.microsoft.com/office/drawing/2014/main" id="{A61B3171-12E2-8EEA-7FCA-502EB09B8F1F}"/>
              </a:ext>
            </a:extLst>
          </p:cNvPr>
          <p:cNvSpPr>
            <a:spLocks noChangeAspect="1" noChangeArrowheads="1"/>
          </p:cNvSpPr>
          <p:nvPr/>
        </p:nvSpPr>
        <p:spPr bwMode="auto">
          <a:xfrm>
            <a:off x="5943600" y="352338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pis For Office"/>
              <a:ea typeface="+mn-ea"/>
              <a:cs typeface="+mn-cs"/>
            </a:endParaRPr>
          </a:p>
        </p:txBody>
      </p:sp>
      <p:pic>
        <p:nvPicPr>
          <p:cNvPr id="58" name="Picture 57">
            <a:extLst>
              <a:ext uri="{FF2B5EF4-FFF2-40B4-BE49-F238E27FC236}">
                <a16:creationId xmlns:a16="http://schemas.microsoft.com/office/drawing/2014/main" id="{827F5C14-9DA5-3715-7286-E5713829C468}"/>
              </a:ext>
            </a:extLst>
          </p:cNvPr>
          <p:cNvPicPr>
            <a:picLocks noChangeAspect="1"/>
          </p:cNvPicPr>
          <p:nvPr/>
        </p:nvPicPr>
        <p:blipFill rotWithShape="1">
          <a:blip r:embed="rId4"/>
          <a:srcRect t="10005" b="12944"/>
          <a:stretch/>
        </p:blipFill>
        <p:spPr>
          <a:xfrm>
            <a:off x="504194" y="1767520"/>
            <a:ext cx="1320868" cy="401222"/>
          </a:xfrm>
          <a:prstGeom prst="rect">
            <a:avLst/>
          </a:prstGeom>
        </p:spPr>
      </p:pic>
      <p:pic>
        <p:nvPicPr>
          <p:cNvPr id="7" name="Picture 8" descr="American Medical Association - Wikipedia">
            <a:extLst>
              <a:ext uri="{FF2B5EF4-FFF2-40B4-BE49-F238E27FC236}">
                <a16:creationId xmlns:a16="http://schemas.microsoft.com/office/drawing/2014/main" id="{A24C56FA-FB9E-4DD6-F030-6248F5B6D89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39663" y="1762259"/>
            <a:ext cx="879107" cy="40239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Royal College of Physicians - Wikipedia">
            <a:extLst>
              <a:ext uri="{FF2B5EF4-FFF2-40B4-BE49-F238E27FC236}">
                <a16:creationId xmlns:a16="http://schemas.microsoft.com/office/drawing/2014/main" id="{47DFDF86-196B-8D04-90FB-29CEC70AA46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98893" y="1707464"/>
            <a:ext cx="991949" cy="40560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AE4AB7D2-31BA-7428-C1DE-E778750A6296}"/>
              </a:ext>
            </a:extLst>
          </p:cNvPr>
          <p:cNvPicPr>
            <a:picLocks noChangeAspect="1"/>
          </p:cNvPicPr>
          <p:nvPr/>
        </p:nvPicPr>
        <p:blipFill>
          <a:blip r:embed="rId9"/>
          <a:stretch>
            <a:fillRect/>
          </a:stretch>
        </p:blipFill>
        <p:spPr>
          <a:xfrm>
            <a:off x="2870254" y="5601996"/>
            <a:ext cx="869268" cy="324000"/>
          </a:xfrm>
          <a:prstGeom prst="rect">
            <a:avLst/>
          </a:prstGeom>
        </p:spPr>
      </p:pic>
      <p:pic>
        <p:nvPicPr>
          <p:cNvPr id="47" name="Picture 2">
            <a:extLst>
              <a:ext uri="{FF2B5EF4-FFF2-40B4-BE49-F238E27FC236}">
                <a16:creationId xmlns:a16="http://schemas.microsoft.com/office/drawing/2014/main" id="{C048AF5E-D25A-09CE-73FE-BD21247118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06068" y="5513502"/>
            <a:ext cx="1871101" cy="55665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Image result for WOF IN obesity">
            <a:extLst>
              <a:ext uri="{FF2B5EF4-FFF2-40B4-BE49-F238E27FC236}">
                <a16:creationId xmlns:a16="http://schemas.microsoft.com/office/drawing/2014/main" id="{52FF76BF-DE82-8FA9-2FC0-319F7000736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41853" y="5621218"/>
            <a:ext cx="695076" cy="416497"/>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a16="http://schemas.microsoft.com/office/drawing/2014/main" id="{869E14F7-5A0E-0C50-D39B-CC2A3E734C23}"/>
              </a:ext>
            </a:extLst>
          </p:cNvPr>
          <p:cNvPicPr>
            <a:picLocks noChangeAspect="1"/>
          </p:cNvPicPr>
          <p:nvPr/>
        </p:nvPicPr>
        <p:blipFill>
          <a:blip r:embed="rId12"/>
          <a:stretch>
            <a:fillRect/>
          </a:stretch>
        </p:blipFill>
        <p:spPr>
          <a:xfrm>
            <a:off x="4099646" y="1630966"/>
            <a:ext cx="2268293" cy="546242"/>
          </a:xfrm>
          <a:prstGeom prst="rect">
            <a:avLst/>
          </a:prstGeom>
        </p:spPr>
      </p:pic>
      <p:sp>
        <p:nvSpPr>
          <p:cNvPr id="2051" name="TextBox 2050">
            <a:extLst>
              <a:ext uri="{FF2B5EF4-FFF2-40B4-BE49-F238E27FC236}">
                <a16:creationId xmlns:a16="http://schemas.microsoft.com/office/drawing/2014/main" id="{A32F331F-32A6-8EE8-9A96-4BAB249F9888}"/>
              </a:ext>
            </a:extLst>
          </p:cNvPr>
          <p:cNvSpPr txBox="1"/>
          <p:nvPr/>
        </p:nvSpPr>
        <p:spPr>
          <a:xfrm>
            <a:off x="504193" y="2283407"/>
            <a:ext cx="132086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included in International Classification of Diseases</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1</a:t>
            </a:r>
            <a:endParaRPr kumimoji="0" lang="en-GB" sz="105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077" name="TextBox 2076">
            <a:extLst>
              <a:ext uri="{FF2B5EF4-FFF2-40B4-BE49-F238E27FC236}">
                <a16:creationId xmlns:a16="http://schemas.microsoft.com/office/drawing/2014/main" id="{ED6966D5-A2EE-DE1D-C204-77BBFD89970C}"/>
              </a:ext>
            </a:extLst>
          </p:cNvPr>
          <p:cNvSpPr txBox="1"/>
          <p:nvPr/>
        </p:nvSpPr>
        <p:spPr>
          <a:xfrm>
            <a:off x="580598" y="4780156"/>
            <a:ext cx="1031163" cy="738664"/>
          </a:xfrm>
          <a:prstGeom prst="rect">
            <a:avLst/>
          </a:prstGeom>
          <a:noFill/>
        </p:spPr>
        <p:txBody>
          <a:bodyPr wrap="square"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recognised as a chronic disease</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1</a:t>
            </a:r>
            <a:endParaRPr kumimoji="0" lang="en-GB" sz="1050" b="0" i="0" u="none" strike="noStrike" kern="1200" cap="none" spc="0" normalizeH="0" baseline="0" noProof="0">
              <a:ln>
                <a:noFill/>
              </a:ln>
              <a:solidFill>
                <a:srgbClr val="001965"/>
              </a:solidFill>
              <a:effectLst/>
              <a:uLnTx/>
              <a:uFillTx/>
              <a:latin typeface="Apis For Office"/>
              <a:ea typeface="+mn-ea"/>
              <a:cs typeface="+mn-cs"/>
            </a:endParaRPr>
          </a:p>
        </p:txBody>
      </p:sp>
      <p:sp>
        <p:nvSpPr>
          <p:cNvPr id="2078" name="TextBox 2077">
            <a:extLst>
              <a:ext uri="{FF2B5EF4-FFF2-40B4-BE49-F238E27FC236}">
                <a16:creationId xmlns:a16="http://schemas.microsoft.com/office/drawing/2014/main" id="{C60E85AC-A5F9-21EA-F020-1C9187E6A588}"/>
              </a:ext>
            </a:extLst>
          </p:cNvPr>
          <p:cNvSpPr txBox="1"/>
          <p:nvPr/>
        </p:nvSpPr>
        <p:spPr>
          <a:xfrm flipH="1">
            <a:off x="2282958" y="3711654"/>
            <a:ext cx="436589" cy="480453"/>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2800" b="0" i="0" u="none" strike="noStrike" kern="1200" cap="none" spc="0" normalizeH="0" baseline="0" noProof="0">
                <a:ln>
                  <a:noFill/>
                </a:ln>
                <a:solidFill>
                  <a:srgbClr val="FFFFFF"/>
                </a:solidFill>
                <a:effectLst/>
                <a:uLnTx/>
                <a:uFillTx/>
                <a:latin typeface="Apis For Office"/>
                <a:ea typeface="+mn-ea"/>
                <a:cs typeface="+mn-cs"/>
              </a:rPr>
              <a:t>&gt;&gt;</a:t>
            </a:r>
          </a:p>
        </p:txBody>
      </p:sp>
      <p:sp>
        <p:nvSpPr>
          <p:cNvPr id="2086" name="TextBox 2085">
            <a:extLst>
              <a:ext uri="{FF2B5EF4-FFF2-40B4-BE49-F238E27FC236}">
                <a16:creationId xmlns:a16="http://schemas.microsoft.com/office/drawing/2014/main" id="{7FDF7C29-26AB-BE31-AF64-852CD640ACF7}"/>
              </a:ext>
            </a:extLst>
          </p:cNvPr>
          <p:cNvSpPr txBox="1"/>
          <p:nvPr/>
        </p:nvSpPr>
        <p:spPr>
          <a:xfrm>
            <a:off x="2282958" y="2283407"/>
            <a:ext cx="1703504" cy="10618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and overweight as a chronic medical condition </a:t>
            </a:r>
            <a:br>
              <a:rPr kumimoji="0" lang="en-GB" sz="1050" b="0" i="0" u="none" strike="noStrike" kern="1200" cap="none" spc="0" normalizeH="0" baseline="0" noProof="0">
                <a:ln>
                  <a:noFill/>
                </a:ln>
                <a:solidFill>
                  <a:srgbClr val="001965"/>
                </a:solidFill>
                <a:effectLst/>
                <a:uLnTx/>
                <a:uFillTx/>
                <a:latin typeface="Apis For Office"/>
                <a:ea typeface="+mn-ea"/>
                <a:cs typeface="+mn-cs"/>
              </a:rPr>
            </a:br>
            <a:r>
              <a:rPr kumimoji="0" lang="en-GB" sz="1050" b="0" i="0" u="none" strike="noStrike" kern="1200" cap="none" spc="0" normalizeH="0" baseline="0" noProof="0">
                <a:ln>
                  <a:noFill/>
                </a:ln>
                <a:solidFill>
                  <a:srgbClr val="001965"/>
                </a:solidFill>
                <a:effectLst/>
                <a:uLnTx/>
                <a:uFillTx/>
                <a:latin typeface="Apis For Office"/>
                <a:ea typeface="+mn-ea"/>
                <a:cs typeface="+mn-cs"/>
              </a:rPr>
              <a:t>(de facto disease state) and urgent public </a:t>
            </a:r>
            <a:br>
              <a:rPr kumimoji="0" lang="en-GB" sz="1050" b="0" i="0" u="none" strike="noStrike" kern="1200" cap="none" spc="0" normalizeH="0" baseline="0" noProof="0">
                <a:ln>
                  <a:noFill/>
                </a:ln>
                <a:solidFill>
                  <a:srgbClr val="001965"/>
                </a:solidFill>
                <a:effectLst/>
                <a:uLnTx/>
                <a:uFillTx/>
                <a:latin typeface="Apis For Office"/>
                <a:ea typeface="+mn-ea"/>
                <a:cs typeface="+mn-cs"/>
              </a:rPr>
            </a:br>
            <a:r>
              <a:rPr kumimoji="0" lang="en-GB" sz="1050" b="0" i="0" u="none" strike="noStrike" kern="1200" cap="none" spc="0" normalizeH="0" baseline="0" noProof="0">
                <a:ln>
                  <a:noFill/>
                </a:ln>
                <a:solidFill>
                  <a:srgbClr val="001965"/>
                </a:solidFill>
                <a:effectLst/>
                <a:uLnTx/>
                <a:uFillTx/>
                <a:latin typeface="Apis For Office"/>
                <a:ea typeface="+mn-ea"/>
                <a:cs typeface="+mn-cs"/>
              </a:rPr>
              <a:t>health problem…”</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2</a:t>
            </a:r>
          </a:p>
        </p:txBody>
      </p:sp>
      <p:grpSp>
        <p:nvGrpSpPr>
          <p:cNvPr id="2087" name="Group 2086">
            <a:extLst>
              <a:ext uri="{FF2B5EF4-FFF2-40B4-BE49-F238E27FC236}">
                <a16:creationId xmlns:a16="http://schemas.microsoft.com/office/drawing/2014/main" id="{B598E60D-674D-5D42-5997-CE5D4B6E721D}"/>
              </a:ext>
            </a:extLst>
          </p:cNvPr>
          <p:cNvGrpSpPr/>
          <p:nvPr/>
        </p:nvGrpSpPr>
        <p:grpSpPr>
          <a:xfrm>
            <a:off x="4028228" y="1968131"/>
            <a:ext cx="1553345" cy="2151388"/>
            <a:chOff x="-534262" y="1721345"/>
            <a:chExt cx="1553345" cy="2151388"/>
          </a:xfrm>
        </p:grpSpPr>
        <p:sp>
          <p:nvSpPr>
            <p:cNvPr id="2088" name="Rounded Rectangle 2087">
              <a:extLst>
                <a:ext uri="{FF2B5EF4-FFF2-40B4-BE49-F238E27FC236}">
                  <a16:creationId xmlns:a16="http://schemas.microsoft.com/office/drawing/2014/main" id="{4BD49B83-6CD9-9D51-E033-6F53F76838FF}"/>
                </a:ext>
              </a:extLst>
            </p:cNvPr>
            <p:cNvSpPr/>
            <p:nvPr/>
          </p:nvSpPr>
          <p:spPr>
            <a:xfrm>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16</a:t>
              </a:r>
            </a:p>
          </p:txBody>
        </p:sp>
        <p:grpSp>
          <p:nvGrpSpPr>
            <p:cNvPr id="2089" name="Group 2088">
              <a:extLst>
                <a:ext uri="{FF2B5EF4-FFF2-40B4-BE49-F238E27FC236}">
                  <a16:creationId xmlns:a16="http://schemas.microsoft.com/office/drawing/2014/main" id="{C8E7BC47-AC68-C905-F76B-B95D9D54C4B4}"/>
                </a:ext>
              </a:extLst>
            </p:cNvPr>
            <p:cNvGrpSpPr/>
            <p:nvPr/>
          </p:nvGrpSpPr>
          <p:grpSpPr>
            <a:xfrm>
              <a:off x="-534262" y="1721345"/>
              <a:ext cx="1202934" cy="1845130"/>
              <a:chOff x="-534262" y="1721345"/>
              <a:chExt cx="1202934" cy="1845130"/>
            </a:xfrm>
          </p:grpSpPr>
          <p:cxnSp>
            <p:nvCxnSpPr>
              <p:cNvPr id="2090" name="Straight Connector 2089">
                <a:extLst>
                  <a:ext uri="{FF2B5EF4-FFF2-40B4-BE49-F238E27FC236}">
                    <a16:creationId xmlns:a16="http://schemas.microsoft.com/office/drawing/2014/main" id="{E58494E8-00DF-4C40-07C6-A7830E05AEDA}"/>
                  </a:ext>
                </a:extLst>
              </p:cNvPr>
              <p:cNvCxnSpPr>
                <a:cxnSpLocks/>
              </p:cNvCxnSpPr>
              <p:nvPr/>
            </p:nvCxnSpPr>
            <p:spPr>
              <a:xfrm flipV="1">
                <a:off x="-534262" y="1721345"/>
                <a:ext cx="0" cy="1482599"/>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091" name="Straight Connector 2090">
                <a:extLst>
                  <a:ext uri="{FF2B5EF4-FFF2-40B4-BE49-F238E27FC236}">
                    <a16:creationId xmlns:a16="http://schemas.microsoft.com/office/drawing/2014/main" id="{E8BBEA00-89FD-CE4F-7815-18FFFF0F18FB}"/>
                  </a:ext>
                </a:extLst>
              </p:cNvPr>
              <p:cNvCxnSpPr>
                <a:cxnSpLocks/>
              </p:cNvCxnSpPr>
              <p:nvPr/>
            </p:nvCxnSpPr>
            <p:spPr>
              <a:xfrm flipH="1">
                <a:off x="-534262" y="3203944"/>
                <a:ext cx="1202934"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092" name="Straight Connector 2091">
                <a:extLst>
                  <a:ext uri="{FF2B5EF4-FFF2-40B4-BE49-F238E27FC236}">
                    <a16:creationId xmlns:a16="http://schemas.microsoft.com/office/drawing/2014/main" id="{D20B4D8F-8733-699C-D2A6-49C31236E8CA}"/>
                  </a:ext>
                </a:extLst>
              </p:cNvPr>
              <p:cNvCxnSpPr>
                <a:cxnSpLocks/>
                <a:endCxn id="2088" idx="0"/>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grpSp>
      <p:sp>
        <p:nvSpPr>
          <p:cNvPr id="2094" name="TextBox 2093">
            <a:extLst>
              <a:ext uri="{FF2B5EF4-FFF2-40B4-BE49-F238E27FC236}">
                <a16:creationId xmlns:a16="http://schemas.microsoft.com/office/drawing/2014/main" id="{E0443195-D700-BC90-4DD2-6D2885A74797}"/>
              </a:ext>
            </a:extLst>
          </p:cNvPr>
          <p:cNvSpPr txBox="1"/>
          <p:nvPr/>
        </p:nvSpPr>
        <p:spPr>
          <a:xfrm>
            <a:off x="4095160" y="2283407"/>
            <a:ext cx="2750297" cy="10618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The Treat and Reduce Obesity Act would allow a variety of qualified practitioners, including registered dietitian nutritionists, to more effectively treat this disease, which impacts more than one-third of our nation.“</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5</a:t>
            </a:r>
          </a:p>
        </p:txBody>
      </p:sp>
      <p:grpSp>
        <p:nvGrpSpPr>
          <p:cNvPr id="2095" name="Group 2094">
            <a:extLst>
              <a:ext uri="{FF2B5EF4-FFF2-40B4-BE49-F238E27FC236}">
                <a16:creationId xmlns:a16="http://schemas.microsoft.com/office/drawing/2014/main" id="{7B6C1109-8418-9119-B589-B4C0535070E2}"/>
              </a:ext>
            </a:extLst>
          </p:cNvPr>
          <p:cNvGrpSpPr/>
          <p:nvPr/>
        </p:nvGrpSpPr>
        <p:grpSpPr>
          <a:xfrm>
            <a:off x="6815806" y="1968131"/>
            <a:ext cx="1553345" cy="2151388"/>
            <a:chOff x="-534262" y="1721345"/>
            <a:chExt cx="1553345" cy="2151388"/>
          </a:xfrm>
        </p:grpSpPr>
        <p:sp>
          <p:nvSpPr>
            <p:cNvPr id="2096" name="Rounded Rectangle 2095">
              <a:extLst>
                <a:ext uri="{FF2B5EF4-FFF2-40B4-BE49-F238E27FC236}">
                  <a16:creationId xmlns:a16="http://schemas.microsoft.com/office/drawing/2014/main" id="{DAACF411-A4E8-4C33-5287-9166FB3395E6}"/>
                </a:ext>
              </a:extLst>
            </p:cNvPr>
            <p:cNvSpPr/>
            <p:nvPr/>
          </p:nvSpPr>
          <p:spPr>
            <a:xfrm>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19</a:t>
              </a:r>
            </a:p>
          </p:txBody>
        </p:sp>
        <p:grpSp>
          <p:nvGrpSpPr>
            <p:cNvPr id="2097" name="Group 2096">
              <a:extLst>
                <a:ext uri="{FF2B5EF4-FFF2-40B4-BE49-F238E27FC236}">
                  <a16:creationId xmlns:a16="http://schemas.microsoft.com/office/drawing/2014/main" id="{83919F1A-D998-3351-A304-612D7B7953F2}"/>
                </a:ext>
              </a:extLst>
            </p:cNvPr>
            <p:cNvGrpSpPr/>
            <p:nvPr/>
          </p:nvGrpSpPr>
          <p:grpSpPr>
            <a:xfrm>
              <a:off x="-534262" y="1721345"/>
              <a:ext cx="1202934" cy="1845130"/>
              <a:chOff x="-534262" y="1721345"/>
              <a:chExt cx="1202934" cy="1845130"/>
            </a:xfrm>
          </p:grpSpPr>
          <p:cxnSp>
            <p:nvCxnSpPr>
              <p:cNvPr id="2098" name="Straight Connector 2097">
                <a:extLst>
                  <a:ext uri="{FF2B5EF4-FFF2-40B4-BE49-F238E27FC236}">
                    <a16:creationId xmlns:a16="http://schemas.microsoft.com/office/drawing/2014/main" id="{8C8E96F3-71A2-E251-2C3A-8562902DD272}"/>
                  </a:ext>
                </a:extLst>
              </p:cNvPr>
              <p:cNvCxnSpPr>
                <a:cxnSpLocks/>
              </p:cNvCxnSpPr>
              <p:nvPr/>
            </p:nvCxnSpPr>
            <p:spPr>
              <a:xfrm flipV="1">
                <a:off x="-534262" y="1721345"/>
                <a:ext cx="0" cy="1482599"/>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099" name="Straight Connector 2098">
                <a:extLst>
                  <a:ext uri="{FF2B5EF4-FFF2-40B4-BE49-F238E27FC236}">
                    <a16:creationId xmlns:a16="http://schemas.microsoft.com/office/drawing/2014/main" id="{4D8DE3D5-6794-92E6-4C83-96E07F37316A}"/>
                  </a:ext>
                </a:extLst>
              </p:cNvPr>
              <p:cNvCxnSpPr>
                <a:cxnSpLocks/>
              </p:cNvCxnSpPr>
              <p:nvPr/>
            </p:nvCxnSpPr>
            <p:spPr>
              <a:xfrm flipH="1">
                <a:off x="-534262" y="3203944"/>
                <a:ext cx="1202934"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100" name="Straight Connector 2099">
                <a:extLst>
                  <a:ext uri="{FF2B5EF4-FFF2-40B4-BE49-F238E27FC236}">
                    <a16:creationId xmlns:a16="http://schemas.microsoft.com/office/drawing/2014/main" id="{26752847-8855-642B-2AC3-7078A38DCE93}"/>
                  </a:ext>
                </a:extLst>
              </p:cNvPr>
              <p:cNvCxnSpPr>
                <a:cxnSpLocks/>
                <a:endCxn id="2096" idx="0"/>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grpSp>
      <p:sp>
        <p:nvSpPr>
          <p:cNvPr id="2101" name="TextBox 2100">
            <a:extLst>
              <a:ext uri="{FF2B5EF4-FFF2-40B4-BE49-F238E27FC236}">
                <a16:creationId xmlns:a16="http://schemas.microsoft.com/office/drawing/2014/main" id="{9DCBFE67-F1F3-2DFC-F908-718784ACBC15}"/>
              </a:ext>
            </a:extLst>
          </p:cNvPr>
          <p:cNvSpPr txBox="1"/>
          <p:nvPr/>
        </p:nvSpPr>
        <p:spPr>
          <a:xfrm>
            <a:off x="6927107" y="2283407"/>
            <a:ext cx="1941684" cy="10618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It (obesity) is not a lifestyle choice caused by individual greed but a disease caused by health inequalities, genetic influences and social factors..”</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7</a:t>
            </a:r>
            <a:endParaRPr kumimoji="0" lang="en-GB" sz="1050" b="0" i="0" u="none" strike="noStrike" kern="1200" cap="none" spc="0" normalizeH="0" baseline="0" noProof="0">
              <a:ln>
                <a:noFill/>
              </a:ln>
              <a:solidFill>
                <a:srgbClr val="001965"/>
              </a:solidFill>
              <a:effectLst/>
              <a:uLnTx/>
              <a:uFillTx/>
              <a:latin typeface="Apis For Office"/>
              <a:ea typeface="+mn-ea"/>
              <a:cs typeface="+mn-cs"/>
            </a:endParaRPr>
          </a:p>
        </p:txBody>
      </p:sp>
      <p:grpSp>
        <p:nvGrpSpPr>
          <p:cNvPr id="2102" name="Group 2101">
            <a:extLst>
              <a:ext uri="{FF2B5EF4-FFF2-40B4-BE49-F238E27FC236}">
                <a16:creationId xmlns:a16="http://schemas.microsoft.com/office/drawing/2014/main" id="{3808AC7B-09FF-E3BE-8C0E-579B7A162569}"/>
              </a:ext>
            </a:extLst>
          </p:cNvPr>
          <p:cNvGrpSpPr/>
          <p:nvPr/>
        </p:nvGrpSpPr>
        <p:grpSpPr>
          <a:xfrm>
            <a:off x="8735279" y="1968131"/>
            <a:ext cx="907715" cy="2158620"/>
            <a:chOff x="-416603" y="1721345"/>
            <a:chExt cx="907715" cy="2158620"/>
          </a:xfrm>
        </p:grpSpPr>
        <p:grpSp>
          <p:nvGrpSpPr>
            <p:cNvPr id="2104" name="Group 2103">
              <a:extLst>
                <a:ext uri="{FF2B5EF4-FFF2-40B4-BE49-F238E27FC236}">
                  <a16:creationId xmlns:a16="http://schemas.microsoft.com/office/drawing/2014/main" id="{77BB8875-E92C-9BCF-36E2-8535629D23D8}"/>
                </a:ext>
              </a:extLst>
            </p:cNvPr>
            <p:cNvGrpSpPr/>
            <p:nvPr/>
          </p:nvGrpSpPr>
          <p:grpSpPr>
            <a:xfrm>
              <a:off x="-289994" y="1721345"/>
              <a:ext cx="781106" cy="1852362"/>
              <a:chOff x="-289994" y="1721345"/>
              <a:chExt cx="781106" cy="1852362"/>
            </a:xfrm>
          </p:grpSpPr>
          <p:cxnSp>
            <p:nvCxnSpPr>
              <p:cNvPr id="2105" name="Straight Connector 2104">
                <a:extLst>
                  <a:ext uri="{FF2B5EF4-FFF2-40B4-BE49-F238E27FC236}">
                    <a16:creationId xmlns:a16="http://schemas.microsoft.com/office/drawing/2014/main" id="{96B63829-6BB4-B44E-2FBA-0B5FB75CF4C4}"/>
                  </a:ext>
                </a:extLst>
              </p:cNvPr>
              <p:cNvCxnSpPr>
                <a:cxnSpLocks/>
              </p:cNvCxnSpPr>
              <p:nvPr/>
            </p:nvCxnSpPr>
            <p:spPr>
              <a:xfrm flipV="1">
                <a:off x="-289994" y="1721345"/>
                <a:ext cx="0" cy="1482599"/>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106" name="Straight Connector 2105">
                <a:extLst>
                  <a:ext uri="{FF2B5EF4-FFF2-40B4-BE49-F238E27FC236}">
                    <a16:creationId xmlns:a16="http://schemas.microsoft.com/office/drawing/2014/main" id="{90DD3377-764D-DF69-2BC6-D75AB91EC9F4}"/>
                  </a:ext>
                </a:extLst>
              </p:cNvPr>
              <p:cNvCxnSpPr>
                <a:cxnSpLocks/>
              </p:cNvCxnSpPr>
              <p:nvPr/>
            </p:nvCxnSpPr>
            <p:spPr>
              <a:xfrm flipH="1">
                <a:off x="-289994" y="3203944"/>
                <a:ext cx="781106"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107" name="Straight Connector 2106">
                <a:extLst>
                  <a:ext uri="{FF2B5EF4-FFF2-40B4-BE49-F238E27FC236}">
                    <a16:creationId xmlns:a16="http://schemas.microsoft.com/office/drawing/2014/main" id="{D320710B-2D3F-EFDD-E2C9-88F14FAB04B9}"/>
                  </a:ext>
                </a:extLst>
              </p:cNvPr>
              <p:cNvCxnSpPr>
                <a:cxnSpLocks/>
              </p:cNvCxnSpPr>
              <p:nvPr/>
            </p:nvCxnSpPr>
            <p:spPr>
              <a:xfrm>
                <a:off x="-110582" y="3211176"/>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sp>
          <p:nvSpPr>
            <p:cNvPr id="2103" name="Rounded Rectangle 2102">
              <a:extLst>
                <a:ext uri="{FF2B5EF4-FFF2-40B4-BE49-F238E27FC236}">
                  <a16:creationId xmlns:a16="http://schemas.microsoft.com/office/drawing/2014/main" id="{49DFF108-7296-AA2C-3A46-E29E3B0286E9}"/>
                </a:ext>
              </a:extLst>
            </p:cNvPr>
            <p:cNvSpPr/>
            <p:nvPr/>
          </p:nvSpPr>
          <p:spPr>
            <a:xfrm>
              <a:off x="-416603" y="3573707"/>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21</a:t>
              </a:r>
            </a:p>
          </p:txBody>
        </p:sp>
      </p:grpSp>
      <p:sp>
        <p:nvSpPr>
          <p:cNvPr id="2110" name="TextBox 2109">
            <a:extLst>
              <a:ext uri="{FF2B5EF4-FFF2-40B4-BE49-F238E27FC236}">
                <a16:creationId xmlns:a16="http://schemas.microsoft.com/office/drawing/2014/main" id="{DEACE129-1ABF-D4A6-0337-43881CEB0C0A}"/>
              </a:ext>
            </a:extLst>
          </p:cNvPr>
          <p:cNvSpPr txBox="1"/>
          <p:nvPr/>
        </p:nvSpPr>
        <p:spPr>
          <a:xfrm>
            <a:off x="8891538" y="2274320"/>
            <a:ext cx="1543279" cy="9002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is a progressive chronic disease, similar </a:t>
            </a:r>
            <a:br>
              <a:rPr kumimoji="0" lang="en-GB" sz="1050" b="0" i="0" u="none" strike="noStrike" kern="1200" cap="none" spc="0" normalizeH="0" baseline="0" noProof="0">
                <a:ln>
                  <a:noFill/>
                </a:ln>
                <a:solidFill>
                  <a:srgbClr val="001965"/>
                </a:solidFill>
                <a:effectLst/>
                <a:uLnTx/>
                <a:uFillTx/>
                <a:latin typeface="Apis For Office"/>
                <a:ea typeface="+mn-ea"/>
                <a:cs typeface="+mn-cs"/>
              </a:rPr>
            </a:br>
            <a:r>
              <a:rPr kumimoji="0" lang="en-GB" sz="1050" b="0" i="0" u="none" strike="noStrike" kern="1200" cap="none" spc="0" normalizeH="0" baseline="0" noProof="0">
                <a:ln>
                  <a:noFill/>
                </a:ln>
                <a:solidFill>
                  <a:srgbClr val="001965"/>
                </a:solidFill>
                <a:effectLst/>
                <a:uLnTx/>
                <a:uFillTx/>
                <a:latin typeface="Apis For Office"/>
                <a:ea typeface="+mn-ea"/>
                <a:cs typeface="+mn-cs"/>
              </a:rPr>
              <a:t>to diabetes or high blood pressure, …”</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8</a:t>
            </a:r>
          </a:p>
        </p:txBody>
      </p:sp>
      <p:grpSp>
        <p:nvGrpSpPr>
          <p:cNvPr id="2112" name="Group 2111">
            <a:extLst>
              <a:ext uri="{FF2B5EF4-FFF2-40B4-BE49-F238E27FC236}">
                <a16:creationId xmlns:a16="http://schemas.microsoft.com/office/drawing/2014/main" id="{65722584-B595-27C2-AC88-56040F6D4498}"/>
              </a:ext>
            </a:extLst>
          </p:cNvPr>
          <p:cNvGrpSpPr/>
          <p:nvPr/>
        </p:nvGrpSpPr>
        <p:grpSpPr>
          <a:xfrm flipV="1">
            <a:off x="3689695" y="3810953"/>
            <a:ext cx="700822" cy="1951274"/>
            <a:chOff x="318261" y="1921459"/>
            <a:chExt cx="700822" cy="1951274"/>
          </a:xfrm>
        </p:grpSpPr>
        <p:grpSp>
          <p:nvGrpSpPr>
            <p:cNvPr id="2114" name="Group 2113">
              <a:extLst>
                <a:ext uri="{FF2B5EF4-FFF2-40B4-BE49-F238E27FC236}">
                  <a16:creationId xmlns:a16="http://schemas.microsoft.com/office/drawing/2014/main" id="{75341B5E-F36B-EA63-A279-B418986C206B}"/>
                </a:ext>
              </a:extLst>
            </p:cNvPr>
            <p:cNvGrpSpPr/>
            <p:nvPr/>
          </p:nvGrpSpPr>
          <p:grpSpPr>
            <a:xfrm>
              <a:off x="440270" y="1921459"/>
              <a:ext cx="462318" cy="1645016"/>
              <a:chOff x="440270" y="1921459"/>
              <a:chExt cx="462318" cy="1645016"/>
            </a:xfrm>
          </p:grpSpPr>
          <p:cxnSp>
            <p:nvCxnSpPr>
              <p:cNvPr id="2115" name="Straight Connector 2114">
                <a:extLst>
                  <a:ext uri="{FF2B5EF4-FFF2-40B4-BE49-F238E27FC236}">
                    <a16:creationId xmlns:a16="http://schemas.microsoft.com/office/drawing/2014/main" id="{F8FC7E65-FEFA-D44A-F923-E0CD5A1F1DFE}"/>
                  </a:ext>
                </a:extLst>
              </p:cNvPr>
              <p:cNvCxnSpPr>
                <a:cxnSpLocks/>
              </p:cNvCxnSpPr>
              <p:nvPr/>
            </p:nvCxnSpPr>
            <p:spPr>
              <a:xfrm flipV="1">
                <a:off x="440270" y="1921459"/>
                <a:ext cx="0" cy="1282485"/>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116" name="Straight Connector 2115">
                <a:extLst>
                  <a:ext uri="{FF2B5EF4-FFF2-40B4-BE49-F238E27FC236}">
                    <a16:creationId xmlns:a16="http://schemas.microsoft.com/office/drawing/2014/main" id="{D8B8F343-262D-1555-4416-3B305284D918}"/>
                  </a:ext>
                </a:extLst>
              </p:cNvPr>
              <p:cNvCxnSpPr>
                <a:cxnSpLocks/>
              </p:cNvCxnSpPr>
              <p:nvPr/>
            </p:nvCxnSpPr>
            <p:spPr>
              <a:xfrm flipH="1">
                <a:off x="440270" y="3203944"/>
                <a:ext cx="228402"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117" name="Straight Connector 2116">
                <a:extLst>
                  <a:ext uri="{FF2B5EF4-FFF2-40B4-BE49-F238E27FC236}">
                    <a16:creationId xmlns:a16="http://schemas.microsoft.com/office/drawing/2014/main" id="{E6BD56F3-742A-7F73-B2A4-EF081F3D0A75}"/>
                  </a:ext>
                </a:extLst>
              </p:cNvPr>
              <p:cNvCxnSpPr>
                <a:cxnSpLocks/>
                <a:endCxn id="2113" idx="2"/>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118" name="Straight Connector 2117">
                <a:extLst>
                  <a:ext uri="{FF2B5EF4-FFF2-40B4-BE49-F238E27FC236}">
                    <a16:creationId xmlns:a16="http://schemas.microsoft.com/office/drawing/2014/main" id="{7733DC80-74BC-59A7-9858-0B99123BAC05}"/>
                  </a:ext>
                </a:extLst>
              </p:cNvPr>
              <p:cNvCxnSpPr>
                <a:cxnSpLocks/>
              </p:cNvCxnSpPr>
              <p:nvPr/>
            </p:nvCxnSpPr>
            <p:spPr>
              <a:xfrm flipV="1">
                <a:off x="902588" y="1921459"/>
                <a:ext cx="0" cy="1282485"/>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119" name="Straight Connector 2118">
                <a:extLst>
                  <a:ext uri="{FF2B5EF4-FFF2-40B4-BE49-F238E27FC236}">
                    <a16:creationId xmlns:a16="http://schemas.microsoft.com/office/drawing/2014/main" id="{3BAB46ED-C669-2990-3E93-78ED8A5BDECD}"/>
                  </a:ext>
                </a:extLst>
              </p:cNvPr>
              <p:cNvCxnSpPr>
                <a:cxnSpLocks/>
              </p:cNvCxnSpPr>
              <p:nvPr/>
            </p:nvCxnSpPr>
            <p:spPr>
              <a:xfrm flipH="1">
                <a:off x="674186" y="3203944"/>
                <a:ext cx="228402"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sp>
          <p:nvSpPr>
            <p:cNvPr id="2113" name="Rounded Rectangle 2112">
              <a:extLst>
                <a:ext uri="{FF2B5EF4-FFF2-40B4-BE49-F238E27FC236}">
                  <a16:creationId xmlns:a16="http://schemas.microsoft.com/office/drawing/2014/main" id="{4CA3244A-5AD1-FC48-6C6E-1D9922EA6C59}"/>
                </a:ext>
              </a:extLst>
            </p:cNvPr>
            <p:cNvSpPr/>
            <p:nvPr/>
          </p:nvSpPr>
          <p:spPr>
            <a:xfrm flipV="1">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15</a:t>
              </a:r>
            </a:p>
          </p:txBody>
        </p:sp>
      </p:grpSp>
      <p:sp>
        <p:nvSpPr>
          <p:cNvPr id="2120" name="TextBox 2119">
            <a:extLst>
              <a:ext uri="{FF2B5EF4-FFF2-40B4-BE49-F238E27FC236}">
                <a16:creationId xmlns:a16="http://schemas.microsoft.com/office/drawing/2014/main" id="{3C677A6C-FB49-5124-0A3F-705DB12B0906}"/>
              </a:ext>
            </a:extLst>
          </p:cNvPr>
          <p:cNvSpPr txBox="1"/>
          <p:nvPr/>
        </p:nvSpPr>
        <p:spPr>
          <a:xfrm>
            <a:off x="1794598" y="4456991"/>
            <a:ext cx="1962310" cy="1061829"/>
          </a:xfrm>
          <a:prstGeom prst="rect">
            <a:avLst/>
          </a:prstGeom>
          <a:noFill/>
        </p:spPr>
        <p:txBody>
          <a:bodyPr wrap="square"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A progressive disease, impacting severely on individuals and society alike,… obesity is the gateway to many other disease areas…”</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3</a:t>
            </a:r>
          </a:p>
        </p:txBody>
      </p:sp>
      <p:sp>
        <p:nvSpPr>
          <p:cNvPr id="2121" name="TextBox 2120">
            <a:extLst>
              <a:ext uri="{FF2B5EF4-FFF2-40B4-BE49-F238E27FC236}">
                <a16:creationId xmlns:a16="http://schemas.microsoft.com/office/drawing/2014/main" id="{8029C7AD-35A0-9411-7947-61E4B9E38BBF}"/>
              </a:ext>
            </a:extLst>
          </p:cNvPr>
          <p:cNvSpPr txBox="1"/>
          <p:nvPr/>
        </p:nvSpPr>
        <p:spPr>
          <a:xfrm>
            <a:off x="4365964" y="4456991"/>
            <a:ext cx="2034309" cy="1061829"/>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A pathological state (obesity disease) in which a person suffers health problems caused by or related to obesity thus making weight loss clinically desirable …”</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4</a:t>
            </a:r>
            <a:endParaRPr kumimoji="0" lang="en-GB" sz="1050" b="0" i="0" u="none" strike="noStrike" kern="1200" cap="none" spc="0" normalizeH="0" baseline="0" noProof="0">
              <a:ln>
                <a:noFill/>
              </a:ln>
              <a:solidFill>
                <a:srgbClr val="001965"/>
              </a:solidFill>
              <a:effectLst/>
              <a:uLnTx/>
              <a:uFillTx/>
              <a:latin typeface="Apis For Office"/>
              <a:ea typeface="+mn-ea"/>
              <a:cs typeface="+mn-cs"/>
            </a:endParaRPr>
          </a:p>
        </p:txBody>
      </p:sp>
      <p:grpSp>
        <p:nvGrpSpPr>
          <p:cNvPr id="2122" name="Group 2121">
            <a:extLst>
              <a:ext uri="{FF2B5EF4-FFF2-40B4-BE49-F238E27FC236}">
                <a16:creationId xmlns:a16="http://schemas.microsoft.com/office/drawing/2014/main" id="{E865D1F7-CE37-93C6-8CF1-869F4A8D2729}"/>
              </a:ext>
            </a:extLst>
          </p:cNvPr>
          <p:cNvGrpSpPr/>
          <p:nvPr/>
        </p:nvGrpSpPr>
        <p:grpSpPr>
          <a:xfrm flipV="1">
            <a:off x="5914957" y="3810953"/>
            <a:ext cx="700822" cy="1951274"/>
            <a:chOff x="318261" y="1921459"/>
            <a:chExt cx="700822" cy="1951274"/>
          </a:xfrm>
        </p:grpSpPr>
        <p:grpSp>
          <p:nvGrpSpPr>
            <p:cNvPr id="2124" name="Group 2123">
              <a:extLst>
                <a:ext uri="{FF2B5EF4-FFF2-40B4-BE49-F238E27FC236}">
                  <a16:creationId xmlns:a16="http://schemas.microsoft.com/office/drawing/2014/main" id="{7B5C15C6-9C95-984B-CF06-40844317674F}"/>
                </a:ext>
              </a:extLst>
            </p:cNvPr>
            <p:cNvGrpSpPr/>
            <p:nvPr/>
          </p:nvGrpSpPr>
          <p:grpSpPr>
            <a:xfrm>
              <a:off x="668672" y="1921459"/>
              <a:ext cx="233916" cy="1645016"/>
              <a:chOff x="668672" y="1921459"/>
              <a:chExt cx="233916" cy="1645016"/>
            </a:xfrm>
          </p:grpSpPr>
          <p:cxnSp>
            <p:nvCxnSpPr>
              <p:cNvPr id="2127" name="Straight Connector 2126">
                <a:extLst>
                  <a:ext uri="{FF2B5EF4-FFF2-40B4-BE49-F238E27FC236}">
                    <a16:creationId xmlns:a16="http://schemas.microsoft.com/office/drawing/2014/main" id="{D7213243-B11A-C271-A1EC-950204639599}"/>
                  </a:ext>
                </a:extLst>
              </p:cNvPr>
              <p:cNvCxnSpPr>
                <a:cxnSpLocks/>
                <a:endCxn id="2123" idx="2"/>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128" name="Straight Connector 2127">
                <a:extLst>
                  <a:ext uri="{FF2B5EF4-FFF2-40B4-BE49-F238E27FC236}">
                    <a16:creationId xmlns:a16="http://schemas.microsoft.com/office/drawing/2014/main" id="{5AEBA5E0-5C79-5F5B-FAE0-EC969FB1A56D}"/>
                  </a:ext>
                </a:extLst>
              </p:cNvPr>
              <p:cNvCxnSpPr>
                <a:cxnSpLocks/>
              </p:cNvCxnSpPr>
              <p:nvPr/>
            </p:nvCxnSpPr>
            <p:spPr>
              <a:xfrm flipV="1">
                <a:off x="902588" y="1921459"/>
                <a:ext cx="0" cy="1282485"/>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129" name="Straight Connector 2128">
                <a:extLst>
                  <a:ext uri="{FF2B5EF4-FFF2-40B4-BE49-F238E27FC236}">
                    <a16:creationId xmlns:a16="http://schemas.microsoft.com/office/drawing/2014/main" id="{32A1B0CA-AA59-6C26-0E72-C8363748561E}"/>
                  </a:ext>
                </a:extLst>
              </p:cNvPr>
              <p:cNvCxnSpPr>
                <a:cxnSpLocks/>
              </p:cNvCxnSpPr>
              <p:nvPr/>
            </p:nvCxnSpPr>
            <p:spPr>
              <a:xfrm flipH="1">
                <a:off x="674186" y="3203944"/>
                <a:ext cx="228402"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sp>
          <p:nvSpPr>
            <p:cNvPr id="2123" name="Rounded Rectangle 2122">
              <a:extLst>
                <a:ext uri="{FF2B5EF4-FFF2-40B4-BE49-F238E27FC236}">
                  <a16:creationId xmlns:a16="http://schemas.microsoft.com/office/drawing/2014/main" id="{94880198-3C3C-3128-5A11-0F1DAD31D9C6}"/>
                </a:ext>
              </a:extLst>
            </p:cNvPr>
            <p:cNvSpPr/>
            <p:nvPr/>
          </p:nvSpPr>
          <p:spPr>
            <a:xfrm flipV="1">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17</a:t>
              </a:r>
            </a:p>
          </p:txBody>
        </p:sp>
      </p:grpSp>
      <p:sp>
        <p:nvSpPr>
          <p:cNvPr id="2130" name="TextBox 2129">
            <a:extLst>
              <a:ext uri="{FF2B5EF4-FFF2-40B4-BE49-F238E27FC236}">
                <a16:creationId xmlns:a16="http://schemas.microsoft.com/office/drawing/2014/main" id="{3B71BEEA-2385-D5A8-BB0B-A61545B5FAF3}"/>
              </a:ext>
            </a:extLst>
          </p:cNvPr>
          <p:cNvSpPr txBox="1"/>
          <p:nvPr/>
        </p:nvSpPr>
        <p:spPr>
          <a:xfrm>
            <a:off x="6557497" y="4456991"/>
            <a:ext cx="2034309" cy="1061829"/>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is a chronic, relapsing, progressive disease process ….need for immediate action for prevention and control of this global epidemic”</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6</a:t>
            </a:r>
          </a:p>
        </p:txBody>
      </p:sp>
      <p:sp>
        <p:nvSpPr>
          <p:cNvPr id="2139" name="TextBox 2138">
            <a:extLst>
              <a:ext uri="{FF2B5EF4-FFF2-40B4-BE49-F238E27FC236}">
                <a16:creationId xmlns:a16="http://schemas.microsoft.com/office/drawing/2014/main" id="{C956C9C0-2BCE-0165-4498-ABA2C798B2AE}"/>
              </a:ext>
            </a:extLst>
          </p:cNvPr>
          <p:cNvSpPr txBox="1"/>
          <p:nvPr/>
        </p:nvSpPr>
        <p:spPr>
          <a:xfrm>
            <a:off x="8559805" y="4537782"/>
            <a:ext cx="2650802" cy="900246"/>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is a chronic relapsing disease, which</a:t>
            </a:r>
            <a:r>
              <a:rPr kumimoji="0" lang="en-US" sz="1050" b="0" i="0" u="none" strike="noStrike" kern="1200" cap="none" spc="0" normalizeH="0" baseline="0" noProof="0">
                <a:ln>
                  <a:noFill/>
                </a:ln>
                <a:solidFill>
                  <a:srgbClr val="001965"/>
                </a:solidFill>
                <a:effectLst/>
                <a:uLnTx/>
                <a:uFillTx/>
                <a:latin typeface="Apis For Office"/>
                <a:ea typeface="+mn-ea"/>
                <a:cs typeface="+mn-cs"/>
              </a:rPr>
              <a:t> in turn acts as a gateway to a range of other non-communicable diseases, such as diabetes, cardiovascular diseases and cancer.</a:t>
            </a:r>
            <a:r>
              <a:rPr kumimoji="0" lang="en-GB" sz="1050" b="0" i="0" u="none" strike="noStrike" kern="1200" cap="none" spc="0" normalizeH="0" baseline="0" noProof="0">
                <a:ln>
                  <a:noFill/>
                </a:ln>
                <a:solidFill>
                  <a:srgbClr val="001965"/>
                </a:solidFill>
                <a:effectLst/>
                <a:uLnTx/>
                <a:uFillTx/>
                <a:latin typeface="Apis For Office"/>
                <a:ea typeface="+mn-ea"/>
                <a:cs typeface="+mn-cs"/>
              </a:rPr>
              <a:t>”</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9</a:t>
            </a:r>
          </a:p>
        </p:txBody>
      </p:sp>
      <p:grpSp>
        <p:nvGrpSpPr>
          <p:cNvPr id="2068" name="Group 2067">
            <a:extLst>
              <a:ext uri="{FF2B5EF4-FFF2-40B4-BE49-F238E27FC236}">
                <a16:creationId xmlns:a16="http://schemas.microsoft.com/office/drawing/2014/main" id="{CC631E3A-015F-7608-256B-D32FF76FD48E}"/>
              </a:ext>
            </a:extLst>
          </p:cNvPr>
          <p:cNvGrpSpPr/>
          <p:nvPr/>
        </p:nvGrpSpPr>
        <p:grpSpPr>
          <a:xfrm>
            <a:off x="318261" y="1968131"/>
            <a:ext cx="700822" cy="2151388"/>
            <a:chOff x="318261" y="1721345"/>
            <a:chExt cx="700822" cy="2151388"/>
          </a:xfrm>
        </p:grpSpPr>
        <p:sp>
          <p:nvSpPr>
            <p:cNvPr id="2048" name="Rounded Rectangle 2047">
              <a:extLst>
                <a:ext uri="{FF2B5EF4-FFF2-40B4-BE49-F238E27FC236}">
                  <a16:creationId xmlns:a16="http://schemas.microsoft.com/office/drawing/2014/main" id="{7B17D07D-D1BF-8CC7-DDEE-BF6246C70F74}"/>
                </a:ext>
              </a:extLst>
            </p:cNvPr>
            <p:cNvSpPr/>
            <p:nvPr/>
          </p:nvSpPr>
          <p:spPr>
            <a:xfrm>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1948</a:t>
              </a:r>
            </a:p>
          </p:txBody>
        </p:sp>
        <p:grpSp>
          <p:nvGrpSpPr>
            <p:cNvPr id="2067" name="Group 2066">
              <a:extLst>
                <a:ext uri="{FF2B5EF4-FFF2-40B4-BE49-F238E27FC236}">
                  <a16:creationId xmlns:a16="http://schemas.microsoft.com/office/drawing/2014/main" id="{5E35DDBC-A235-DC5A-1C71-58915E4C8A0F}"/>
                </a:ext>
              </a:extLst>
            </p:cNvPr>
            <p:cNvGrpSpPr/>
            <p:nvPr/>
          </p:nvGrpSpPr>
          <p:grpSpPr>
            <a:xfrm>
              <a:off x="440270" y="1721345"/>
              <a:ext cx="228402" cy="1845130"/>
              <a:chOff x="440270" y="1721345"/>
              <a:chExt cx="228402" cy="1845130"/>
            </a:xfrm>
          </p:grpSpPr>
          <p:cxnSp>
            <p:nvCxnSpPr>
              <p:cNvPr id="2054" name="Straight Connector 2053">
                <a:extLst>
                  <a:ext uri="{FF2B5EF4-FFF2-40B4-BE49-F238E27FC236}">
                    <a16:creationId xmlns:a16="http://schemas.microsoft.com/office/drawing/2014/main" id="{4BAC82CA-E409-2C18-5EF0-E0B325433392}"/>
                  </a:ext>
                </a:extLst>
              </p:cNvPr>
              <p:cNvCxnSpPr>
                <a:cxnSpLocks/>
              </p:cNvCxnSpPr>
              <p:nvPr/>
            </p:nvCxnSpPr>
            <p:spPr>
              <a:xfrm flipV="1">
                <a:off x="440270" y="1721345"/>
                <a:ext cx="0" cy="1482599"/>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060" name="Straight Connector 2059">
                <a:extLst>
                  <a:ext uri="{FF2B5EF4-FFF2-40B4-BE49-F238E27FC236}">
                    <a16:creationId xmlns:a16="http://schemas.microsoft.com/office/drawing/2014/main" id="{8972F865-5511-1DCA-4224-570A2061CB65}"/>
                  </a:ext>
                </a:extLst>
              </p:cNvPr>
              <p:cNvCxnSpPr>
                <a:cxnSpLocks/>
              </p:cNvCxnSpPr>
              <p:nvPr/>
            </p:nvCxnSpPr>
            <p:spPr>
              <a:xfrm flipH="1">
                <a:off x="440270" y="3203944"/>
                <a:ext cx="228402"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063" name="Straight Connector 2062">
                <a:extLst>
                  <a:ext uri="{FF2B5EF4-FFF2-40B4-BE49-F238E27FC236}">
                    <a16:creationId xmlns:a16="http://schemas.microsoft.com/office/drawing/2014/main" id="{B219E761-E27D-E1C9-D0A4-64C9A015CF8B}"/>
                  </a:ext>
                </a:extLst>
              </p:cNvPr>
              <p:cNvCxnSpPr>
                <a:cxnSpLocks/>
                <a:endCxn id="2048" idx="0"/>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079" name="Group 2078">
            <a:extLst>
              <a:ext uri="{FF2B5EF4-FFF2-40B4-BE49-F238E27FC236}">
                <a16:creationId xmlns:a16="http://schemas.microsoft.com/office/drawing/2014/main" id="{135C86AD-C49D-0035-B59F-34A0441FF94B}"/>
              </a:ext>
            </a:extLst>
          </p:cNvPr>
          <p:cNvGrpSpPr/>
          <p:nvPr/>
        </p:nvGrpSpPr>
        <p:grpSpPr>
          <a:xfrm>
            <a:off x="2224106" y="1968131"/>
            <a:ext cx="1240465" cy="2151388"/>
            <a:chOff x="-221382" y="1721345"/>
            <a:chExt cx="1240465" cy="2151388"/>
          </a:xfrm>
        </p:grpSpPr>
        <p:sp>
          <p:nvSpPr>
            <p:cNvPr id="2080" name="Rounded Rectangle 2079">
              <a:extLst>
                <a:ext uri="{FF2B5EF4-FFF2-40B4-BE49-F238E27FC236}">
                  <a16:creationId xmlns:a16="http://schemas.microsoft.com/office/drawing/2014/main" id="{EFE760E2-0832-7270-DB90-A17D61BE8F83}"/>
                </a:ext>
              </a:extLst>
            </p:cNvPr>
            <p:cNvSpPr/>
            <p:nvPr/>
          </p:nvSpPr>
          <p:spPr>
            <a:xfrm>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12</a:t>
              </a:r>
            </a:p>
          </p:txBody>
        </p:sp>
        <p:grpSp>
          <p:nvGrpSpPr>
            <p:cNvPr id="2081" name="Group 2080">
              <a:extLst>
                <a:ext uri="{FF2B5EF4-FFF2-40B4-BE49-F238E27FC236}">
                  <a16:creationId xmlns:a16="http://schemas.microsoft.com/office/drawing/2014/main" id="{578AB5C6-D848-FC55-5D9C-B743F5F7A216}"/>
                </a:ext>
              </a:extLst>
            </p:cNvPr>
            <p:cNvGrpSpPr/>
            <p:nvPr/>
          </p:nvGrpSpPr>
          <p:grpSpPr>
            <a:xfrm>
              <a:off x="-221382" y="1721345"/>
              <a:ext cx="890054" cy="1845130"/>
              <a:chOff x="-221382" y="1721345"/>
              <a:chExt cx="890054" cy="1845130"/>
            </a:xfrm>
          </p:grpSpPr>
          <p:cxnSp>
            <p:nvCxnSpPr>
              <p:cNvPr id="2082" name="Straight Connector 2081">
                <a:extLst>
                  <a:ext uri="{FF2B5EF4-FFF2-40B4-BE49-F238E27FC236}">
                    <a16:creationId xmlns:a16="http://schemas.microsoft.com/office/drawing/2014/main" id="{E54B004C-6CE6-2009-4D03-25BCB4AAB576}"/>
                  </a:ext>
                </a:extLst>
              </p:cNvPr>
              <p:cNvCxnSpPr>
                <a:cxnSpLocks/>
              </p:cNvCxnSpPr>
              <p:nvPr/>
            </p:nvCxnSpPr>
            <p:spPr>
              <a:xfrm flipV="1">
                <a:off x="-220591" y="1721345"/>
                <a:ext cx="0" cy="1482599"/>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083" name="Straight Connector 2082">
                <a:extLst>
                  <a:ext uri="{FF2B5EF4-FFF2-40B4-BE49-F238E27FC236}">
                    <a16:creationId xmlns:a16="http://schemas.microsoft.com/office/drawing/2014/main" id="{FDB14E9A-5732-58BD-DEBA-2204069ED258}"/>
                  </a:ext>
                </a:extLst>
              </p:cNvPr>
              <p:cNvCxnSpPr>
                <a:cxnSpLocks/>
              </p:cNvCxnSpPr>
              <p:nvPr/>
            </p:nvCxnSpPr>
            <p:spPr>
              <a:xfrm flipH="1">
                <a:off x="-221382" y="3203944"/>
                <a:ext cx="890054"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084" name="Straight Connector 2083">
                <a:extLst>
                  <a:ext uri="{FF2B5EF4-FFF2-40B4-BE49-F238E27FC236}">
                    <a16:creationId xmlns:a16="http://schemas.microsoft.com/office/drawing/2014/main" id="{6BC0A402-FFCC-DC5A-9465-38F0F57CE90D}"/>
                  </a:ext>
                </a:extLst>
              </p:cNvPr>
              <p:cNvCxnSpPr>
                <a:cxnSpLocks/>
                <a:endCxn id="2080" idx="0"/>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070" name="Group 2069">
            <a:extLst>
              <a:ext uri="{FF2B5EF4-FFF2-40B4-BE49-F238E27FC236}">
                <a16:creationId xmlns:a16="http://schemas.microsoft.com/office/drawing/2014/main" id="{8E93B54C-34E6-9DDD-8FBF-D51F8AC98680}"/>
              </a:ext>
            </a:extLst>
          </p:cNvPr>
          <p:cNvGrpSpPr/>
          <p:nvPr/>
        </p:nvGrpSpPr>
        <p:grpSpPr>
          <a:xfrm flipV="1">
            <a:off x="1523284" y="3810953"/>
            <a:ext cx="700822" cy="1951274"/>
            <a:chOff x="318261" y="1921459"/>
            <a:chExt cx="700822" cy="1951274"/>
          </a:xfrm>
        </p:grpSpPr>
        <p:grpSp>
          <p:nvGrpSpPr>
            <p:cNvPr id="2072" name="Group 2071">
              <a:extLst>
                <a:ext uri="{FF2B5EF4-FFF2-40B4-BE49-F238E27FC236}">
                  <a16:creationId xmlns:a16="http://schemas.microsoft.com/office/drawing/2014/main" id="{A775BF51-8290-120D-258E-5B0B75ACDB48}"/>
                </a:ext>
              </a:extLst>
            </p:cNvPr>
            <p:cNvGrpSpPr/>
            <p:nvPr/>
          </p:nvGrpSpPr>
          <p:grpSpPr>
            <a:xfrm>
              <a:off x="440270" y="1921459"/>
              <a:ext cx="228402" cy="1645016"/>
              <a:chOff x="440270" y="1921459"/>
              <a:chExt cx="228402" cy="1645016"/>
            </a:xfrm>
          </p:grpSpPr>
          <p:cxnSp>
            <p:nvCxnSpPr>
              <p:cNvPr id="2075" name="Straight Connector 2074">
                <a:extLst>
                  <a:ext uri="{FF2B5EF4-FFF2-40B4-BE49-F238E27FC236}">
                    <a16:creationId xmlns:a16="http://schemas.microsoft.com/office/drawing/2014/main" id="{1F49E544-339C-6025-399C-CC22268D57B4}"/>
                  </a:ext>
                </a:extLst>
              </p:cNvPr>
              <p:cNvCxnSpPr>
                <a:cxnSpLocks/>
                <a:endCxn id="2071" idx="2"/>
              </p:cNvCxnSpPr>
              <p:nvPr/>
            </p:nvCxnSpPr>
            <p:spPr>
              <a:xfrm>
                <a:off x="668672" y="3203944"/>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2073" name="Straight Connector 2072">
                <a:extLst>
                  <a:ext uri="{FF2B5EF4-FFF2-40B4-BE49-F238E27FC236}">
                    <a16:creationId xmlns:a16="http://schemas.microsoft.com/office/drawing/2014/main" id="{8842D86F-25FB-8877-CC8F-A30EC44EA1D0}"/>
                  </a:ext>
                </a:extLst>
              </p:cNvPr>
              <p:cNvCxnSpPr>
                <a:cxnSpLocks/>
              </p:cNvCxnSpPr>
              <p:nvPr/>
            </p:nvCxnSpPr>
            <p:spPr>
              <a:xfrm flipV="1">
                <a:off x="440270" y="1921459"/>
                <a:ext cx="0" cy="1282485"/>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2074" name="Straight Connector 2073">
                <a:extLst>
                  <a:ext uri="{FF2B5EF4-FFF2-40B4-BE49-F238E27FC236}">
                    <a16:creationId xmlns:a16="http://schemas.microsoft.com/office/drawing/2014/main" id="{0E0BC754-AB12-859A-2B01-4DE4F09E14D2}"/>
                  </a:ext>
                </a:extLst>
              </p:cNvPr>
              <p:cNvCxnSpPr>
                <a:cxnSpLocks/>
              </p:cNvCxnSpPr>
              <p:nvPr/>
            </p:nvCxnSpPr>
            <p:spPr>
              <a:xfrm flipH="1">
                <a:off x="440270" y="3203944"/>
                <a:ext cx="228402"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sp>
          <p:nvSpPr>
            <p:cNvPr id="2071" name="Rounded Rectangle 2070">
              <a:extLst>
                <a:ext uri="{FF2B5EF4-FFF2-40B4-BE49-F238E27FC236}">
                  <a16:creationId xmlns:a16="http://schemas.microsoft.com/office/drawing/2014/main" id="{791B90DD-6A2A-CAFA-CA36-C94DAE7CAD6F}"/>
                </a:ext>
              </a:extLst>
            </p:cNvPr>
            <p:cNvSpPr/>
            <p:nvPr/>
          </p:nvSpPr>
          <p:spPr>
            <a:xfrm flipV="1">
              <a:off x="318261" y="3566475"/>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1997</a:t>
              </a:r>
            </a:p>
          </p:txBody>
        </p:sp>
      </p:grpSp>
      <p:grpSp>
        <p:nvGrpSpPr>
          <p:cNvPr id="3" name="Group 2">
            <a:extLst>
              <a:ext uri="{FF2B5EF4-FFF2-40B4-BE49-F238E27FC236}">
                <a16:creationId xmlns:a16="http://schemas.microsoft.com/office/drawing/2014/main" id="{DF2AE6E9-CD4E-9BD7-C795-55860D796021}"/>
              </a:ext>
            </a:extLst>
          </p:cNvPr>
          <p:cNvGrpSpPr/>
          <p:nvPr/>
        </p:nvGrpSpPr>
        <p:grpSpPr>
          <a:xfrm>
            <a:off x="10400844" y="1942761"/>
            <a:ext cx="907715" cy="2158620"/>
            <a:chOff x="-416603" y="1721345"/>
            <a:chExt cx="907715" cy="2158620"/>
          </a:xfrm>
        </p:grpSpPr>
        <p:grpSp>
          <p:nvGrpSpPr>
            <p:cNvPr id="6" name="Group 5">
              <a:extLst>
                <a:ext uri="{FF2B5EF4-FFF2-40B4-BE49-F238E27FC236}">
                  <a16:creationId xmlns:a16="http://schemas.microsoft.com/office/drawing/2014/main" id="{FC760915-8419-722F-17C3-FE620F185EAF}"/>
                </a:ext>
              </a:extLst>
            </p:cNvPr>
            <p:cNvGrpSpPr/>
            <p:nvPr/>
          </p:nvGrpSpPr>
          <p:grpSpPr>
            <a:xfrm>
              <a:off x="-289994" y="1721345"/>
              <a:ext cx="781106" cy="1852362"/>
              <a:chOff x="-289994" y="1721345"/>
              <a:chExt cx="781106" cy="1852362"/>
            </a:xfrm>
          </p:grpSpPr>
          <p:cxnSp>
            <p:nvCxnSpPr>
              <p:cNvPr id="9" name="Straight Connector 8">
                <a:extLst>
                  <a:ext uri="{FF2B5EF4-FFF2-40B4-BE49-F238E27FC236}">
                    <a16:creationId xmlns:a16="http://schemas.microsoft.com/office/drawing/2014/main" id="{B8E1C78D-AFD8-CEE3-3CAB-ABD15C3DF084}"/>
                  </a:ext>
                </a:extLst>
              </p:cNvPr>
              <p:cNvCxnSpPr>
                <a:cxnSpLocks/>
              </p:cNvCxnSpPr>
              <p:nvPr/>
            </p:nvCxnSpPr>
            <p:spPr>
              <a:xfrm flipV="1">
                <a:off x="-289994" y="1721345"/>
                <a:ext cx="0" cy="1482599"/>
              </a:xfrm>
              <a:prstGeom prst="line">
                <a:avLst/>
              </a:prstGeom>
              <a:ln w="12700">
                <a:solidFill>
                  <a:srgbClr val="CCC5BD"/>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24EC6FA-782C-49DC-D41E-FFDCAF9030E8}"/>
                  </a:ext>
                </a:extLst>
              </p:cNvPr>
              <p:cNvCxnSpPr>
                <a:cxnSpLocks/>
              </p:cNvCxnSpPr>
              <p:nvPr/>
            </p:nvCxnSpPr>
            <p:spPr>
              <a:xfrm flipH="1">
                <a:off x="-289994" y="3203944"/>
                <a:ext cx="781106" cy="0"/>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F2E20DA-F7EF-A384-6F3C-9AFF88684B15}"/>
                  </a:ext>
                </a:extLst>
              </p:cNvPr>
              <p:cNvCxnSpPr>
                <a:cxnSpLocks/>
              </p:cNvCxnSpPr>
              <p:nvPr/>
            </p:nvCxnSpPr>
            <p:spPr>
              <a:xfrm>
                <a:off x="-110582" y="3211176"/>
                <a:ext cx="0" cy="362531"/>
              </a:xfrm>
              <a:prstGeom prst="line">
                <a:avLst/>
              </a:prstGeom>
              <a:ln w="12700">
                <a:solidFill>
                  <a:srgbClr val="CCC5BD"/>
                </a:solidFill>
                <a:tailEnd type="none"/>
              </a:ln>
            </p:spPr>
            <p:style>
              <a:lnRef idx="1">
                <a:schemeClr val="accent1"/>
              </a:lnRef>
              <a:fillRef idx="0">
                <a:schemeClr val="accent1"/>
              </a:fillRef>
              <a:effectRef idx="0">
                <a:schemeClr val="accent1"/>
              </a:effectRef>
              <a:fontRef idx="minor">
                <a:schemeClr val="tx1"/>
              </a:fontRef>
            </p:style>
          </p:cxnSp>
        </p:grpSp>
        <p:sp>
          <p:nvSpPr>
            <p:cNvPr id="8" name="Rounded Rectangle 2102">
              <a:extLst>
                <a:ext uri="{FF2B5EF4-FFF2-40B4-BE49-F238E27FC236}">
                  <a16:creationId xmlns:a16="http://schemas.microsoft.com/office/drawing/2014/main" id="{45AEF405-F6EE-8ADF-8136-8286E5D10B22}"/>
                </a:ext>
              </a:extLst>
            </p:cNvPr>
            <p:cNvSpPr/>
            <p:nvPr/>
          </p:nvSpPr>
          <p:spPr>
            <a:xfrm>
              <a:off x="-416603" y="3573707"/>
              <a:ext cx="700822" cy="306258"/>
            </a:xfrm>
            <a:prstGeom prst="roundRect">
              <a:avLst>
                <a:gd name="adj" fmla="val 2824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lstStyle/>
            <a:p>
              <a:pPr marL="0" marR="0" lvl="0" indent="0" algn="ctr" defTabSz="914400" rtl="0" eaLnBrk="1" fontAlgn="auto" latinLnBrk="0" hangingPunct="1">
                <a:lnSpc>
                  <a:spcPct val="120000"/>
                </a:lnSpc>
                <a:spcBef>
                  <a:spcPts val="0"/>
                </a:spcBef>
                <a:spcAft>
                  <a:spcPts val="0"/>
                </a:spcAft>
                <a:buClr>
                  <a:srgbClr val="FFFFFF"/>
                </a:buClr>
                <a:buSzTx/>
                <a:buFontTx/>
                <a:buNone/>
                <a:tabLst/>
                <a:defRPr/>
              </a:pPr>
              <a:r>
                <a:rPr kumimoji="0" lang="en-GB" sz="1600" b="1" i="0" u="none" strike="noStrike" kern="1200" cap="none" spc="0" normalizeH="0" baseline="0" noProof="0">
                  <a:ln>
                    <a:noFill/>
                  </a:ln>
                  <a:solidFill>
                    <a:srgbClr val="FFFFFF"/>
                  </a:solidFill>
                  <a:effectLst/>
                  <a:uLnTx/>
                  <a:uFillTx/>
                  <a:latin typeface="Apis For Office"/>
                  <a:ea typeface="+mn-ea"/>
                  <a:cs typeface="+mn-cs"/>
                </a:rPr>
                <a:t>2024</a:t>
              </a:r>
            </a:p>
          </p:txBody>
        </p:sp>
      </p:grpSp>
      <p:pic>
        <p:nvPicPr>
          <p:cNvPr id="12" name="Picture 11">
            <a:extLst>
              <a:ext uri="{FF2B5EF4-FFF2-40B4-BE49-F238E27FC236}">
                <a16:creationId xmlns:a16="http://schemas.microsoft.com/office/drawing/2014/main" id="{10B5B201-61A9-C337-9C99-7B3326200EAA}"/>
              </a:ext>
            </a:extLst>
          </p:cNvPr>
          <p:cNvPicPr>
            <a:picLocks noChangeAspect="1"/>
          </p:cNvPicPr>
          <p:nvPr/>
        </p:nvPicPr>
        <p:blipFill>
          <a:blip r:embed="rId13"/>
          <a:stretch>
            <a:fillRect/>
          </a:stretch>
        </p:blipFill>
        <p:spPr>
          <a:xfrm>
            <a:off x="10578915" y="1735660"/>
            <a:ext cx="500946" cy="436009"/>
          </a:xfrm>
          <a:prstGeom prst="rect">
            <a:avLst/>
          </a:prstGeom>
        </p:spPr>
      </p:pic>
      <p:sp>
        <p:nvSpPr>
          <p:cNvPr id="14" name="TextBox 13">
            <a:extLst>
              <a:ext uri="{FF2B5EF4-FFF2-40B4-BE49-F238E27FC236}">
                <a16:creationId xmlns:a16="http://schemas.microsoft.com/office/drawing/2014/main" id="{38E26781-34C8-89D3-3B02-6AE6A1807B00}"/>
              </a:ext>
            </a:extLst>
          </p:cNvPr>
          <p:cNvSpPr txBox="1"/>
          <p:nvPr/>
        </p:nvSpPr>
        <p:spPr>
          <a:xfrm>
            <a:off x="11131322" y="1755028"/>
            <a:ext cx="781260" cy="34323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1965"/>
                </a:solidFill>
                <a:effectLst/>
                <a:uLnTx/>
                <a:uFillTx/>
                <a:latin typeface="Apis For Office"/>
                <a:ea typeface="+mn-ea"/>
                <a:cs typeface="+mn-cs"/>
              </a:rPr>
              <a:t>ESC</a:t>
            </a:r>
            <a:endParaRPr kumimoji="0" lang="en-GB" sz="2000" b="0" i="0" u="none" strike="noStrike" kern="1200" cap="none" spc="0" normalizeH="0" baseline="0" noProof="0" err="1">
              <a:ln>
                <a:noFill/>
              </a:ln>
              <a:solidFill>
                <a:srgbClr val="001965"/>
              </a:solidFill>
              <a:effectLst/>
              <a:uLnTx/>
              <a:uFillTx/>
              <a:latin typeface="Apis For Office"/>
              <a:ea typeface="+mn-ea"/>
              <a:cs typeface="+mn-cs"/>
            </a:endParaRPr>
          </a:p>
        </p:txBody>
      </p:sp>
      <p:sp>
        <p:nvSpPr>
          <p:cNvPr id="15" name="TextBox 14">
            <a:extLst>
              <a:ext uri="{FF2B5EF4-FFF2-40B4-BE49-F238E27FC236}">
                <a16:creationId xmlns:a16="http://schemas.microsoft.com/office/drawing/2014/main" id="{1F0F708D-9557-06BE-D976-13EF0C862BF8}"/>
              </a:ext>
            </a:extLst>
          </p:cNvPr>
          <p:cNvSpPr txBox="1"/>
          <p:nvPr/>
        </p:nvSpPr>
        <p:spPr>
          <a:xfrm>
            <a:off x="10545749" y="2259307"/>
            <a:ext cx="1543279" cy="10618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1965"/>
                </a:solidFill>
                <a:effectLst/>
                <a:uLnTx/>
                <a:uFillTx/>
                <a:latin typeface="Apis For Office"/>
                <a:ea typeface="+mn-ea"/>
                <a:cs typeface="+mn-cs"/>
              </a:rPr>
              <a:t>“…obesity has been declared a disease per se that results in impaired quality of life and reduced life expectancy…”</a:t>
            </a:r>
            <a:r>
              <a:rPr kumimoji="0" lang="en-GB" sz="1050" b="0" i="0" u="none" strike="noStrike" kern="1200" cap="none" spc="0" normalizeH="0" baseline="30000" noProof="0">
                <a:ln>
                  <a:noFill/>
                </a:ln>
                <a:solidFill>
                  <a:srgbClr val="001965"/>
                </a:solidFill>
                <a:effectLst/>
                <a:uLnTx/>
                <a:uFillTx/>
                <a:latin typeface="Apis For Office"/>
                <a:ea typeface="+mn-ea"/>
                <a:cs typeface="+mn-cs"/>
              </a:rPr>
              <a:t>10</a:t>
            </a:r>
            <a:endParaRPr kumimoji="0" lang="en-GB" sz="1050" b="0" i="0" u="none" strike="noStrike" kern="1200" cap="none" spc="0" normalizeH="0" baseline="0" noProof="0">
              <a:ln>
                <a:noFill/>
              </a:ln>
              <a:solidFill>
                <a:srgbClr val="001965"/>
              </a:solidFill>
              <a:effectLst/>
              <a:uLnTx/>
              <a:uFillTx/>
              <a:latin typeface="Apis For Office"/>
              <a:ea typeface="+mn-ea"/>
              <a:cs typeface="+mn-cs"/>
            </a:endParaRPr>
          </a:p>
        </p:txBody>
      </p:sp>
    </p:spTree>
    <p:extLst>
      <p:ext uri="{BB962C8B-B14F-4D97-AF65-F5344CB8AC3E}">
        <p14:creationId xmlns:p14="http://schemas.microsoft.com/office/powerpoint/2010/main" val="2860928994"/>
      </p:ext>
    </p:extLst>
  </p:cSld>
  <p:clrMapOvr>
    <a:masterClrMapping/>
  </p:clrMapOvr>
  <mc:AlternateContent xmlns:mc="http://schemas.openxmlformats.org/markup-compatibility/2006" xmlns:p14="http://schemas.microsoft.com/office/powerpoint/2010/main">
    <mc:Choice Requires="p14">
      <p:transition spd="slow" p14:dur="2000" advTm="231"/>
    </mc:Choice>
    <mc:Fallback xmlns="">
      <p:transition spd="slow" advTm="231"/>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600" dirty="0"/>
              <a:t>DIETARY: </a:t>
            </a:r>
          </a:p>
          <a:p>
            <a:endParaRPr lang="en-US" sz="1600" dirty="0"/>
          </a:p>
          <a:p>
            <a:r>
              <a:rPr lang="en-US" sz="1600" dirty="0"/>
              <a:t>Increase protein intake: 1-1.6g. 1kg weight </a:t>
            </a:r>
          </a:p>
          <a:p>
            <a:pPr>
              <a:buNone/>
            </a:pPr>
            <a:endParaRPr lang="en-US" sz="1600" dirty="0"/>
          </a:p>
          <a:p>
            <a:r>
              <a:rPr lang="en-US" sz="1600" dirty="0"/>
              <a:t>Decreased portion control, late night eating </a:t>
            </a:r>
          </a:p>
          <a:p>
            <a:pPr>
              <a:buNone/>
            </a:pPr>
            <a:endParaRPr lang="en-US" sz="1600" dirty="0"/>
          </a:p>
          <a:p>
            <a:r>
              <a:rPr lang="en-US" sz="1600" dirty="0"/>
              <a:t>Increased consumption of fruit and vegetables </a:t>
            </a:r>
          </a:p>
          <a:p>
            <a:endParaRPr lang="en-US" sz="1600" dirty="0"/>
          </a:p>
          <a:p>
            <a:r>
              <a:rPr lang="en-US" sz="1600" dirty="0"/>
              <a:t>Decreased alcohol consumption over weekends</a:t>
            </a:r>
          </a:p>
        </p:txBody>
      </p:sp>
      <p:sp>
        <p:nvSpPr>
          <p:cNvPr id="3" name="Title 2"/>
          <p:cNvSpPr>
            <a:spLocks noGrp="1"/>
          </p:cNvSpPr>
          <p:nvPr>
            <p:ph type="title"/>
          </p:nvPr>
        </p:nvSpPr>
        <p:spPr/>
        <p:txBody>
          <a:bodyPr/>
          <a:lstStyle/>
          <a:p>
            <a:pPr algn="ctr"/>
            <a:r>
              <a:rPr lang="en-US" dirty="0"/>
              <a:t>TREATMENT PLAN</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600" dirty="0"/>
              <a:t>Increase strength and resistance training. 4x a week.</a:t>
            </a:r>
          </a:p>
          <a:p>
            <a:endParaRPr lang="en-US" sz="1600" dirty="0"/>
          </a:p>
          <a:p>
            <a:r>
              <a:rPr lang="en-US" sz="1600" dirty="0"/>
              <a:t>Increase cardiac from 1x a week to 2x a week</a:t>
            </a:r>
          </a:p>
          <a:p>
            <a:endParaRPr lang="en-US" sz="1600" dirty="0"/>
          </a:p>
          <a:p>
            <a:endParaRPr lang="en-US" sz="1600" b="1" dirty="0">
              <a:effectLst>
                <a:outerShdw blurRad="38100" dist="38100" dir="2700000" algn="tl">
                  <a:srgbClr val="000000">
                    <a:alpha val="43137"/>
                  </a:srgbClr>
                </a:outerShdw>
              </a:effectLst>
            </a:endParaRPr>
          </a:p>
          <a:p>
            <a:pPr algn="just">
              <a:buNone/>
            </a:pPr>
            <a:r>
              <a:rPr lang="en-US" sz="1600" b="1" dirty="0">
                <a:solidFill>
                  <a:schemeClr val="tx1">
                    <a:lumMod val="65000"/>
                    <a:lumOff val="35000"/>
                  </a:schemeClr>
                </a:solidFill>
                <a:effectLst>
                  <a:outerShdw blurRad="38100" dist="38100" dir="2700000" algn="tl">
                    <a:srgbClr val="000000">
                      <a:alpha val="43137"/>
                    </a:srgbClr>
                  </a:outerShdw>
                </a:effectLst>
              </a:rPr>
              <a:t>				</a:t>
            </a:r>
            <a:r>
              <a:rPr lang="en-US" sz="2000" b="1" dirty="0">
                <a:solidFill>
                  <a:schemeClr val="tx1">
                    <a:lumMod val="65000"/>
                    <a:lumOff val="35000"/>
                  </a:schemeClr>
                </a:solidFill>
                <a:effectLst>
                  <a:outerShdw blurRad="38100" dist="38100" dir="2700000" algn="tl">
                    <a:srgbClr val="000000">
                      <a:alpha val="43137"/>
                    </a:srgbClr>
                  </a:outerShdw>
                </a:effectLst>
              </a:rPr>
              <a:t>PHARMACOTHERAPY</a:t>
            </a:r>
          </a:p>
          <a:p>
            <a:pPr algn="just">
              <a:buNone/>
            </a:pPr>
            <a:endParaRPr lang="en-US" sz="1600" b="1" dirty="0">
              <a:solidFill>
                <a:schemeClr val="tx1">
                  <a:lumMod val="65000"/>
                  <a:lumOff val="35000"/>
                </a:schemeClr>
              </a:solidFill>
              <a:effectLst>
                <a:outerShdw blurRad="38100" dist="38100" dir="2700000" algn="tl">
                  <a:srgbClr val="000000">
                    <a:alpha val="43137"/>
                  </a:srgbClr>
                </a:outerShdw>
              </a:effectLst>
            </a:endParaRPr>
          </a:p>
          <a:p>
            <a:pPr algn="just"/>
            <a:r>
              <a:rPr lang="en-US" sz="1600" dirty="0">
                <a:effectLst>
                  <a:outerShdw blurRad="38100" dist="38100" dir="2700000" algn="tl">
                    <a:srgbClr val="000000">
                      <a:alpha val="43137"/>
                    </a:srgbClr>
                  </a:outerShdw>
                </a:effectLst>
              </a:rPr>
              <a:t>Initiate Semaglutide 0.25mg o/w sc.</a:t>
            </a:r>
          </a:p>
          <a:p>
            <a:pPr algn="just"/>
            <a:endParaRPr lang="en-US" sz="1600" dirty="0">
              <a:effectLst>
                <a:outerShdw blurRad="38100" dist="38100" dir="2700000" algn="tl">
                  <a:srgbClr val="000000">
                    <a:alpha val="43137"/>
                  </a:srgbClr>
                </a:outerShdw>
              </a:effectLst>
            </a:endParaRPr>
          </a:p>
          <a:p>
            <a:pPr algn="just"/>
            <a:r>
              <a:rPr lang="en-US" sz="1600" dirty="0">
                <a:effectLst>
                  <a:outerShdw blurRad="38100" dist="38100" dir="2700000" algn="tl">
                    <a:srgbClr val="000000">
                      <a:alpha val="43137"/>
                    </a:srgbClr>
                  </a:outerShdw>
                </a:effectLst>
              </a:rPr>
              <a:t>Counseled re-adverse effects </a:t>
            </a:r>
            <a:endParaRPr lang="en-US" sz="1600" dirty="0"/>
          </a:p>
        </p:txBody>
      </p:sp>
      <p:sp>
        <p:nvSpPr>
          <p:cNvPr id="3" name="Title 2"/>
          <p:cNvSpPr>
            <a:spLocks noGrp="1"/>
          </p:cNvSpPr>
          <p:nvPr>
            <p:ph type="title"/>
          </p:nvPr>
        </p:nvSpPr>
        <p:spPr/>
        <p:txBody>
          <a:bodyPr/>
          <a:lstStyle/>
          <a:p>
            <a:pPr algn="ctr"/>
            <a:r>
              <a:rPr lang="en-US" dirty="0"/>
              <a:t>EXERCISE	</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24034" y="1071546"/>
            <a:ext cx="8229600" cy="5143536"/>
          </a:xfrm>
        </p:spPr>
        <p:txBody>
          <a:bodyPr>
            <a:normAutofit/>
          </a:bodyPr>
          <a:lstStyle/>
          <a:p>
            <a:pPr>
              <a:buNone/>
            </a:pPr>
            <a:r>
              <a:rPr lang="en-US" sz="1800" b="1" dirty="0">
                <a:effectLst>
                  <a:outerShdw blurRad="38100" dist="38100" dir="2700000" algn="tl">
                    <a:srgbClr val="000000">
                      <a:alpha val="43137"/>
                    </a:srgbClr>
                  </a:outerShdw>
                </a:effectLst>
              </a:rPr>
              <a:t>One month follow Up</a:t>
            </a:r>
          </a:p>
          <a:p>
            <a:pPr>
              <a:buNone/>
            </a:pPr>
            <a:endParaRPr lang="en-US" sz="1800" b="1" dirty="0">
              <a:effectLst>
                <a:outerShdw blurRad="38100" dist="38100" dir="2700000" algn="tl">
                  <a:srgbClr val="000000">
                    <a:alpha val="43137"/>
                  </a:srgbClr>
                </a:outerShdw>
              </a:effectLst>
            </a:endParaRPr>
          </a:p>
          <a:p>
            <a:r>
              <a:rPr lang="en-US" sz="1600" dirty="0">
                <a:effectLst>
                  <a:outerShdw blurRad="38100" dist="38100" dir="2700000" algn="tl">
                    <a:srgbClr val="000000">
                      <a:alpha val="43137"/>
                    </a:srgbClr>
                  </a:outerShdw>
                </a:effectLst>
              </a:rPr>
              <a:t>Travelling </a:t>
            </a:r>
          </a:p>
          <a:p>
            <a:pPr>
              <a:buNone/>
            </a:pPr>
            <a:endParaRPr lang="en-US" sz="1600" dirty="0">
              <a:effectLst>
                <a:outerShdw blurRad="38100" dist="38100" dir="2700000" algn="tl">
                  <a:srgbClr val="000000">
                    <a:alpha val="43137"/>
                  </a:srgbClr>
                </a:outerShdw>
              </a:effectLst>
            </a:endParaRPr>
          </a:p>
          <a:p>
            <a:pPr>
              <a:buNone/>
            </a:pPr>
            <a:r>
              <a:rPr lang="en-US" sz="1600" b="1" dirty="0">
                <a:effectLst>
                  <a:outerShdw blurRad="38100" dist="38100" dir="2700000" algn="tl">
                    <a:srgbClr val="000000">
                      <a:alpha val="43137"/>
                    </a:srgbClr>
                  </a:outerShdw>
                </a:effectLst>
              </a:rPr>
              <a:t>DIETARY</a:t>
            </a:r>
            <a:r>
              <a:rPr lang="en-US" sz="1600" dirty="0">
                <a:effectLst>
                  <a:outerShdw blurRad="38100" dist="38100" dir="2700000" algn="tl">
                    <a:srgbClr val="000000">
                      <a:alpha val="43137"/>
                    </a:srgbClr>
                  </a:outerShdw>
                </a:effectLst>
              </a:rPr>
              <a:t>: </a:t>
            </a:r>
            <a:r>
              <a:rPr lang="en-US" sz="1600" dirty="0"/>
              <a:t>Higher fat content foods – Cramps, Diarrhea</a:t>
            </a:r>
          </a:p>
          <a:p>
            <a:pPr>
              <a:buNone/>
            </a:pPr>
            <a:r>
              <a:rPr lang="en-US" sz="1600" dirty="0"/>
              <a:t>					 Decreased appetite, portion size </a:t>
            </a:r>
          </a:p>
          <a:p>
            <a:pPr>
              <a:buNone/>
            </a:pPr>
            <a:r>
              <a:rPr lang="en-US" sz="1600" dirty="0"/>
              <a:t>					 Decreased cravings</a:t>
            </a:r>
          </a:p>
          <a:p>
            <a:pPr>
              <a:buNone/>
            </a:pPr>
            <a:r>
              <a:rPr lang="en-US" sz="1600" dirty="0"/>
              <a:t>					 Decreased urge eating late night</a:t>
            </a:r>
          </a:p>
          <a:p>
            <a:pPr>
              <a:buNone/>
            </a:pPr>
            <a:endParaRPr lang="en-US" sz="1600" dirty="0"/>
          </a:p>
          <a:p>
            <a:pPr>
              <a:buNone/>
            </a:pPr>
            <a:r>
              <a:rPr lang="en-US" sz="1600" b="1" dirty="0">
                <a:effectLst>
                  <a:outerShdw blurRad="38100" dist="38100" dir="2700000" algn="tl">
                    <a:srgbClr val="000000">
                      <a:alpha val="43137"/>
                    </a:srgbClr>
                  </a:outerShdw>
                </a:effectLst>
              </a:rPr>
              <a:t>EXERCISE : </a:t>
            </a:r>
            <a:r>
              <a:rPr lang="en-US" sz="1600" dirty="0"/>
              <a:t>Difficult traveling </a:t>
            </a:r>
          </a:p>
          <a:p>
            <a:pPr>
              <a:buNone/>
            </a:pPr>
            <a:endParaRPr lang="en-US" sz="1600" dirty="0"/>
          </a:p>
          <a:p>
            <a:pPr>
              <a:buNone/>
            </a:pPr>
            <a:r>
              <a:rPr lang="en-US" sz="1600" dirty="0"/>
              <a:t>WT= 99.4 (lost 4.4kg) </a:t>
            </a:r>
          </a:p>
          <a:p>
            <a:pPr>
              <a:buNone/>
            </a:pPr>
            <a:endParaRPr lang="en-US" sz="1600" dirty="0"/>
          </a:p>
          <a:p>
            <a:pPr>
              <a:buNone/>
            </a:pPr>
            <a:r>
              <a:rPr lang="en-US" sz="1600" dirty="0"/>
              <a:t>P. Increased Semaglutide to 0.5mg  o/w sc </a:t>
            </a:r>
          </a:p>
          <a:p>
            <a:pPr>
              <a:buNone/>
            </a:pPr>
            <a:endParaRPr lang="en-US" sz="1600" dirty="0"/>
          </a:p>
          <a:p>
            <a:pPr>
              <a:buNone/>
            </a:pPr>
            <a:r>
              <a:rPr lang="en-US" sz="1600" dirty="0"/>
              <a:t>(Felt effect of GLP-1 had decreased in the last week)</a:t>
            </a:r>
          </a:p>
          <a:p>
            <a:pPr>
              <a:buNone/>
            </a:pPr>
            <a:endParaRPr lang="en-US" sz="1600" b="1" dirty="0">
              <a:effectLst>
                <a:outerShdw blurRad="38100" dist="38100" dir="2700000" algn="tl">
                  <a:srgbClr val="000000">
                    <a:alpha val="43137"/>
                  </a:srgbClr>
                </a:outerShdw>
              </a:effectLst>
            </a:endParaRPr>
          </a:p>
          <a:p>
            <a:pPr>
              <a:buNone/>
            </a:pPr>
            <a:endParaRPr lang="en-US" sz="1600" dirty="0"/>
          </a:p>
        </p:txBody>
      </p:sp>
      <p:sp>
        <p:nvSpPr>
          <p:cNvPr id="3" name="Title 2"/>
          <p:cNvSpPr>
            <a:spLocks noGrp="1"/>
          </p:cNvSpPr>
          <p:nvPr>
            <p:ph type="title"/>
          </p:nvPr>
        </p:nvSpPr>
        <p:spPr/>
        <p:txBody>
          <a:bodyPr>
            <a:normAutofit/>
          </a:bodyPr>
          <a:lstStyle/>
          <a:p>
            <a:pPr algn="ctr"/>
            <a:r>
              <a:rPr lang="en-US" sz="4000" dirty="0"/>
              <a:t>FOLLOW UP</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600" b="1" dirty="0">
                <a:effectLst>
                  <a:outerShdw blurRad="38100" dist="38100" dir="2700000" algn="tl">
                    <a:srgbClr val="000000">
                      <a:alpha val="43137"/>
                    </a:srgbClr>
                  </a:outerShdw>
                </a:effectLst>
              </a:rPr>
              <a:t>One month later: </a:t>
            </a:r>
            <a:r>
              <a:rPr lang="en-US" sz="1600" dirty="0"/>
              <a:t>Patient couldn’t come (Telephonic discussion, </a:t>
            </a:r>
            <a:r>
              <a:rPr lang="en-US" sz="1600" b="1" dirty="0"/>
              <a:t>↑ Semaglutide</a:t>
            </a:r>
            <a:r>
              <a:rPr lang="en-US" sz="1600" dirty="0"/>
              <a:t>1mg o/w sc. </a:t>
            </a:r>
          </a:p>
          <a:p>
            <a:endParaRPr lang="en-US" sz="1600" dirty="0"/>
          </a:p>
          <a:p>
            <a:r>
              <a:rPr lang="en-US" sz="1600" b="1" dirty="0">
                <a:effectLst>
                  <a:outerShdw blurRad="38100" dist="38100" dir="2700000" algn="tl">
                    <a:srgbClr val="000000">
                      <a:alpha val="43137"/>
                    </a:srgbClr>
                  </a:outerShdw>
                </a:effectLst>
              </a:rPr>
              <a:t>DIETARY: </a:t>
            </a:r>
            <a:r>
              <a:rPr lang="en-US" sz="1600" dirty="0"/>
              <a:t>Compliant, If consume high fat, sugary foods = Reflux, diarrhea</a:t>
            </a:r>
          </a:p>
          <a:p>
            <a:endParaRPr lang="en-US" sz="1600" dirty="0"/>
          </a:p>
          <a:p>
            <a:r>
              <a:rPr lang="en-US" sz="1600" b="1" dirty="0">
                <a:effectLst>
                  <a:outerShdw blurRad="38100" dist="38100" dir="2700000" algn="tl">
                    <a:srgbClr val="000000">
                      <a:alpha val="43137"/>
                    </a:srgbClr>
                  </a:outerShdw>
                </a:effectLst>
              </a:rPr>
              <a:t>EXERCISE: </a:t>
            </a:r>
            <a:r>
              <a:rPr lang="en-US" sz="1600" dirty="0"/>
              <a:t>Trainer: Strength and resistance 4-5 x a week. Cardiac 2x a week </a:t>
            </a:r>
          </a:p>
          <a:p>
            <a:endParaRPr lang="en-US" sz="1600" b="1" dirty="0">
              <a:effectLst>
                <a:outerShdw blurRad="38100" dist="38100" dir="2700000" algn="tl">
                  <a:srgbClr val="000000">
                    <a:alpha val="43137"/>
                  </a:srgbClr>
                </a:outerShdw>
              </a:effectLst>
            </a:endParaRPr>
          </a:p>
          <a:p>
            <a:r>
              <a:rPr lang="en-US" sz="1600" b="1" dirty="0">
                <a:effectLst>
                  <a:outerShdw blurRad="38100" dist="38100" dir="2700000" algn="tl">
                    <a:srgbClr val="000000">
                      <a:alpha val="43137"/>
                    </a:srgbClr>
                  </a:outerShdw>
                </a:effectLst>
              </a:rPr>
              <a:t>WT: 92.4</a:t>
            </a:r>
          </a:p>
          <a:p>
            <a:endParaRPr lang="en-US" sz="1600" b="1" dirty="0">
              <a:effectLst>
                <a:outerShdw blurRad="38100" dist="38100" dir="2700000" algn="tl">
                  <a:srgbClr val="000000">
                    <a:alpha val="43137"/>
                  </a:srgbClr>
                </a:outerShdw>
              </a:effectLst>
            </a:endParaRPr>
          </a:p>
          <a:p>
            <a:r>
              <a:rPr lang="en-US" sz="1600" dirty="0">
                <a:effectLst>
                  <a:outerShdw blurRad="38100" dist="38100" dir="2700000" algn="tl">
                    <a:srgbClr val="000000">
                      <a:alpha val="43137"/>
                    </a:srgbClr>
                  </a:outerShdw>
                </a:effectLst>
              </a:rPr>
              <a:t>P. Continue on Semaglutide 1mg o/w sc. </a:t>
            </a:r>
          </a:p>
          <a:p>
            <a:pPr lvl="6"/>
            <a:r>
              <a:rPr lang="en-US" dirty="0">
                <a:effectLst>
                  <a:outerShdw blurRad="38100" dist="38100" dir="2700000" algn="tl">
                    <a:srgbClr val="000000">
                      <a:alpha val="43137"/>
                    </a:srgbClr>
                  </a:outerShdw>
                </a:effectLst>
              </a:rPr>
              <a:t> </a:t>
            </a:r>
            <a:r>
              <a:rPr lang="en-US" dirty="0" err="1">
                <a:effectLst>
                  <a:outerShdw blurRad="38100" dist="38100" dir="2700000" algn="tl">
                    <a:srgbClr val="000000">
                      <a:alpha val="43137"/>
                    </a:srgbClr>
                  </a:outerShdw>
                </a:effectLst>
              </a:rPr>
              <a:t>Probiotic</a:t>
            </a:r>
            <a:r>
              <a:rPr lang="en-US" dirty="0">
                <a:effectLst>
                  <a:outerShdw blurRad="38100" dist="38100" dir="2700000" algn="tl">
                    <a:srgbClr val="000000">
                      <a:alpha val="43137"/>
                    </a:srgbClr>
                  </a:outerShdw>
                </a:effectLst>
              </a:rPr>
              <a:t> daily</a:t>
            </a:r>
          </a:p>
          <a:p>
            <a:pPr lvl="6"/>
            <a:r>
              <a:rPr lang="en-US" dirty="0">
                <a:effectLst>
                  <a:outerShdw blurRad="38100" dist="38100" dir="2700000" algn="tl">
                    <a:srgbClr val="000000">
                      <a:alpha val="43137"/>
                    </a:srgbClr>
                  </a:outerShdw>
                </a:effectLst>
              </a:rPr>
              <a:t> </a:t>
            </a:r>
            <a:r>
              <a:rPr lang="en-US" dirty="0" err="1">
                <a:effectLst>
                  <a:outerShdw blurRad="38100" dist="38100" dir="2700000" algn="tl">
                    <a:srgbClr val="000000">
                      <a:alpha val="43137"/>
                    </a:srgbClr>
                  </a:outerShdw>
                </a:effectLst>
              </a:rPr>
              <a:t>Creatine</a:t>
            </a:r>
            <a:r>
              <a:rPr lang="en-US" dirty="0">
                <a:effectLst>
                  <a:outerShdw blurRad="38100" dist="38100" dir="2700000" algn="tl">
                    <a:srgbClr val="000000">
                      <a:alpha val="43137"/>
                    </a:srgbClr>
                  </a:outerShdw>
                </a:effectLst>
              </a:rPr>
              <a:t> 5mg daily ( prescribed by trainer) </a:t>
            </a:r>
            <a:endParaRPr lang="en-US" dirty="0"/>
          </a:p>
          <a:p>
            <a:pPr>
              <a:buNone/>
            </a:pPr>
            <a:endParaRPr lang="en-US" sz="1600" dirty="0"/>
          </a:p>
          <a:p>
            <a:pPr>
              <a:buNone/>
            </a:pPr>
            <a:endParaRPr lang="en-US" sz="1600" dirty="0"/>
          </a:p>
          <a:p>
            <a:endParaRPr lang="en-US" sz="1600" dirty="0"/>
          </a:p>
          <a:p>
            <a:pPr>
              <a:buNone/>
            </a:pPr>
            <a:endParaRPr lang="en-US" sz="1600" dirty="0"/>
          </a:p>
        </p:txBody>
      </p:sp>
      <p:sp>
        <p:nvSpPr>
          <p:cNvPr id="3" name="Title 2"/>
          <p:cNvSpPr>
            <a:spLocks noGrp="1"/>
          </p:cNvSpPr>
          <p:nvPr>
            <p:ph type="title"/>
          </p:nvPr>
        </p:nvSpPr>
        <p:spPr/>
        <p:txBody>
          <a:bodyPr/>
          <a:lstStyle/>
          <a:p>
            <a:pPr algn="ctr"/>
            <a:r>
              <a:rPr lang="en-US" dirty="0"/>
              <a:t>	TWO MONTHS FOLLOW UP</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95472" y="1000108"/>
            <a:ext cx="8229600" cy="5500726"/>
          </a:xfrm>
        </p:spPr>
        <p:txBody>
          <a:bodyPr>
            <a:normAutofit/>
          </a:bodyPr>
          <a:lstStyle/>
          <a:p>
            <a:pPr>
              <a:buNone/>
            </a:pPr>
            <a:r>
              <a:rPr lang="en-US" sz="1600" dirty="0"/>
              <a:t>FOLLOW UP AFTER DECEMBER BREAK (3 MONTHS LATER)</a:t>
            </a:r>
          </a:p>
          <a:p>
            <a:pPr>
              <a:buNone/>
            </a:pPr>
            <a:endParaRPr lang="en-US" sz="1600" dirty="0"/>
          </a:p>
          <a:p>
            <a:r>
              <a:rPr lang="en-US" sz="1600" dirty="0"/>
              <a:t>Coastal Holiday: Self catering </a:t>
            </a:r>
          </a:p>
          <a:p>
            <a:endParaRPr lang="en-US" sz="1600" dirty="0"/>
          </a:p>
          <a:p>
            <a:r>
              <a:rPr lang="en-US" sz="1600" dirty="0"/>
              <a:t>Dietary ( Easier to follow a routine on holiday) </a:t>
            </a:r>
          </a:p>
          <a:p>
            <a:pPr lvl="4"/>
            <a:r>
              <a:rPr lang="en-US" sz="1600" dirty="0"/>
              <a:t>Focused on protein intake (1.5g/kg daily)</a:t>
            </a:r>
          </a:p>
          <a:p>
            <a:pPr lvl="4"/>
            <a:r>
              <a:rPr lang="en-US" sz="1600" dirty="0"/>
              <a:t>Smaller, more frequent meals. Snacking on protein snacks</a:t>
            </a:r>
          </a:p>
          <a:p>
            <a:pPr lvl="4"/>
            <a:r>
              <a:rPr lang="en-US" sz="1600" dirty="0"/>
              <a:t>Increased fresh fruit and vegetables</a:t>
            </a:r>
          </a:p>
          <a:p>
            <a:pPr lvl="4"/>
            <a:r>
              <a:rPr lang="en-US" sz="1600" dirty="0"/>
              <a:t>Increased H2O intake</a:t>
            </a:r>
          </a:p>
          <a:p>
            <a:pPr lvl="1">
              <a:buNone/>
            </a:pPr>
            <a:endParaRPr lang="en-US" sz="1600" dirty="0"/>
          </a:p>
          <a:p>
            <a:pPr lvl="1">
              <a:buNone/>
            </a:pPr>
            <a:r>
              <a:rPr lang="en-US" sz="1600" dirty="0"/>
              <a:t>Exercise (more time on holiday)</a:t>
            </a:r>
          </a:p>
          <a:p>
            <a:pPr lvl="1">
              <a:buNone/>
            </a:pPr>
            <a:r>
              <a:rPr lang="en-US" sz="1600" dirty="0"/>
              <a:t>Running 4x a week. Joined a gym. 4-5 x a week. Heavier weights</a:t>
            </a:r>
          </a:p>
          <a:p>
            <a:pPr lvl="1">
              <a:buNone/>
            </a:pPr>
            <a:endParaRPr lang="en-US" sz="1600" dirty="0"/>
          </a:p>
          <a:p>
            <a:pPr lvl="1"/>
            <a:endParaRPr lang="en-US" sz="1600" dirty="0"/>
          </a:p>
        </p:txBody>
      </p:sp>
      <p:sp>
        <p:nvSpPr>
          <p:cNvPr id="3" name="Title 2"/>
          <p:cNvSpPr>
            <a:spLocks noGrp="1"/>
          </p:cNvSpPr>
          <p:nvPr>
            <p:ph type="title"/>
          </p:nvPr>
        </p:nvSpPr>
        <p:spPr>
          <a:xfrm>
            <a:off x="2024034" y="0"/>
            <a:ext cx="8229600" cy="1143000"/>
          </a:xfrm>
        </p:spPr>
        <p:txBody>
          <a:bodyPr/>
          <a:lstStyle/>
          <a:p>
            <a:pPr algn="ctr"/>
            <a:r>
              <a:rPr lang="en-US" dirty="0"/>
              <a:t>FOLLOW UP (3 MONTHS LATER)</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endParaRPr lang="en-US" sz="1600" dirty="0"/>
          </a:p>
          <a:p>
            <a:pPr lvl="1"/>
            <a:r>
              <a:rPr lang="en-US" sz="1600" dirty="0"/>
              <a:t>Constipated since starting </a:t>
            </a:r>
            <a:r>
              <a:rPr lang="en-US" sz="1600" dirty="0" err="1"/>
              <a:t>creatine</a:t>
            </a:r>
            <a:r>
              <a:rPr lang="en-US" sz="1600" dirty="0"/>
              <a:t>. Using </a:t>
            </a:r>
            <a:r>
              <a:rPr lang="en-US" sz="1600" dirty="0" err="1"/>
              <a:t>Movicol</a:t>
            </a:r>
            <a:endParaRPr lang="en-US" sz="1600" dirty="0"/>
          </a:p>
          <a:p>
            <a:pPr lvl="1">
              <a:buNone/>
            </a:pPr>
            <a:endParaRPr lang="en-US" sz="1600" dirty="0"/>
          </a:p>
          <a:p>
            <a:pPr lvl="1"/>
            <a:r>
              <a:rPr lang="en-US" sz="1600" dirty="0"/>
              <a:t>WT = 86 (lost 6.4kg in 3 months </a:t>
            </a:r>
          </a:p>
          <a:p>
            <a:pPr lvl="1"/>
            <a:endParaRPr lang="en-US" sz="1600" dirty="0"/>
          </a:p>
          <a:p>
            <a:pPr lvl="1"/>
            <a:r>
              <a:rPr lang="en-US" sz="1600" dirty="0"/>
              <a:t>P. Increased Semaglutide to 1.7mg ow/sc (during the break) </a:t>
            </a:r>
          </a:p>
          <a:p>
            <a:pPr lvl="1"/>
            <a:r>
              <a:rPr lang="en-US" sz="1600" dirty="0"/>
              <a:t>	Increased Semaglutide to 2.4mg o/w sc </a:t>
            </a:r>
          </a:p>
          <a:p>
            <a:endParaRPr lang="en-US" sz="1600" dirty="0"/>
          </a:p>
          <a:p>
            <a:endParaRPr lang="en-US" sz="1600" dirty="0"/>
          </a:p>
          <a:p>
            <a:endParaRPr lang="en-US" sz="1600" dirty="0"/>
          </a:p>
          <a:p>
            <a:pPr>
              <a:buNone/>
            </a:pPr>
            <a:r>
              <a:rPr lang="en-US" sz="1600" b="1" dirty="0">
                <a:effectLst>
                  <a:outerShdw blurRad="38100" dist="38100" dir="2700000" algn="tl">
                    <a:srgbClr val="000000">
                      <a:alpha val="43137"/>
                    </a:srgbClr>
                  </a:outerShdw>
                </a:effectLst>
              </a:rPr>
              <a:t>ONE MONTH LATER</a:t>
            </a:r>
          </a:p>
          <a:p>
            <a:endParaRPr lang="en-US" sz="1600" dirty="0"/>
          </a:p>
          <a:p>
            <a:endParaRPr lang="en-US" sz="1600" dirty="0"/>
          </a:p>
          <a:p>
            <a:r>
              <a:rPr lang="en-US" sz="1600" dirty="0"/>
              <a:t>WT = 80.4kg </a:t>
            </a:r>
          </a:p>
          <a:p>
            <a:endParaRPr lang="en-US" sz="1600" dirty="0"/>
          </a:p>
          <a:p>
            <a:r>
              <a:rPr lang="en-US" sz="1600" dirty="0"/>
              <a:t>Body Composition Analyses done. </a:t>
            </a:r>
          </a:p>
        </p:txBody>
      </p:sp>
      <p:sp>
        <p:nvSpPr>
          <p:cNvPr id="3" name="Title 2"/>
          <p:cNvSpPr>
            <a:spLocks noGrp="1"/>
          </p:cNvSpPr>
          <p:nvPr>
            <p:ph type="title"/>
          </p:nvPr>
        </p:nvSpPr>
        <p:spPr/>
        <p:txBody>
          <a:bodyPr/>
          <a:lstStyle/>
          <a:p>
            <a:pPr algn="ctr"/>
            <a:r>
              <a:rPr lang="en-US" dirty="0"/>
              <a:t>FOLLOW UP</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dirty="0"/>
              <a:t>BODY COMPOSITION ANALYSIS</a:t>
            </a:r>
          </a:p>
        </p:txBody>
      </p:sp>
      <p:pic>
        <p:nvPicPr>
          <p:cNvPr id="1026" name="Picture 2"/>
          <p:cNvPicPr>
            <a:picLocks noGrp="1" noChangeAspect="1" noChangeArrowheads="1"/>
          </p:cNvPicPr>
          <p:nvPr>
            <p:ph idx="1"/>
          </p:nvPr>
        </p:nvPicPr>
        <p:blipFill>
          <a:blip r:embed="rId2" cstate="print"/>
          <a:srcRect/>
          <a:stretch>
            <a:fillRect/>
          </a:stretch>
        </p:blipFill>
        <p:spPr bwMode="auto">
          <a:xfrm>
            <a:off x="2095472" y="1000108"/>
            <a:ext cx="3786214" cy="5214974"/>
          </a:xfrm>
          <a:prstGeom prst="rect">
            <a:avLst/>
          </a:prstGeom>
          <a:noFill/>
          <a:ln w="9525">
            <a:noFill/>
            <a:miter lim="800000"/>
            <a:headEnd/>
            <a:tailEnd/>
          </a:ln>
          <a:effectLst/>
        </p:spPr>
      </p:pic>
      <p:pic>
        <p:nvPicPr>
          <p:cNvPr id="1028" name="Picture 4" descr="C:\Users\User\Downloads\WhatsApp Image 2026-04-10 at 12.15.35.jpeg"/>
          <p:cNvPicPr>
            <a:picLocks noChangeAspect="1" noChangeArrowheads="1"/>
          </p:cNvPicPr>
          <p:nvPr/>
        </p:nvPicPr>
        <p:blipFill>
          <a:blip r:embed="rId3"/>
          <a:srcRect/>
          <a:stretch>
            <a:fillRect/>
          </a:stretch>
        </p:blipFill>
        <p:spPr bwMode="auto">
          <a:xfrm>
            <a:off x="6096000" y="1071546"/>
            <a:ext cx="3643338" cy="5143536"/>
          </a:xfrm>
          <a:prstGeom prst="rect">
            <a:avLst/>
          </a:prstGeom>
          <a:noFill/>
        </p:spPr>
      </p:pic>
      <p:sp>
        <p:nvSpPr>
          <p:cNvPr id="2" name="TextBox 1">
            <a:extLst>
              <a:ext uri="{FF2B5EF4-FFF2-40B4-BE49-F238E27FC236}">
                <a16:creationId xmlns:a16="http://schemas.microsoft.com/office/drawing/2014/main" id="{C90A8DAC-0DDC-5224-7DF1-6E48760749B9}"/>
              </a:ext>
            </a:extLst>
          </p:cNvPr>
          <p:cNvSpPr txBox="1"/>
          <p:nvPr/>
        </p:nvSpPr>
        <p:spPr>
          <a:xfrm>
            <a:off x="2135560" y="1340768"/>
            <a:ext cx="2376264" cy="216024"/>
          </a:xfrm>
          <a:prstGeom prst="rect">
            <a:avLst/>
          </a:prstGeom>
          <a:solidFill>
            <a:schemeClr val="bg1"/>
          </a:solidFill>
        </p:spPr>
        <p:txBody>
          <a:bodyPr wrap="square" rtlCol="0">
            <a:spAutoFit/>
          </a:bodyPr>
          <a:lstStyle/>
          <a:p>
            <a:endParaRPr lang="en-GB" dirty="0"/>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F914908-A18E-514E-1752-230E2110A69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US" sz="100" b="0" i="0" u="none" strike="noStrike" kern="1200" cap="none" spc="0" normalizeH="0" baseline="0" noProof="0" smtClean="0">
                <a:ln>
                  <a:noFill/>
                </a:ln>
                <a:no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sz="100" b="0" i="0" u="none" strike="noStrike" kern="1200" cap="none" spc="0" normalizeH="0" baseline="0" noProof="0" dirty="0">
              <a:ln>
                <a:noFill/>
              </a:ln>
              <a:noFill/>
              <a:effectLst/>
              <a:uLnTx/>
              <a:uFillTx/>
              <a:latin typeface="Apis For Office"/>
              <a:ea typeface="+mn-ea"/>
              <a:cs typeface="+mn-cs"/>
            </a:endParaRPr>
          </a:p>
        </p:txBody>
      </p:sp>
      <p:pic>
        <p:nvPicPr>
          <p:cNvPr id="8" name="Graphic 7">
            <a:extLst>
              <a:ext uri="{FF2B5EF4-FFF2-40B4-BE49-F238E27FC236}">
                <a16:creationId xmlns:a16="http://schemas.microsoft.com/office/drawing/2014/main" id="{D2891C8C-A39A-0A7B-52DE-23BDCD3B8E3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22006" y="2637754"/>
            <a:ext cx="5947988" cy="1582492"/>
          </a:xfrm>
          <a:prstGeom prst="rect">
            <a:avLst/>
          </a:prstGeom>
        </p:spPr>
      </p:pic>
    </p:spTree>
    <p:extLst>
      <p:ext uri="{BB962C8B-B14F-4D97-AF65-F5344CB8AC3E}">
        <p14:creationId xmlns:p14="http://schemas.microsoft.com/office/powerpoint/2010/main" val="2546595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2887014-62FD-4786-8199-65D375EF2513}"/>
              </a:ext>
            </a:extLst>
          </p:cNvPr>
          <p:cNvSpPr txBox="1">
            <a:spLocks/>
          </p:cNvSpPr>
          <p:nvPr/>
        </p:nvSpPr>
        <p:spPr>
          <a:xfrm>
            <a:off x="7061526" y="1621517"/>
            <a:ext cx="5030537" cy="4350695"/>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1965"/>
              </a:buClr>
              <a:buSzTx/>
              <a:buFontTx/>
              <a:buNone/>
              <a:tabLst/>
              <a:defRPr/>
            </a:pPr>
            <a:r>
              <a:rPr lang="en-GB" sz="3600" b="1" dirty="0">
                <a:solidFill>
                  <a:srgbClr val="001965"/>
                </a:solidFill>
                <a:latin typeface="Apis For Office"/>
              </a:rPr>
              <a:t>P</a:t>
            </a:r>
            <a:r>
              <a:rPr kumimoji="0" lang="en-GB" sz="3600" b="1" i="0" u="none" strike="noStrike" kern="1200" cap="none" spc="0" normalizeH="0" baseline="0" noProof="0">
                <a:ln>
                  <a:noFill/>
                </a:ln>
                <a:solidFill>
                  <a:srgbClr val="001965"/>
                </a:solidFill>
                <a:effectLst/>
                <a:uLnTx/>
                <a:uFillTx/>
                <a:latin typeface="Apis For Office"/>
                <a:ea typeface="+mn-ea"/>
                <a:cs typeface="+mn-cs"/>
              </a:rPr>
              <a:t>lease </a:t>
            </a:r>
            <a:r>
              <a:rPr kumimoji="0" lang="en-GB" sz="3600" b="1" i="0" u="none" strike="noStrike" kern="1200" cap="none" spc="0" normalizeH="0" baseline="0" noProof="0" dirty="0">
                <a:ln>
                  <a:noFill/>
                </a:ln>
                <a:solidFill>
                  <a:srgbClr val="001965"/>
                </a:solidFill>
                <a:effectLst/>
                <a:uLnTx/>
                <a:uFillTx/>
                <a:latin typeface="Apis For Office"/>
                <a:ea typeface="+mn-ea"/>
                <a:cs typeface="+mn-cs"/>
              </a:rPr>
              <a:t>take a few moments to complete this evaluation form.</a:t>
            </a:r>
            <a:br>
              <a:rPr kumimoji="0" lang="en-GB" sz="3600" b="1" i="0" u="none" strike="noStrike" kern="1200" cap="none" spc="0" normalizeH="0" baseline="0" noProof="0" dirty="0">
                <a:ln>
                  <a:noFill/>
                </a:ln>
                <a:solidFill>
                  <a:srgbClr val="001965"/>
                </a:solidFill>
                <a:effectLst/>
                <a:uLnTx/>
                <a:uFillTx/>
                <a:latin typeface="Apis For Office"/>
                <a:ea typeface="+mn-ea"/>
                <a:cs typeface="+mn-cs"/>
              </a:rPr>
            </a:br>
            <a:br>
              <a:rPr kumimoji="0" lang="tr-TR" sz="3600" b="1" i="0" u="none" strike="noStrike" kern="1200" cap="none" spc="0" normalizeH="0" baseline="0" noProof="0" dirty="0">
                <a:ln>
                  <a:noFill/>
                </a:ln>
                <a:solidFill>
                  <a:srgbClr val="001965"/>
                </a:solidFill>
                <a:effectLst/>
                <a:uLnTx/>
                <a:uFillTx/>
                <a:latin typeface="Apis For Office"/>
                <a:ea typeface="+mn-ea"/>
                <a:cs typeface="+mn-cs"/>
              </a:rPr>
            </a:br>
            <a:r>
              <a:rPr kumimoji="0" lang="en-GB" sz="3600" b="1" i="0" u="none" strike="noStrike" kern="1200" cap="none" spc="0" normalizeH="0" baseline="0" noProof="0" dirty="0">
                <a:ln>
                  <a:noFill/>
                </a:ln>
                <a:solidFill>
                  <a:srgbClr val="001965"/>
                </a:solidFill>
                <a:effectLst/>
                <a:uLnTx/>
                <a:uFillTx/>
                <a:latin typeface="Apis For Office"/>
                <a:ea typeface="+mn-ea"/>
                <a:cs typeface="+mn-cs"/>
              </a:rPr>
              <a:t>We appreciate your comments</a:t>
            </a:r>
          </a:p>
        </p:txBody>
      </p:sp>
      <p:pic>
        <p:nvPicPr>
          <p:cNvPr id="3" name="Picture 2">
            <a:extLst>
              <a:ext uri="{FF2B5EF4-FFF2-40B4-BE49-F238E27FC236}">
                <a16:creationId xmlns:a16="http://schemas.microsoft.com/office/drawing/2014/main" id="{BEDE8943-7217-7677-1A9A-296B097DC3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0" y="6077"/>
            <a:ext cx="6858000" cy="6858000"/>
          </a:xfrm>
          <a:prstGeom prst="rect">
            <a:avLst/>
          </a:prstGeom>
        </p:spPr>
      </p:pic>
      <p:sp>
        <p:nvSpPr>
          <p:cNvPr id="4" name="TextBox 3">
            <a:extLst>
              <a:ext uri="{FF2B5EF4-FFF2-40B4-BE49-F238E27FC236}">
                <a16:creationId xmlns:a16="http://schemas.microsoft.com/office/drawing/2014/main" id="{BA8F2F08-0D70-A1A7-F191-8AF88CD6A5D4}"/>
              </a:ext>
            </a:extLst>
          </p:cNvPr>
          <p:cNvSpPr txBox="1"/>
          <p:nvPr/>
        </p:nvSpPr>
        <p:spPr>
          <a:xfrm>
            <a:off x="119336" y="6250898"/>
            <a:ext cx="6281928" cy="507831"/>
          </a:xfrm>
          <a:prstGeom prst="rect">
            <a:avLst/>
          </a:prstGeom>
          <a:noFill/>
        </p:spPr>
        <p:txBody>
          <a:bodyPr wrap="square">
            <a:spAutoFit/>
          </a:bodyPr>
          <a:lstStyle/>
          <a:p>
            <a:r>
              <a:rPr lang="en-ZA" sz="900" dirty="0">
                <a:solidFill>
                  <a:srgbClr val="FFFFFF"/>
                </a:solidFill>
              </a:rPr>
              <a:t>Novo Nordisk (Pty) Ltd. Reg. No.: 1959/000833/07. 90 Grayston Drive, Sandown, Sandton, 2031, Gauteng</a:t>
            </a:r>
          </a:p>
          <a:p>
            <a:endParaRPr lang="en-ZA" sz="900" dirty="0">
              <a:solidFill>
                <a:srgbClr val="FFFFFF"/>
              </a:solidFill>
            </a:endParaRPr>
          </a:p>
          <a:p>
            <a:r>
              <a:rPr lang="en-ZA" sz="900" dirty="0">
                <a:solidFill>
                  <a:srgbClr val="FFFFFF"/>
                </a:solidFill>
              </a:rPr>
              <a:t>Tel: (011) 202 0500 Fax: (011) 807 7989. www.novonordisk.com. ZA26OB00261 April 2025</a:t>
            </a:r>
          </a:p>
        </p:txBody>
      </p:sp>
      <p:sp>
        <p:nvSpPr>
          <p:cNvPr id="6" name="TextBox 5">
            <a:extLst>
              <a:ext uri="{FF2B5EF4-FFF2-40B4-BE49-F238E27FC236}">
                <a16:creationId xmlns:a16="http://schemas.microsoft.com/office/drawing/2014/main" id="{680A5234-8EF8-BECD-D24A-99CD72CA32FC}"/>
              </a:ext>
            </a:extLst>
          </p:cNvPr>
          <p:cNvSpPr txBox="1"/>
          <p:nvPr/>
        </p:nvSpPr>
        <p:spPr>
          <a:xfrm>
            <a:off x="127817" y="5972212"/>
            <a:ext cx="6281928" cy="369332"/>
          </a:xfrm>
          <a:prstGeom prst="rect">
            <a:avLst/>
          </a:prstGeom>
          <a:noFill/>
        </p:spPr>
        <p:txBody>
          <a:bodyPr wrap="square">
            <a:spAutoFit/>
          </a:bodyPr>
          <a:lstStyle/>
          <a:p>
            <a:r>
              <a:rPr lang="en-US" sz="900" dirty="0">
                <a:solidFill>
                  <a:srgbClr val="FFFFFF"/>
                </a:solidFill>
              </a:rPr>
              <a:t>90 Grayston Drive, Sandown, Sandton, 2031,Gauteng </a:t>
            </a:r>
          </a:p>
          <a:p>
            <a:r>
              <a:rPr lang="en-ZA" sz="900" dirty="0">
                <a:solidFill>
                  <a:srgbClr val="FFFFFF"/>
                </a:solidFill>
              </a:rPr>
              <a:t>ZA26OB00261 </a:t>
            </a:r>
            <a:r>
              <a:rPr lang="en-US" sz="900" dirty="0">
                <a:solidFill>
                  <a:srgbClr val="FFFFFF"/>
                </a:solidFill>
              </a:rPr>
              <a:t>April 2025</a:t>
            </a:r>
            <a:endParaRPr lang="en-ZA" sz="900" dirty="0">
              <a:solidFill>
                <a:srgbClr val="FFFFFF"/>
              </a:solidFill>
            </a:endParaRPr>
          </a:p>
        </p:txBody>
      </p:sp>
    </p:spTree>
    <p:extLst>
      <p:ext uri="{BB962C8B-B14F-4D97-AF65-F5344CB8AC3E}">
        <p14:creationId xmlns:p14="http://schemas.microsoft.com/office/powerpoint/2010/main" val="246258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2F374-5AB0-4845-A9B9-41500D4AF13F}"/>
              </a:ext>
            </a:extLst>
          </p:cNvPr>
          <p:cNvSpPr>
            <a:spLocks noGrp="1"/>
          </p:cNvSpPr>
          <p:nvPr>
            <p:ph type="title"/>
          </p:nvPr>
        </p:nvSpPr>
        <p:spPr/>
        <p:txBody>
          <a:bodyPr/>
          <a:lstStyle/>
          <a:p>
            <a:r>
              <a:rPr lang="en-US" dirty="0"/>
              <a:t>Prevalence of obesity</a:t>
            </a:r>
            <a:endParaRPr lang="en-GB" dirty="0"/>
          </a:p>
        </p:txBody>
      </p:sp>
      <p:sp>
        <p:nvSpPr>
          <p:cNvPr id="4" name="Text Placeholder 3">
            <a:extLst>
              <a:ext uri="{FF2B5EF4-FFF2-40B4-BE49-F238E27FC236}">
                <a16:creationId xmlns:a16="http://schemas.microsoft.com/office/drawing/2014/main" id="{F334D68D-1E00-43F0-85A8-5599F31D2DDC}"/>
              </a:ext>
            </a:extLst>
          </p:cNvPr>
          <p:cNvSpPr>
            <a:spLocks noGrp="1"/>
          </p:cNvSpPr>
          <p:nvPr>
            <p:ph type="body" sz="quarter" idx="13"/>
          </p:nvPr>
        </p:nvSpPr>
        <p:spPr>
          <a:xfrm>
            <a:off x="287144" y="6832642"/>
            <a:ext cx="8652000" cy="324000"/>
          </a:xfrm>
        </p:spPr>
        <p:txBody>
          <a:bodyPr/>
          <a:lstStyle/>
          <a:p>
            <a:pPr>
              <a:spcBef>
                <a:spcPts val="0"/>
              </a:spcBef>
              <a:spcAft>
                <a:spcPts val="0"/>
              </a:spcAft>
            </a:pPr>
            <a:r>
              <a:rPr lang="en-US" sz="700" dirty="0"/>
              <a:t>BMI, body mass index; bn, billion.</a:t>
            </a:r>
            <a:br>
              <a:rPr lang="en-US" sz="700" dirty="0"/>
            </a:br>
            <a:r>
              <a:rPr lang="en-US" sz="700" dirty="0"/>
              <a:t>1. </a:t>
            </a:r>
            <a:r>
              <a:rPr lang="en-ZA" sz="700" dirty="0"/>
              <a:t>NCD Risk Factor Collaboration (NCD-</a:t>
            </a:r>
            <a:r>
              <a:rPr lang="en-ZA" sz="700" dirty="0" err="1"/>
              <a:t>RisC</a:t>
            </a:r>
            <a:r>
              <a:rPr lang="en-ZA" sz="700" dirty="0"/>
              <a:t>). Worldwide trends in underweight and obesity from 1990 to 2022: a pooled analysis of 3663 population-representative studies with 222 million children, adolescents, and adults. Lancet. 2024 Mar 16;403(10431):1027-1050. </a:t>
            </a:r>
            <a:r>
              <a:rPr lang="en-ZA" sz="700" dirty="0" err="1"/>
              <a:t>doi</a:t>
            </a:r>
            <a:r>
              <a:rPr lang="en-ZA" sz="700" dirty="0"/>
              <a:t>: 10.1016/S0140-6736(23)02750-2. </a:t>
            </a:r>
            <a:r>
              <a:rPr lang="en-ZA" sz="700" dirty="0" err="1"/>
              <a:t>Epub</a:t>
            </a:r>
            <a:r>
              <a:rPr lang="en-ZA" sz="700" dirty="0"/>
              <a:t> 2024 Feb 29. PMID: 38432237; PMCID: </a:t>
            </a:r>
            <a:r>
              <a:rPr lang="en-ZA" sz="700"/>
              <a:t>PMC7615769.</a:t>
            </a:r>
          </a:p>
          <a:p>
            <a:pPr>
              <a:spcBef>
                <a:spcPts val="0"/>
              </a:spcBef>
              <a:spcAft>
                <a:spcPts val="0"/>
              </a:spcAft>
            </a:pPr>
            <a:r>
              <a:rPr lang="en-US" sz="700"/>
              <a:t>2</a:t>
            </a:r>
            <a:r>
              <a:rPr lang="en-US" sz="700" dirty="0"/>
              <a:t>. </a:t>
            </a:r>
            <a:r>
              <a:rPr lang="en-ZA" sz="700" dirty="0"/>
              <a:t> </a:t>
            </a:r>
            <a:r>
              <a:rPr lang="en-ZA" sz="700" dirty="0" err="1"/>
              <a:t>Lobstein</a:t>
            </a:r>
            <a:r>
              <a:rPr lang="en-ZA" sz="700" dirty="0"/>
              <a:t> T, </a:t>
            </a:r>
            <a:r>
              <a:rPr lang="en-ZA" sz="700" dirty="0" err="1"/>
              <a:t>Brinsden</a:t>
            </a:r>
            <a:r>
              <a:rPr lang="en-ZA" sz="700" dirty="0"/>
              <a:t> H. Obesity: Missing the 2025 global targets – Trends, costs and country reports. [cited 2020 March]. Available from http://s3-eu-west-1.amazonaws.com/wof-files/WOF_Missing_the_2025_Global_Targets_Report_FINAL_WEB.pdf [Ref list]</a:t>
            </a:r>
          </a:p>
          <a:p>
            <a:pPr>
              <a:spcBef>
                <a:spcPts val="0"/>
              </a:spcBef>
              <a:spcAft>
                <a:spcPts val="0"/>
              </a:spcAft>
            </a:pPr>
            <a:r>
              <a:rPr lang="en-ZA" sz="700" dirty="0"/>
              <a:t>3. Nwosu E, </a:t>
            </a:r>
            <a:r>
              <a:rPr lang="en-ZA" sz="700" dirty="0" err="1"/>
              <a:t>Fismen</a:t>
            </a:r>
            <a:r>
              <a:rPr lang="en-ZA" sz="700" dirty="0"/>
              <a:t> AS, </a:t>
            </a:r>
            <a:r>
              <a:rPr lang="en-ZA" sz="700" dirty="0" err="1"/>
              <a:t>Helleve</a:t>
            </a:r>
            <a:r>
              <a:rPr lang="en-ZA" sz="700" dirty="0"/>
              <a:t> A, </a:t>
            </a:r>
            <a:r>
              <a:rPr lang="en-ZA" sz="700" dirty="0" err="1"/>
              <a:t>Hongoro</a:t>
            </a:r>
            <a:r>
              <a:rPr lang="en-ZA" sz="700" dirty="0"/>
              <a:t> C, </a:t>
            </a:r>
            <a:r>
              <a:rPr lang="en-ZA" sz="700" dirty="0" err="1"/>
              <a:t>Sewpaul</a:t>
            </a:r>
            <a:r>
              <a:rPr lang="en-ZA" sz="700" dirty="0"/>
              <a:t> R, Reddy P, Alaba O, </a:t>
            </a:r>
            <a:r>
              <a:rPr lang="en-ZA" sz="700" dirty="0" err="1"/>
              <a:t>Harbron</a:t>
            </a:r>
            <a:r>
              <a:rPr lang="en-ZA" sz="700" dirty="0"/>
              <a:t> J. Trends in prevalence of overweight and obesity among South African and European adolescents: a comparative outlook. BMC Public Health. 2022 Dec 6;22(1):2287. </a:t>
            </a:r>
            <a:r>
              <a:rPr lang="en-ZA" sz="700" dirty="0" err="1"/>
              <a:t>doi</a:t>
            </a:r>
            <a:r>
              <a:rPr lang="en-ZA" sz="700" dirty="0"/>
              <a:t>: 10.1186/s12889-022-14724-2. PMID: 36474229; PMCID: PMC9727950.</a:t>
            </a:r>
          </a:p>
          <a:p>
            <a:endParaRPr lang="en-US" dirty="0"/>
          </a:p>
          <a:p>
            <a:endParaRPr lang="en-US" dirty="0"/>
          </a:p>
        </p:txBody>
      </p:sp>
      <p:grpSp>
        <p:nvGrpSpPr>
          <p:cNvPr id="25" name="Group 24">
            <a:extLst>
              <a:ext uri="{FF2B5EF4-FFF2-40B4-BE49-F238E27FC236}">
                <a16:creationId xmlns:a16="http://schemas.microsoft.com/office/drawing/2014/main" id="{D3361109-239F-4755-BFE3-EBD791FD3506}"/>
              </a:ext>
            </a:extLst>
          </p:cNvPr>
          <p:cNvGrpSpPr/>
          <p:nvPr/>
        </p:nvGrpSpPr>
        <p:grpSpPr>
          <a:xfrm>
            <a:off x="549501" y="1339010"/>
            <a:ext cx="7015573" cy="4455755"/>
            <a:chOff x="5167145" y="1378671"/>
            <a:chExt cx="6736388" cy="4278438"/>
          </a:xfrm>
        </p:grpSpPr>
        <p:grpSp>
          <p:nvGrpSpPr>
            <p:cNvPr id="26" name="Group 25">
              <a:extLst>
                <a:ext uri="{FF2B5EF4-FFF2-40B4-BE49-F238E27FC236}">
                  <a16:creationId xmlns:a16="http://schemas.microsoft.com/office/drawing/2014/main" id="{663AE654-14C6-44C0-862A-94A9A579468A}"/>
                </a:ext>
              </a:extLst>
            </p:cNvPr>
            <p:cNvGrpSpPr/>
            <p:nvPr/>
          </p:nvGrpSpPr>
          <p:grpSpPr>
            <a:xfrm>
              <a:off x="5808738" y="1841440"/>
              <a:ext cx="5531704" cy="3759674"/>
              <a:chOff x="1737482" y="1580184"/>
              <a:chExt cx="5531704" cy="3759674"/>
            </a:xfrm>
          </p:grpSpPr>
          <p:sp>
            <p:nvSpPr>
              <p:cNvPr id="33" name="Rectangle 32">
                <a:extLst>
                  <a:ext uri="{FF2B5EF4-FFF2-40B4-BE49-F238E27FC236}">
                    <a16:creationId xmlns:a16="http://schemas.microsoft.com/office/drawing/2014/main" id="{E4AFF9AB-0B8C-4B34-B776-438C6A10CE96}"/>
                  </a:ext>
                </a:extLst>
              </p:cNvPr>
              <p:cNvSpPr/>
              <p:nvPr/>
            </p:nvSpPr>
            <p:spPr>
              <a:xfrm>
                <a:off x="1737482" y="1580184"/>
                <a:ext cx="5531704" cy="37596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is"/>
                  <a:ea typeface="+mn-ea"/>
                  <a:cs typeface="+mn-cs"/>
                </a:endParaRPr>
              </a:p>
            </p:txBody>
          </p:sp>
          <p:pic>
            <p:nvPicPr>
              <p:cNvPr id="34" name="Picture 33" descr="A picture containing person&#10;&#10;Description automatically generated">
                <a:extLst>
                  <a:ext uri="{FF2B5EF4-FFF2-40B4-BE49-F238E27FC236}">
                    <a16:creationId xmlns:a16="http://schemas.microsoft.com/office/drawing/2014/main" id="{88E05A81-98EF-45BF-B3C0-73015D82D5D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00931" y="2093401"/>
                <a:ext cx="5404806" cy="2733240"/>
              </a:xfrm>
              <a:prstGeom prst="rect">
                <a:avLst/>
              </a:prstGeom>
              <a:solidFill>
                <a:srgbClr val="001965"/>
              </a:solidFill>
            </p:spPr>
          </p:pic>
        </p:grpSp>
        <p:sp>
          <p:nvSpPr>
            <p:cNvPr id="27" name="Lightning Bolt 26">
              <a:extLst>
                <a:ext uri="{FF2B5EF4-FFF2-40B4-BE49-F238E27FC236}">
                  <a16:creationId xmlns:a16="http://schemas.microsoft.com/office/drawing/2014/main" id="{BE465556-2692-455C-917D-E20082BBA3B9}"/>
                </a:ext>
              </a:extLst>
            </p:cNvPr>
            <p:cNvSpPr/>
            <p:nvPr/>
          </p:nvSpPr>
          <p:spPr>
            <a:xfrm rot="20737042" flipH="1">
              <a:off x="11608214" y="5294917"/>
              <a:ext cx="295319" cy="362192"/>
            </a:xfrm>
            <a:prstGeom prst="lightningBol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is"/>
                <a:ea typeface="+mn-ea"/>
                <a:cs typeface="+mn-cs"/>
              </a:endParaRPr>
            </a:p>
          </p:txBody>
        </p:sp>
        <p:sp>
          <p:nvSpPr>
            <p:cNvPr id="28" name="Oval 27">
              <a:extLst>
                <a:ext uri="{FF2B5EF4-FFF2-40B4-BE49-F238E27FC236}">
                  <a16:creationId xmlns:a16="http://schemas.microsoft.com/office/drawing/2014/main" id="{58E2B803-F53C-4EB2-B9F5-3AA6B9DCB329}"/>
                </a:ext>
              </a:extLst>
            </p:cNvPr>
            <p:cNvSpPr/>
            <p:nvPr/>
          </p:nvSpPr>
          <p:spPr>
            <a:xfrm>
              <a:off x="5167145" y="1378671"/>
              <a:ext cx="2400000" cy="2400000"/>
            </a:xfrm>
            <a:prstGeom prst="ellipse">
              <a:avLst/>
            </a:prstGeom>
            <a:solidFill>
              <a:srgbClr val="FFFFFF"/>
            </a:solidFill>
            <a:ln w="317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CA" sz="2667" b="0" i="0" u="none" strike="noStrike" kern="1200" cap="none" spc="0" normalizeH="0" baseline="0" noProof="0">
                <a:ln>
                  <a:noFill/>
                </a:ln>
                <a:solidFill>
                  <a:srgbClr val="FFFFFF"/>
                </a:solidFill>
                <a:effectLst/>
                <a:uLnTx/>
                <a:uFillTx/>
                <a:latin typeface="Apis"/>
                <a:ea typeface="+mn-ea"/>
                <a:cs typeface="+mn-cs"/>
              </a:endParaRPr>
            </a:p>
          </p:txBody>
        </p:sp>
        <p:sp>
          <p:nvSpPr>
            <p:cNvPr id="32" name="TextBox 31">
              <a:extLst>
                <a:ext uri="{FF2B5EF4-FFF2-40B4-BE49-F238E27FC236}">
                  <a16:creationId xmlns:a16="http://schemas.microsoft.com/office/drawing/2014/main" id="{A1105F31-C941-4B5A-B036-F7446E5DDD25}"/>
                </a:ext>
              </a:extLst>
            </p:cNvPr>
            <p:cNvSpPr txBox="1"/>
            <p:nvPr/>
          </p:nvSpPr>
          <p:spPr>
            <a:xfrm>
              <a:off x="5456555" y="1508452"/>
              <a:ext cx="1821180" cy="2048998"/>
            </a:xfrm>
            <a:prstGeom prst="rect">
              <a:avLst/>
            </a:prstGeom>
            <a:noFill/>
          </p:spPr>
          <p:txBody>
            <a:bodyPr wrap="square" lIns="0" tIns="0" rIns="0" bIns="0" rtlCol="0" anchor="ctr" anchorCtr="0">
              <a:noAutofit/>
            </a:bodyPr>
            <a:lstStyle/>
            <a:p>
              <a:pPr marL="0" marR="0" lvl="0" indent="0" algn="ctr" defTabSz="913652"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3B97DE"/>
                  </a:solidFill>
                  <a:effectLst/>
                  <a:uLnTx/>
                  <a:uFillTx/>
                  <a:latin typeface="Apis For Office"/>
                  <a:ea typeface="Apis Black" panose="020B0A04010101010104" pitchFamily="34" charset="0"/>
                  <a:cs typeface="Apis Black" panose="020B0A04010101010104" pitchFamily="34" charset="0"/>
                </a:rPr>
                <a:t>1bn</a:t>
              </a:r>
              <a:br>
                <a:rPr kumimoji="0" lang="en-GB" sz="5867" b="0" i="0" u="none" strike="noStrike" kern="1200" cap="none" spc="0" normalizeH="0" baseline="0" noProof="0" dirty="0">
                  <a:ln>
                    <a:noFill/>
                  </a:ln>
                  <a:solidFill>
                    <a:srgbClr val="005AD2"/>
                  </a:solidFill>
                  <a:effectLst/>
                  <a:uLnTx/>
                  <a:uFillTx/>
                  <a:latin typeface="Apis For Office"/>
                  <a:ea typeface="Apis Black" panose="020B0A04010101010104" pitchFamily="34" charset="0"/>
                  <a:cs typeface="Apis Black" panose="020B0A04010101010104" pitchFamily="34" charset="0"/>
                </a:rPr>
              </a:br>
              <a:r>
                <a:rPr kumimoji="0" lang="en-GB" sz="1800" b="0" i="0" u="none" strike="noStrike" kern="1200" cap="none" spc="0" normalizeH="0" baseline="0" noProof="0" dirty="0">
                  <a:ln>
                    <a:noFill/>
                  </a:ln>
                  <a:solidFill>
                    <a:srgbClr val="001965"/>
                  </a:solidFill>
                  <a:effectLst/>
                  <a:uLnTx/>
                  <a:uFillTx/>
                  <a:latin typeface="Apis For Office"/>
                  <a:ea typeface="+mn-ea"/>
                  <a:cs typeface="+mn-cs"/>
                </a:rPr>
                <a:t>people </a:t>
              </a:r>
              <a:br>
                <a:rPr kumimoji="0" lang="en-GB" sz="1800" b="0" i="0" u="none" strike="noStrike" kern="1200" cap="none" spc="0" normalizeH="0" baseline="0" noProof="0" dirty="0">
                  <a:ln>
                    <a:noFill/>
                  </a:ln>
                  <a:solidFill>
                    <a:srgbClr val="001965"/>
                  </a:solidFill>
                  <a:effectLst/>
                  <a:uLnTx/>
                  <a:uFillTx/>
                  <a:latin typeface="Apis For Office"/>
                  <a:ea typeface="+mn-ea"/>
                  <a:cs typeface="+mn-cs"/>
                </a:rPr>
              </a:br>
              <a:r>
                <a:rPr kumimoji="0" lang="en-GB" sz="1800" b="0" i="0" u="none" strike="noStrike" kern="1200" cap="none" spc="0" normalizeH="0" baseline="0" noProof="0" dirty="0">
                  <a:ln>
                    <a:noFill/>
                  </a:ln>
                  <a:solidFill>
                    <a:srgbClr val="001965"/>
                  </a:solidFill>
                  <a:effectLst/>
                  <a:uLnTx/>
                  <a:uFillTx/>
                  <a:latin typeface="Apis For Office"/>
                  <a:ea typeface="+mn-ea"/>
                  <a:cs typeface="+mn-cs"/>
                </a:rPr>
                <a:t>with </a:t>
              </a:r>
              <a:r>
                <a:rPr kumimoji="0" lang="en-GB" sz="1800" b="1" i="0" u="none" strike="noStrike" kern="1200" cap="none" spc="0" normalizeH="0" baseline="0" noProof="0" dirty="0">
                  <a:ln>
                    <a:noFill/>
                  </a:ln>
                  <a:solidFill>
                    <a:srgbClr val="3B97DE"/>
                  </a:solidFill>
                  <a:effectLst/>
                  <a:uLnTx/>
                  <a:uFillTx/>
                  <a:latin typeface="Apis For Office"/>
                  <a:ea typeface="+mn-ea"/>
                  <a:cs typeface="+mn-cs"/>
                </a:rPr>
                <a:t>obesity</a:t>
              </a:r>
              <a:r>
                <a:rPr kumimoji="0" lang="en-GB" sz="1800" b="0" i="0" u="none" strike="noStrike" kern="1200" cap="none" spc="0" normalizeH="0" baseline="0" noProof="0" dirty="0">
                  <a:ln>
                    <a:noFill/>
                  </a:ln>
                  <a:solidFill>
                    <a:srgbClr val="3B97DE"/>
                  </a:solidFill>
                  <a:effectLst/>
                  <a:uLnTx/>
                  <a:uFillTx/>
                  <a:latin typeface="Apis For Office"/>
                  <a:ea typeface="+mn-ea"/>
                  <a:cs typeface="+mn-cs"/>
                </a:rPr>
                <a:t> </a:t>
              </a:r>
              <a:br>
                <a:rPr kumimoji="0" lang="en-GB" sz="1800" b="0" i="0" u="none" strike="noStrike" kern="1200" cap="none" spc="0" normalizeH="0" baseline="0" noProof="0" dirty="0">
                  <a:ln>
                    <a:noFill/>
                  </a:ln>
                  <a:solidFill>
                    <a:srgbClr val="3B97DE"/>
                  </a:solidFill>
                  <a:effectLst/>
                  <a:uLnTx/>
                  <a:uFillTx/>
                  <a:latin typeface="Apis For Office"/>
                  <a:ea typeface="+mn-ea"/>
                  <a:cs typeface="+mn-cs"/>
                </a:rPr>
              </a:br>
              <a:r>
                <a:rPr kumimoji="0" lang="en-GB" sz="1800" b="0" i="0" u="none" strike="noStrike" kern="1200" cap="none" spc="0" normalizeH="0" baseline="0" noProof="0" dirty="0">
                  <a:ln>
                    <a:noFill/>
                  </a:ln>
                  <a:solidFill>
                    <a:srgbClr val="001965"/>
                  </a:solidFill>
                  <a:effectLst/>
                  <a:uLnTx/>
                  <a:uFillTx/>
                  <a:latin typeface="Apis For Office"/>
                  <a:ea typeface="+mn-ea"/>
                  <a:cs typeface="+mn-cs"/>
                </a:rPr>
                <a:t>as of 2022</a:t>
              </a:r>
              <a:r>
                <a:rPr kumimoji="0" lang="en-GB" sz="1800" b="0" i="0" u="none" strike="noStrike" kern="1200" cap="none" spc="0" normalizeH="0" baseline="30000" noProof="0" dirty="0">
                  <a:ln>
                    <a:noFill/>
                  </a:ln>
                  <a:solidFill>
                    <a:srgbClr val="001965"/>
                  </a:solidFill>
                  <a:effectLst/>
                  <a:uLnTx/>
                  <a:uFillTx/>
                  <a:latin typeface="Apis For Office"/>
                  <a:ea typeface="+mn-ea"/>
                  <a:cs typeface="+mn-cs"/>
                </a:rPr>
                <a:t>1</a:t>
              </a:r>
              <a:endParaRPr kumimoji="0" lang="en-GB" sz="1600" b="0" i="0" u="none" strike="noStrike" kern="1200" cap="none" spc="0" normalizeH="0" baseline="30000" noProof="0" dirty="0">
                <a:ln>
                  <a:noFill/>
                </a:ln>
                <a:solidFill>
                  <a:srgbClr val="001965"/>
                </a:solidFill>
                <a:effectLst/>
                <a:uLnTx/>
                <a:uFillTx/>
                <a:latin typeface="Apis For Office"/>
                <a:ea typeface="+mn-ea"/>
                <a:cs typeface="+mn-cs"/>
              </a:endParaRPr>
            </a:p>
          </p:txBody>
        </p:sp>
      </p:grpSp>
      <p:cxnSp>
        <p:nvCxnSpPr>
          <p:cNvPr id="53" name="Straight Connector 52">
            <a:extLst>
              <a:ext uri="{FF2B5EF4-FFF2-40B4-BE49-F238E27FC236}">
                <a16:creationId xmlns:a16="http://schemas.microsoft.com/office/drawing/2014/main" id="{57A1096A-6AE5-4343-B388-BC9AA8431686}"/>
              </a:ext>
            </a:extLst>
          </p:cNvPr>
          <p:cNvCxnSpPr>
            <a:cxnSpLocks/>
          </p:cNvCxnSpPr>
          <p:nvPr/>
        </p:nvCxnSpPr>
        <p:spPr>
          <a:xfrm>
            <a:off x="7412487" y="1828421"/>
            <a:ext cx="0" cy="3908028"/>
          </a:xfrm>
          <a:prstGeom prst="line">
            <a:avLst/>
          </a:prstGeom>
          <a:ln w="28575"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1C11C8C-67D1-E0E1-A91F-9B1E43D51347}"/>
              </a:ext>
            </a:extLst>
          </p:cNvPr>
          <p:cNvSpPr txBox="1"/>
          <p:nvPr/>
        </p:nvSpPr>
        <p:spPr>
          <a:xfrm>
            <a:off x="7948758" y="1711029"/>
            <a:ext cx="3692550" cy="55399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SA Prevalence over time</a:t>
            </a:r>
            <a:r>
              <a:rPr kumimoji="0" lang="en-GB" sz="1600" b="1" i="0" u="none" strike="noStrike" kern="1200" cap="none" spc="0" normalizeH="0" baseline="30000" noProof="0" dirty="0">
                <a:ln>
                  <a:noFill/>
                </a:ln>
                <a:solidFill>
                  <a:srgbClr val="001965"/>
                </a:solidFill>
                <a:effectLst/>
                <a:uLnTx/>
                <a:uFillTx/>
                <a:latin typeface="Apis For Office"/>
                <a:ea typeface="+mn-ea"/>
                <a:cs typeface="Arial" panose="020B0604020202020204" pitchFamily="34" charset="0"/>
              </a:rPr>
              <a:t>2</a:t>
            </a:r>
            <a:endParaRPr kumimoji="0" lang="en-GB" sz="1600" b="1"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South Africa obesity prevalence by 2025</a:t>
            </a:r>
            <a:r>
              <a:rPr kumimoji="0" lang="en-GB" sz="1100" b="0"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a:t>
            </a:r>
            <a:endParaRPr kumimoji="0" lang="en-GB" sz="1100" b="1"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endParaRPr>
          </a:p>
        </p:txBody>
      </p:sp>
      <p:grpSp>
        <p:nvGrpSpPr>
          <p:cNvPr id="14" name="Group 13">
            <a:extLst>
              <a:ext uri="{FF2B5EF4-FFF2-40B4-BE49-F238E27FC236}">
                <a16:creationId xmlns:a16="http://schemas.microsoft.com/office/drawing/2014/main" id="{02E81A7C-1F0A-5A03-E71C-CBD16954B7ED}"/>
              </a:ext>
            </a:extLst>
          </p:cNvPr>
          <p:cNvGrpSpPr/>
          <p:nvPr/>
        </p:nvGrpSpPr>
        <p:grpSpPr>
          <a:xfrm>
            <a:off x="7708662" y="2586055"/>
            <a:ext cx="4237458" cy="1252422"/>
            <a:chOff x="7411295" y="2575536"/>
            <a:chExt cx="4237459" cy="1252422"/>
          </a:xfrm>
        </p:grpSpPr>
        <p:sp>
          <p:nvSpPr>
            <p:cNvPr id="7" name="Rounded Rectangle 2">
              <a:extLst>
                <a:ext uri="{FF2B5EF4-FFF2-40B4-BE49-F238E27FC236}">
                  <a16:creationId xmlns:a16="http://schemas.microsoft.com/office/drawing/2014/main" id="{F8683A6A-7308-1E48-EC08-EE2A0B30503C}"/>
                </a:ext>
              </a:extLst>
            </p:cNvPr>
            <p:cNvSpPr/>
            <p:nvPr/>
          </p:nvSpPr>
          <p:spPr>
            <a:xfrm>
              <a:off x="7411295" y="2575536"/>
              <a:ext cx="4237459" cy="1252422"/>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9" name="TextBox 8">
              <a:extLst>
                <a:ext uri="{FF2B5EF4-FFF2-40B4-BE49-F238E27FC236}">
                  <a16:creationId xmlns:a16="http://schemas.microsoft.com/office/drawing/2014/main" id="{E5F63563-7322-4E8F-628D-E71FEC70F157}"/>
                </a:ext>
              </a:extLst>
            </p:cNvPr>
            <p:cNvSpPr txBox="1"/>
            <p:nvPr/>
          </p:nvSpPr>
          <p:spPr>
            <a:xfrm>
              <a:off x="8316991" y="2725983"/>
              <a:ext cx="1712328" cy="954107"/>
            </a:xfrm>
            <a:prstGeom prst="rect">
              <a:avLst/>
            </a:prstGeom>
            <a:noFill/>
          </p:spPr>
          <p:txBody>
            <a:bodyPr wrap="none" rtlCol="0">
              <a:spAutoFit/>
            </a:bodyPr>
            <a:lstStyle/>
            <a:p>
              <a:pPr marL="0" marR="0" lvl="0" indent="0" algn="r" defTabSz="1219170" rtl="0" eaLnBrk="1" fontAlgn="base" latinLnBrk="0" hangingPunct="1">
                <a:lnSpc>
                  <a:spcPct val="100000"/>
                </a:lnSpc>
                <a:spcBef>
                  <a:spcPct val="0"/>
                </a:spcBef>
                <a:spcAft>
                  <a:spcPct val="0"/>
                </a:spcAft>
                <a:buClrTx/>
                <a:buSzTx/>
                <a:buFontTx/>
                <a:buNone/>
                <a:tabLst/>
                <a:defRPr/>
              </a:pPr>
              <a:r>
                <a:rPr kumimoji="0" lang="en-GB" sz="2800" b="0" i="1" u="none" strike="noStrike" kern="1200" cap="none" spc="0" normalizeH="0" baseline="0" noProof="0" dirty="0">
                  <a:ln>
                    <a:noFill/>
                  </a:ln>
                  <a:solidFill>
                    <a:srgbClr val="001965"/>
                  </a:solidFill>
                  <a:effectLst/>
                  <a:uLnTx/>
                  <a:uFillTx/>
                  <a:latin typeface="Verdana" pitchFamily="34" charset="0"/>
                  <a:ea typeface="+mn-ea"/>
                  <a:cs typeface="Arial" charset="0"/>
                </a:rPr>
                <a:t>Men:</a:t>
              </a:r>
            </a:p>
            <a:p>
              <a:pPr marL="0" marR="0" lvl="0" indent="0" algn="r" defTabSz="1219170" rtl="0" eaLnBrk="1" fontAlgn="base" latinLnBrk="0" hangingPunct="1">
                <a:lnSpc>
                  <a:spcPct val="100000"/>
                </a:lnSpc>
                <a:spcBef>
                  <a:spcPct val="0"/>
                </a:spcBef>
                <a:spcAft>
                  <a:spcPct val="0"/>
                </a:spcAft>
                <a:buClrTx/>
                <a:buSzTx/>
                <a:buFontTx/>
                <a:buNone/>
                <a:tabLst/>
                <a:defRPr/>
              </a:pPr>
              <a:r>
                <a:rPr kumimoji="0" lang="en-GB" sz="2800" b="0" i="1" u="none" strike="noStrike" kern="1200" cap="none" spc="0" normalizeH="0" baseline="0" noProof="0" dirty="0">
                  <a:ln>
                    <a:noFill/>
                  </a:ln>
                  <a:solidFill>
                    <a:srgbClr val="001965"/>
                  </a:solidFill>
                  <a:effectLst/>
                  <a:uLnTx/>
                  <a:uFillTx/>
                  <a:latin typeface="Verdana" pitchFamily="34" charset="0"/>
                  <a:ea typeface="+mn-ea"/>
                  <a:cs typeface="Arial" charset="0"/>
                </a:rPr>
                <a:t>Women:</a:t>
              </a:r>
            </a:p>
          </p:txBody>
        </p:sp>
        <p:sp>
          <p:nvSpPr>
            <p:cNvPr id="13" name="TextBox 12">
              <a:extLst>
                <a:ext uri="{FF2B5EF4-FFF2-40B4-BE49-F238E27FC236}">
                  <a16:creationId xmlns:a16="http://schemas.microsoft.com/office/drawing/2014/main" id="{629B4743-9B35-E5F2-C70D-2E31B27BB1EA}"/>
                </a:ext>
              </a:extLst>
            </p:cNvPr>
            <p:cNvSpPr txBox="1"/>
            <p:nvPr/>
          </p:nvSpPr>
          <p:spPr>
            <a:xfrm>
              <a:off x="9975081" y="2718549"/>
              <a:ext cx="1383712" cy="954107"/>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2800" b="0" i="1" u="none" strike="noStrike" kern="1200" cap="none" spc="0" normalizeH="0" baseline="0" noProof="0" dirty="0">
                  <a:ln>
                    <a:noFill/>
                  </a:ln>
                  <a:solidFill>
                    <a:srgbClr val="001965"/>
                  </a:solidFill>
                  <a:effectLst/>
                  <a:uLnTx/>
                  <a:uFillTx/>
                  <a:latin typeface="Verdana" pitchFamily="34" charset="0"/>
                  <a:ea typeface="+mn-ea"/>
                  <a:cs typeface="Arial" charset="0"/>
                </a:rPr>
                <a:t>23.3%</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2800" b="0" i="1" u="none" strike="noStrike" kern="1200" cap="none" spc="0" normalizeH="0" baseline="0" noProof="0" dirty="0">
                  <a:ln>
                    <a:noFill/>
                  </a:ln>
                  <a:solidFill>
                    <a:srgbClr val="001965"/>
                  </a:solidFill>
                  <a:effectLst/>
                  <a:uLnTx/>
                  <a:uFillTx/>
                  <a:latin typeface="Verdana" pitchFamily="34" charset="0"/>
                  <a:ea typeface="+mn-ea"/>
                  <a:cs typeface="Arial" charset="0"/>
                </a:rPr>
                <a:t>46.7%</a:t>
              </a:r>
            </a:p>
          </p:txBody>
        </p:sp>
      </p:grpSp>
      <p:grpSp>
        <p:nvGrpSpPr>
          <p:cNvPr id="3" name="Group 2">
            <a:extLst>
              <a:ext uri="{FF2B5EF4-FFF2-40B4-BE49-F238E27FC236}">
                <a16:creationId xmlns:a16="http://schemas.microsoft.com/office/drawing/2014/main" id="{097830FD-50A2-9D55-71BB-33F2471F4B30}"/>
              </a:ext>
            </a:extLst>
          </p:cNvPr>
          <p:cNvGrpSpPr/>
          <p:nvPr/>
        </p:nvGrpSpPr>
        <p:grpSpPr>
          <a:xfrm>
            <a:off x="7676303" y="5100166"/>
            <a:ext cx="4237459" cy="570216"/>
            <a:chOff x="7411295" y="2575535"/>
            <a:chExt cx="4237459" cy="1735242"/>
          </a:xfrm>
        </p:grpSpPr>
        <p:sp>
          <p:nvSpPr>
            <p:cNvPr id="6" name="Rounded Rectangle 2">
              <a:extLst>
                <a:ext uri="{FF2B5EF4-FFF2-40B4-BE49-F238E27FC236}">
                  <a16:creationId xmlns:a16="http://schemas.microsoft.com/office/drawing/2014/main" id="{1AFA3ABF-BCA9-F7C8-BFD2-0FE756D5BF79}"/>
                </a:ext>
              </a:extLst>
            </p:cNvPr>
            <p:cNvSpPr/>
            <p:nvPr/>
          </p:nvSpPr>
          <p:spPr>
            <a:xfrm>
              <a:off x="7411295" y="2575535"/>
              <a:ext cx="4237459" cy="1685891"/>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8" name="TextBox 7">
              <a:extLst>
                <a:ext uri="{FF2B5EF4-FFF2-40B4-BE49-F238E27FC236}">
                  <a16:creationId xmlns:a16="http://schemas.microsoft.com/office/drawing/2014/main" id="{9781BB1C-B040-5084-EC8C-FD6E81F2B08A}"/>
                </a:ext>
              </a:extLst>
            </p:cNvPr>
            <p:cNvSpPr txBox="1"/>
            <p:nvPr/>
          </p:nvSpPr>
          <p:spPr>
            <a:xfrm>
              <a:off x="7537931" y="2725983"/>
              <a:ext cx="2491388" cy="523220"/>
            </a:xfrm>
            <a:prstGeom prst="rect">
              <a:avLst/>
            </a:prstGeom>
            <a:noFill/>
          </p:spPr>
          <p:txBody>
            <a:bodyPr wrap="none" rtlCol="0">
              <a:spAutoFit/>
            </a:bodyPr>
            <a:lstStyle/>
            <a:p>
              <a:pPr marL="0" marR="0" lvl="0" indent="0" algn="r" defTabSz="1219170" rtl="0" eaLnBrk="1" fontAlgn="base" latinLnBrk="0" hangingPunct="1">
                <a:lnSpc>
                  <a:spcPct val="100000"/>
                </a:lnSpc>
                <a:spcBef>
                  <a:spcPct val="0"/>
                </a:spcBef>
                <a:spcAft>
                  <a:spcPct val="0"/>
                </a:spcAft>
                <a:buClrTx/>
                <a:buSzTx/>
                <a:buFontTx/>
                <a:buNone/>
                <a:tabLst/>
                <a:defRPr/>
              </a:pPr>
              <a:r>
                <a:rPr kumimoji="0" lang="en-GB" sz="2800" b="0" i="1" u="none" strike="noStrike" kern="1200" cap="none" spc="0" normalizeH="0" baseline="0" noProof="0" dirty="0">
                  <a:ln>
                    <a:noFill/>
                  </a:ln>
                  <a:solidFill>
                    <a:srgbClr val="001965"/>
                  </a:solidFill>
                  <a:effectLst/>
                  <a:uLnTx/>
                  <a:uFillTx/>
                  <a:latin typeface="Verdana" pitchFamily="34" charset="0"/>
                  <a:ea typeface="+mn-ea"/>
                  <a:cs typeface="Arial" charset="0"/>
                </a:rPr>
                <a:t>Adolescents:</a:t>
              </a:r>
              <a:endParaRPr kumimoji="0" lang="en-GB" sz="3200" b="0" i="1"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 name="TextBox 9">
              <a:extLst>
                <a:ext uri="{FF2B5EF4-FFF2-40B4-BE49-F238E27FC236}">
                  <a16:creationId xmlns:a16="http://schemas.microsoft.com/office/drawing/2014/main" id="{747B3BDC-588E-14AB-02D9-335EAD9108C8}"/>
                </a:ext>
              </a:extLst>
            </p:cNvPr>
            <p:cNvSpPr txBox="1"/>
            <p:nvPr/>
          </p:nvSpPr>
          <p:spPr>
            <a:xfrm>
              <a:off x="9975081" y="2718550"/>
              <a:ext cx="1383712" cy="1592227"/>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2800" b="0" i="1" u="none" strike="noStrike" kern="1200" cap="none" spc="0" normalizeH="0" baseline="0" noProof="0" dirty="0">
                  <a:ln>
                    <a:noFill/>
                  </a:ln>
                  <a:solidFill>
                    <a:srgbClr val="001965"/>
                  </a:solidFill>
                  <a:effectLst/>
                  <a:uLnTx/>
                  <a:uFillTx/>
                  <a:latin typeface="Verdana" pitchFamily="34" charset="0"/>
                  <a:ea typeface="+mn-ea"/>
                  <a:cs typeface="Arial" charset="0"/>
                </a:rPr>
                <a:t>27.4%</a:t>
              </a:r>
            </a:p>
          </p:txBody>
        </p:sp>
      </p:grpSp>
      <p:sp>
        <p:nvSpPr>
          <p:cNvPr id="11" name="TextBox 10">
            <a:extLst>
              <a:ext uri="{FF2B5EF4-FFF2-40B4-BE49-F238E27FC236}">
                <a16:creationId xmlns:a16="http://schemas.microsoft.com/office/drawing/2014/main" id="{2C6EA963-3FD4-1773-7649-083A8328AF83}"/>
              </a:ext>
            </a:extLst>
          </p:cNvPr>
          <p:cNvSpPr txBox="1"/>
          <p:nvPr/>
        </p:nvSpPr>
        <p:spPr>
          <a:xfrm>
            <a:off x="7948759" y="4155639"/>
            <a:ext cx="3692550" cy="55399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SA Adolescent obesity</a:t>
            </a:r>
            <a:r>
              <a:rPr kumimoji="0" lang="en-GB" sz="1600" b="1" i="0" u="none" strike="noStrike" kern="1200" cap="none" spc="0" normalizeH="0" baseline="30000" noProof="0" dirty="0">
                <a:ln>
                  <a:noFill/>
                </a:ln>
                <a:solidFill>
                  <a:srgbClr val="001965"/>
                </a:solidFill>
                <a:effectLst/>
                <a:uLnTx/>
                <a:uFillTx/>
                <a:latin typeface="Apis For Office"/>
                <a:ea typeface="+mn-ea"/>
                <a:cs typeface="Arial" panose="020B0604020202020204" pitchFamily="34" charset="0"/>
              </a:rPr>
              <a:t>3</a:t>
            </a:r>
            <a:r>
              <a:rPr kumimoji="0" lang="en-GB" sz="1600" b="1"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Adolescent obesity prevalence in 2016</a:t>
            </a:r>
            <a:r>
              <a:rPr kumimoji="0" lang="en-GB" sz="1100" b="0"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rPr>
              <a:t>:</a:t>
            </a:r>
            <a:endParaRPr kumimoji="0" lang="en-GB" sz="1100" b="1" i="0" u="none" strike="noStrike" kern="1200" cap="none" spc="0" normalizeH="0" baseline="0" noProof="0" dirty="0">
              <a:ln>
                <a:noFill/>
              </a:ln>
              <a:solidFill>
                <a:srgbClr val="001965"/>
              </a:solidFill>
              <a:effectLst/>
              <a:uLnTx/>
              <a:uFillTx/>
              <a:latin typeface="Apis For Office"/>
              <a:ea typeface="+mn-ea"/>
              <a:cs typeface="Arial" panose="020B0604020202020204" pitchFamily="34" charset="0"/>
            </a:endParaRPr>
          </a:p>
        </p:txBody>
      </p:sp>
    </p:spTree>
    <p:extLst>
      <p:ext uri="{BB962C8B-B14F-4D97-AF65-F5344CB8AC3E}">
        <p14:creationId xmlns:p14="http://schemas.microsoft.com/office/powerpoint/2010/main" val="1017529682"/>
      </p:ext>
    </p:extLst>
  </p:cSld>
  <p:clrMapOvr>
    <a:masterClrMapping/>
  </p:clrMapOvr>
  <mc:AlternateContent xmlns:mc="http://schemas.openxmlformats.org/markup-compatibility/2006" xmlns:p14="http://schemas.microsoft.com/office/powerpoint/2010/main">
    <mc:Choice Requires="p14">
      <p:transition spd="slow" p14:dur="2000" advTm="391"/>
    </mc:Choice>
    <mc:Fallback xmlns="">
      <p:transition spd="slow" advTm="391"/>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53273F1-A4DA-0124-B8C9-7A4A794A8D62}"/>
              </a:ext>
            </a:extLst>
          </p:cNvPr>
          <p:cNvSpPr/>
          <p:nvPr/>
        </p:nvSpPr>
        <p:spPr>
          <a:xfrm>
            <a:off x="2195205" y="1246124"/>
            <a:ext cx="1912297" cy="175463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GENETICS</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1</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40-70%</a:t>
            </a:r>
          </a:p>
        </p:txBody>
      </p:sp>
      <p:cxnSp>
        <p:nvCxnSpPr>
          <p:cNvPr id="4" name="Straight Connector 3">
            <a:extLst>
              <a:ext uri="{FF2B5EF4-FFF2-40B4-BE49-F238E27FC236}">
                <a16:creationId xmlns:a16="http://schemas.microsoft.com/office/drawing/2014/main" id="{93D3DE5D-47CD-A99F-7425-6288CC74906E}"/>
              </a:ext>
            </a:extLst>
          </p:cNvPr>
          <p:cNvCxnSpPr>
            <a:cxnSpLocks/>
            <a:stCxn id="2" idx="6"/>
            <a:endCxn id="5" idx="1"/>
          </p:cNvCxnSpPr>
          <p:nvPr/>
        </p:nvCxnSpPr>
        <p:spPr>
          <a:xfrm flipV="1">
            <a:off x="4107502" y="1405230"/>
            <a:ext cx="2892738" cy="718210"/>
          </a:xfrm>
          <a:prstGeom prst="line">
            <a:avLst/>
          </a:prstGeom>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D719B2F9-BEB7-46B1-143D-12C0DD682372}"/>
              </a:ext>
            </a:extLst>
          </p:cNvPr>
          <p:cNvSpPr/>
          <p:nvPr/>
        </p:nvSpPr>
        <p:spPr>
          <a:xfrm>
            <a:off x="7000240" y="264160"/>
            <a:ext cx="4866640" cy="22821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2000" b="0" i="0" u="none" strike="noStrike" kern="1200" cap="none" spc="0" normalizeH="0" baseline="0" noProof="0" dirty="0">
                <a:ln>
                  <a:noFill/>
                </a:ln>
                <a:solidFill>
                  <a:srgbClr val="FFFFFF"/>
                </a:solidFill>
                <a:effectLst/>
                <a:uLnTx/>
                <a:uFillTx/>
                <a:latin typeface="Apis For Office"/>
                <a:ea typeface="+mn-ea"/>
                <a:cs typeface="+mn-cs"/>
              </a:rPr>
              <a:t>DIETARY</a:t>
            </a:r>
            <a:r>
              <a:rPr kumimoji="0" lang="en-ZA" sz="2000" b="0" i="0" u="none" strike="noStrike" kern="1200" cap="none" spc="0" normalizeH="0" baseline="30000" noProof="0" dirty="0">
                <a:ln>
                  <a:noFill/>
                </a:ln>
                <a:solidFill>
                  <a:srgbClr val="FFFFFF"/>
                </a:solidFill>
                <a:effectLst/>
                <a:uLnTx/>
                <a:uFillTx/>
                <a:latin typeface="Apis For Office"/>
                <a:ea typeface="+mn-ea"/>
                <a:cs typeface="+mn-cs"/>
              </a:rPr>
              <a:t>6</a:t>
            </a:r>
            <a:endParaRPr kumimoji="0" lang="en-ZA" sz="2000" b="0" i="0" u="none" strike="noStrike" kern="1200" cap="none" spc="0" normalizeH="0" baseline="0" noProof="0" dirty="0">
              <a:ln>
                <a:noFill/>
              </a:ln>
              <a:solidFill>
                <a:srgbClr val="FFFFFF"/>
              </a:solidFill>
              <a:effectLst/>
              <a:uLnTx/>
              <a:uFillTx/>
              <a:latin typeface="Apis For Office"/>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Intrauterin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Breast feed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Processed food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Palatabilit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Lack of time (shopping; prepara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Educa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Alcohol</a:t>
            </a:r>
          </a:p>
        </p:txBody>
      </p:sp>
      <p:cxnSp>
        <p:nvCxnSpPr>
          <p:cNvPr id="7" name="Straight Connector 6">
            <a:extLst>
              <a:ext uri="{FF2B5EF4-FFF2-40B4-BE49-F238E27FC236}">
                <a16:creationId xmlns:a16="http://schemas.microsoft.com/office/drawing/2014/main" id="{62D17A62-2C5B-A5C9-8C67-357BACDA0000}"/>
              </a:ext>
            </a:extLst>
          </p:cNvPr>
          <p:cNvCxnSpPr>
            <a:cxnSpLocks/>
            <a:stCxn id="2" idx="6"/>
            <a:endCxn id="8" idx="1"/>
          </p:cNvCxnSpPr>
          <p:nvPr/>
        </p:nvCxnSpPr>
        <p:spPr>
          <a:xfrm>
            <a:off x="4107502" y="2123440"/>
            <a:ext cx="3949378" cy="1202124"/>
          </a:xfrm>
          <a:prstGeom prst="line">
            <a:avLst/>
          </a:prstGeom>
        </p:spPr>
        <p:style>
          <a:lnRef idx="2">
            <a:schemeClr val="accent1"/>
          </a:lnRef>
          <a:fillRef idx="0">
            <a:schemeClr val="accent1"/>
          </a:fillRef>
          <a:effectRef idx="1">
            <a:schemeClr val="accent1"/>
          </a:effectRef>
          <a:fontRef idx="minor">
            <a:schemeClr val="tx1"/>
          </a:fontRef>
        </p:style>
      </p:cxnSp>
      <p:sp>
        <p:nvSpPr>
          <p:cNvPr id="8" name="Rectangle: Rounded Corners 7">
            <a:extLst>
              <a:ext uri="{FF2B5EF4-FFF2-40B4-BE49-F238E27FC236}">
                <a16:creationId xmlns:a16="http://schemas.microsoft.com/office/drawing/2014/main" id="{86F3755B-0989-500E-27C7-A6F1352F377F}"/>
              </a:ext>
            </a:extLst>
          </p:cNvPr>
          <p:cNvSpPr/>
          <p:nvPr/>
        </p:nvSpPr>
        <p:spPr>
          <a:xfrm>
            <a:off x="8056880" y="2662312"/>
            <a:ext cx="3332480" cy="132650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PHYSICAL ACTIVITY</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7</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Tim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Educa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Society</a:t>
            </a:r>
          </a:p>
        </p:txBody>
      </p:sp>
      <p:cxnSp>
        <p:nvCxnSpPr>
          <p:cNvPr id="10" name="Straight Connector 9">
            <a:extLst>
              <a:ext uri="{FF2B5EF4-FFF2-40B4-BE49-F238E27FC236}">
                <a16:creationId xmlns:a16="http://schemas.microsoft.com/office/drawing/2014/main" id="{CB6CCC5C-E1A0-A164-2DC1-6A97E554AEE9}"/>
              </a:ext>
            </a:extLst>
          </p:cNvPr>
          <p:cNvCxnSpPr>
            <a:cxnSpLocks/>
            <a:stCxn id="2" idx="5"/>
            <a:endCxn id="11" idx="1"/>
          </p:cNvCxnSpPr>
          <p:nvPr/>
        </p:nvCxnSpPr>
        <p:spPr>
          <a:xfrm>
            <a:off x="3827453" y="2743796"/>
            <a:ext cx="4412307" cy="1999088"/>
          </a:xfrm>
          <a:prstGeom prst="line">
            <a:avLst/>
          </a:prstGeom>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2071FD4A-91E1-40B4-679E-85D42BBB5489}"/>
              </a:ext>
            </a:extLst>
          </p:cNvPr>
          <p:cNvSpPr/>
          <p:nvPr/>
        </p:nvSpPr>
        <p:spPr>
          <a:xfrm>
            <a:off x="8239760" y="4186312"/>
            <a:ext cx="3149600" cy="11131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EMOTIONAL</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8</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Anxiety, depress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Stres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Sleep</a:t>
            </a:r>
          </a:p>
        </p:txBody>
      </p:sp>
      <p:cxnSp>
        <p:nvCxnSpPr>
          <p:cNvPr id="13" name="Straight Connector 12">
            <a:extLst>
              <a:ext uri="{FF2B5EF4-FFF2-40B4-BE49-F238E27FC236}">
                <a16:creationId xmlns:a16="http://schemas.microsoft.com/office/drawing/2014/main" id="{537CACF1-E863-FA92-F625-D926E3F736C8}"/>
              </a:ext>
            </a:extLst>
          </p:cNvPr>
          <p:cNvCxnSpPr>
            <a:cxnSpLocks/>
            <a:stCxn id="2" idx="5"/>
            <a:endCxn id="14" idx="1"/>
          </p:cNvCxnSpPr>
          <p:nvPr/>
        </p:nvCxnSpPr>
        <p:spPr>
          <a:xfrm>
            <a:off x="3827453" y="2743796"/>
            <a:ext cx="4300547" cy="3134780"/>
          </a:xfrm>
          <a:prstGeom prst="line">
            <a:avLst/>
          </a:prstGeom>
        </p:spPr>
        <p:style>
          <a:lnRef idx="2">
            <a:schemeClr val="accent1"/>
          </a:lnRef>
          <a:fillRef idx="0">
            <a:schemeClr val="accent1"/>
          </a:fillRef>
          <a:effectRef idx="1">
            <a:schemeClr val="accent1"/>
          </a:effectRef>
          <a:fontRef idx="minor">
            <a:schemeClr val="tx1"/>
          </a:fontRef>
        </p:style>
      </p:cxnSp>
      <p:sp>
        <p:nvSpPr>
          <p:cNvPr id="14" name="Rectangle: Rounded Corners 13">
            <a:extLst>
              <a:ext uri="{FF2B5EF4-FFF2-40B4-BE49-F238E27FC236}">
                <a16:creationId xmlns:a16="http://schemas.microsoft.com/office/drawing/2014/main" id="{C88A64A9-653C-7714-24D5-2F9A741F419E}"/>
              </a:ext>
            </a:extLst>
          </p:cNvPr>
          <p:cNvSpPr/>
          <p:nvPr/>
        </p:nvSpPr>
        <p:spPr>
          <a:xfrm>
            <a:off x="8128000" y="5553456"/>
            <a:ext cx="3820160" cy="6502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MEDICATION</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9</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p:txBody>
      </p:sp>
      <p:cxnSp>
        <p:nvCxnSpPr>
          <p:cNvPr id="16" name="Straight Connector 15">
            <a:extLst>
              <a:ext uri="{FF2B5EF4-FFF2-40B4-BE49-F238E27FC236}">
                <a16:creationId xmlns:a16="http://schemas.microsoft.com/office/drawing/2014/main" id="{33C2194F-3A9B-CF4F-359A-93C7638F5EC7}"/>
              </a:ext>
            </a:extLst>
          </p:cNvPr>
          <p:cNvCxnSpPr>
            <a:cxnSpLocks/>
            <a:stCxn id="2" idx="4"/>
            <a:endCxn id="17" idx="0"/>
          </p:cNvCxnSpPr>
          <p:nvPr/>
        </p:nvCxnSpPr>
        <p:spPr>
          <a:xfrm>
            <a:off x="3151354" y="3000756"/>
            <a:ext cx="2327005" cy="1858809"/>
          </a:xfrm>
          <a:prstGeom prst="line">
            <a:avLst/>
          </a:prstGeom>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D5FD4D07-6C27-EB55-6C32-EB8A519EFC39}"/>
              </a:ext>
            </a:extLst>
          </p:cNvPr>
          <p:cNvSpPr/>
          <p:nvPr/>
        </p:nvSpPr>
        <p:spPr>
          <a:xfrm>
            <a:off x="4522211" y="4859565"/>
            <a:ext cx="1912296" cy="8534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SMOKING</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5</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p:txBody>
      </p:sp>
      <p:cxnSp>
        <p:nvCxnSpPr>
          <p:cNvPr id="19" name="Straight Connector 18">
            <a:extLst>
              <a:ext uri="{FF2B5EF4-FFF2-40B4-BE49-F238E27FC236}">
                <a16:creationId xmlns:a16="http://schemas.microsoft.com/office/drawing/2014/main" id="{54EC894E-57F7-F848-F915-C7B3D18417FD}"/>
              </a:ext>
            </a:extLst>
          </p:cNvPr>
          <p:cNvCxnSpPr>
            <a:cxnSpLocks/>
            <a:stCxn id="2" idx="4"/>
            <a:endCxn id="25" idx="0"/>
          </p:cNvCxnSpPr>
          <p:nvPr/>
        </p:nvCxnSpPr>
        <p:spPr>
          <a:xfrm flipH="1">
            <a:off x="3151343" y="3000756"/>
            <a:ext cx="11" cy="1086649"/>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61DD624C-DE63-8855-7751-D0FDDF48BBA5}"/>
              </a:ext>
            </a:extLst>
          </p:cNvPr>
          <p:cNvCxnSpPr>
            <a:cxnSpLocks/>
            <a:stCxn id="2" idx="3"/>
            <a:endCxn id="23" idx="7"/>
          </p:cNvCxnSpPr>
          <p:nvPr/>
        </p:nvCxnSpPr>
        <p:spPr>
          <a:xfrm flipH="1">
            <a:off x="1688504" y="2743796"/>
            <a:ext cx="786750" cy="1451838"/>
          </a:xfrm>
          <a:prstGeom prst="line">
            <a:avLst/>
          </a:prstGeom>
        </p:spPr>
        <p:style>
          <a:lnRef idx="2">
            <a:schemeClr val="accent1"/>
          </a:lnRef>
          <a:fillRef idx="0">
            <a:schemeClr val="accent1"/>
          </a:fillRef>
          <a:effectRef idx="1">
            <a:schemeClr val="accent1"/>
          </a:effectRef>
          <a:fontRef idx="minor">
            <a:schemeClr val="tx1"/>
          </a:fontRef>
        </p:style>
      </p:cxnSp>
      <p:sp>
        <p:nvSpPr>
          <p:cNvPr id="23" name="Oval 22">
            <a:extLst>
              <a:ext uri="{FF2B5EF4-FFF2-40B4-BE49-F238E27FC236}">
                <a16:creationId xmlns:a16="http://schemas.microsoft.com/office/drawing/2014/main" id="{EA4D0530-630D-4D48-30D6-F7B14A15C8B5}"/>
              </a:ext>
            </a:extLst>
          </p:cNvPr>
          <p:cNvSpPr/>
          <p:nvPr/>
        </p:nvSpPr>
        <p:spPr>
          <a:xfrm>
            <a:off x="447896" y="3988816"/>
            <a:ext cx="1453463" cy="14122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AGING</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3</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25" name="Rectangle 24">
            <a:extLst>
              <a:ext uri="{FF2B5EF4-FFF2-40B4-BE49-F238E27FC236}">
                <a16:creationId xmlns:a16="http://schemas.microsoft.com/office/drawing/2014/main" id="{D02C4BC7-5797-FAE4-6D3C-F63F89212A12}"/>
              </a:ext>
            </a:extLst>
          </p:cNvPr>
          <p:cNvSpPr/>
          <p:nvPr/>
        </p:nvSpPr>
        <p:spPr>
          <a:xfrm>
            <a:off x="2195194" y="4087405"/>
            <a:ext cx="1912297" cy="1625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HORMONA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Pubert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Pregnanc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Menopause</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4</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29" name="Title 28">
            <a:extLst>
              <a:ext uri="{FF2B5EF4-FFF2-40B4-BE49-F238E27FC236}">
                <a16:creationId xmlns:a16="http://schemas.microsoft.com/office/drawing/2014/main" id="{371A7A90-1636-88A0-EBF3-7A790A6BE6F5}"/>
              </a:ext>
            </a:extLst>
          </p:cNvPr>
          <p:cNvSpPr>
            <a:spLocks noGrp="1"/>
          </p:cNvSpPr>
          <p:nvPr>
            <p:ph type="title"/>
          </p:nvPr>
        </p:nvSpPr>
        <p:spPr>
          <a:xfrm>
            <a:off x="838200" y="336625"/>
            <a:ext cx="5574792" cy="252655"/>
          </a:xfrm>
        </p:spPr>
        <p:txBody>
          <a:bodyPr>
            <a:noAutofit/>
          </a:bodyPr>
          <a:lstStyle/>
          <a:p>
            <a:r>
              <a:rPr lang="en-ZA" dirty="0"/>
              <a:t>AETIOLOGY OF OBESITY</a:t>
            </a:r>
          </a:p>
        </p:txBody>
      </p:sp>
      <p:sp>
        <p:nvSpPr>
          <p:cNvPr id="3" name="Rectangle: Rounded Corners 2">
            <a:extLst>
              <a:ext uri="{FF2B5EF4-FFF2-40B4-BE49-F238E27FC236}">
                <a16:creationId xmlns:a16="http://schemas.microsoft.com/office/drawing/2014/main" id="{330A80F3-BB19-59BA-A862-633A9487A3FF}"/>
              </a:ext>
            </a:extLst>
          </p:cNvPr>
          <p:cNvSpPr/>
          <p:nvPr/>
        </p:nvSpPr>
        <p:spPr>
          <a:xfrm>
            <a:off x="195072" y="1011428"/>
            <a:ext cx="1470533" cy="8229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FFFFFF"/>
                </a:solidFill>
                <a:effectLst/>
                <a:uLnTx/>
                <a:uFillTx/>
                <a:latin typeface="Apis For Office"/>
                <a:ea typeface="+mn-ea"/>
                <a:cs typeface="+mn-cs"/>
              </a:rPr>
              <a:t>Epigenetics</a:t>
            </a:r>
            <a:r>
              <a:rPr kumimoji="0" lang="en-ZA" sz="1600" b="0" i="0" u="none" strike="noStrike" kern="1200" cap="none" spc="0" normalizeH="0" baseline="30000" noProof="0" dirty="0">
                <a:ln>
                  <a:noFill/>
                </a:ln>
                <a:solidFill>
                  <a:srgbClr val="FFFFFF"/>
                </a:solidFill>
                <a:effectLst/>
                <a:uLnTx/>
                <a:uFillTx/>
                <a:latin typeface="Apis For Office"/>
                <a:ea typeface="+mn-ea"/>
                <a:cs typeface="+mn-cs"/>
              </a:rPr>
              <a:t>2</a:t>
            </a:r>
            <a:endParaRPr kumimoji="0" lang="en-ZA" sz="16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6" name="Oval 5">
            <a:extLst>
              <a:ext uri="{FF2B5EF4-FFF2-40B4-BE49-F238E27FC236}">
                <a16:creationId xmlns:a16="http://schemas.microsoft.com/office/drawing/2014/main" id="{158A5075-6130-0F95-2914-49A3F87B24F9}"/>
              </a:ext>
            </a:extLst>
          </p:cNvPr>
          <p:cNvSpPr/>
          <p:nvPr/>
        </p:nvSpPr>
        <p:spPr>
          <a:xfrm>
            <a:off x="92644" y="2148478"/>
            <a:ext cx="1919681" cy="11906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Neuro-</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Apis For Office"/>
                <a:ea typeface="+mn-ea"/>
                <a:cs typeface="+mn-cs"/>
              </a:rPr>
              <a:t>endocrine</a:t>
            </a:r>
            <a:r>
              <a:rPr kumimoji="0" lang="en-ZA" sz="1800" b="0" i="0" u="none" strike="noStrike" kern="1200" cap="none" spc="0" normalizeH="0" baseline="30000" noProof="0" dirty="0">
                <a:ln>
                  <a:noFill/>
                </a:ln>
                <a:solidFill>
                  <a:srgbClr val="FFFFFF"/>
                </a:solidFill>
                <a:effectLst/>
                <a:uLnTx/>
                <a:uFillTx/>
                <a:latin typeface="Apis For Office"/>
                <a:ea typeface="+mn-ea"/>
                <a:cs typeface="+mn-cs"/>
              </a:rPr>
              <a:t>3</a:t>
            </a:r>
            <a:endParaRPr kumimoji="0" lang="en-ZA" sz="1800" b="0" i="0" u="none" strike="noStrike" kern="1200" cap="none" spc="0" normalizeH="0" baseline="0" noProof="0" dirty="0">
              <a:ln>
                <a:noFill/>
              </a:ln>
              <a:solidFill>
                <a:srgbClr val="FFFFFF"/>
              </a:solidFill>
              <a:effectLst/>
              <a:uLnTx/>
              <a:uFillTx/>
              <a:latin typeface="Apis For Office"/>
              <a:ea typeface="+mn-ea"/>
              <a:cs typeface="+mn-cs"/>
            </a:endParaRPr>
          </a:p>
        </p:txBody>
      </p:sp>
      <p:cxnSp>
        <p:nvCxnSpPr>
          <p:cNvPr id="20" name="Straight Connector 19">
            <a:extLst>
              <a:ext uri="{FF2B5EF4-FFF2-40B4-BE49-F238E27FC236}">
                <a16:creationId xmlns:a16="http://schemas.microsoft.com/office/drawing/2014/main" id="{29511930-8DEC-A2B5-4536-4B52850707B2}"/>
              </a:ext>
            </a:extLst>
          </p:cNvPr>
          <p:cNvCxnSpPr>
            <a:cxnSpLocks/>
            <a:stCxn id="3" idx="3"/>
            <a:endCxn id="2" idx="2"/>
          </p:cNvCxnSpPr>
          <p:nvPr/>
        </p:nvCxnSpPr>
        <p:spPr>
          <a:xfrm>
            <a:off x="1665605" y="1422908"/>
            <a:ext cx="529600" cy="700532"/>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3D4D0C82-EDBC-A7C0-2ABC-404817807E02}"/>
              </a:ext>
            </a:extLst>
          </p:cNvPr>
          <p:cNvCxnSpPr>
            <a:cxnSpLocks/>
            <a:stCxn id="6" idx="6"/>
            <a:endCxn id="2" idx="3"/>
          </p:cNvCxnSpPr>
          <p:nvPr/>
        </p:nvCxnSpPr>
        <p:spPr>
          <a:xfrm>
            <a:off x="2012325" y="2743796"/>
            <a:ext cx="462929" cy="0"/>
          </a:xfrm>
          <a:prstGeom prst="line">
            <a:avLst/>
          </a:prstGeom>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4C206C68-C7F7-FBB2-7082-F684FFDF83E5}"/>
              </a:ext>
            </a:extLst>
          </p:cNvPr>
          <p:cNvSpPr txBox="1"/>
          <p:nvPr/>
        </p:nvSpPr>
        <p:spPr>
          <a:xfrm>
            <a:off x="167693" y="5882865"/>
            <a:ext cx="6245299" cy="916789"/>
          </a:xfrm>
          <a:prstGeom prst="rect">
            <a:avLst/>
          </a:prstGeom>
          <a:noFill/>
        </p:spPr>
        <p:txBody>
          <a:bodyPr wrap="none" lIns="0" tIns="0" rIns="0" bIns="0" rtlCol="0">
            <a:spAutoFit/>
          </a:bodyPr>
          <a:lstStyle/>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Locke, A. E., et al. (2015). Genetic studies of body mass index yield new insights for obesity biology. Nature, 518(7538), 197-206.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Waterland, R. A., &amp; Michels, K. B. (2007). Epigenetic epidemiology of the developmental origins hypothesis. Annual Review of Nutrition, 27, 363-388.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Schwartz, M. W., et al. (2000). Central nervous system control of food intake. Nature, 404(6778), 661-671.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Villareal, D. T., et al. (2005). Obesity in older adults: Technical review and position statement of the American Society for Nutrition and NAASO, The Obesity Society. Obesity Research, 13(11), 1849-1863.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Kaplowitz, P. B. (2008). Link between body fat and the timing of puberty. </a:t>
            </a:r>
            <a:r>
              <a:rPr kumimoji="0" lang="en-GB" sz="500" b="0" i="0" u="none" strike="noStrike" kern="1200" cap="none" spc="0" normalizeH="0" baseline="0" noProof="0" dirty="0" err="1">
                <a:ln>
                  <a:noFill/>
                </a:ln>
                <a:solidFill>
                  <a:srgbClr val="FFFFFF">
                    <a:lumMod val="50000"/>
                  </a:srgbClr>
                </a:solidFill>
                <a:effectLst/>
                <a:uLnTx/>
                <a:uFillTx/>
                <a:latin typeface="Apis For Office"/>
                <a:ea typeface="+mn-ea"/>
                <a:cs typeface="+mn-cs"/>
              </a:rPr>
              <a:t>Pediatrics</a:t>
            </a: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121(</a:t>
            </a:r>
            <a:r>
              <a:rPr kumimoji="0" lang="en-GB" sz="500" b="0" i="0" u="none" strike="noStrike" kern="1200" cap="none" spc="0" normalizeH="0" baseline="0" noProof="0" dirty="0" err="1">
                <a:ln>
                  <a:noFill/>
                </a:ln>
                <a:solidFill>
                  <a:srgbClr val="FFFFFF">
                    <a:lumMod val="50000"/>
                  </a:srgbClr>
                </a:solidFill>
                <a:effectLst/>
                <a:uLnTx/>
                <a:uFillTx/>
                <a:latin typeface="Apis For Office"/>
                <a:ea typeface="+mn-ea"/>
                <a:cs typeface="+mn-cs"/>
              </a:rPr>
              <a:t>Suppl</a:t>
            </a: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3), S208-S217.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a:t>
            </a:r>
            <a:r>
              <a:rPr kumimoji="0" lang="en-GB" sz="500" b="0" i="0" u="none" strike="noStrike" kern="1200" cap="none" spc="0" normalizeH="0" baseline="0" noProof="0" dirty="0" err="1">
                <a:ln>
                  <a:noFill/>
                </a:ln>
                <a:solidFill>
                  <a:srgbClr val="FFFFFF">
                    <a:lumMod val="50000"/>
                  </a:srgbClr>
                </a:solidFill>
                <a:effectLst/>
                <a:uLnTx/>
                <a:uFillTx/>
                <a:latin typeface="Apis For Office"/>
                <a:ea typeface="+mn-ea"/>
                <a:cs typeface="+mn-cs"/>
              </a:rPr>
              <a:t>Filozof</a:t>
            </a: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C., et al. (2004). Smoking cessation and weight gain. Obesity Reviews, 5(2), 95-103.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Harder, T., et al. (2005). Duration of breastfeeding and risk of overweight: A meta-analysis. American Journal of Epidemiology, 162(5), 397-403.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Tremblay, M. S., et al. (2011). Systematic review of sedentary behaviour and health indicators in school-aged children and youth. International Journal of </a:t>
            </a:r>
            <a:r>
              <a:rPr kumimoji="0" lang="en-GB" sz="500" b="0" i="0" u="none" strike="noStrike" kern="1200" cap="none" spc="0" normalizeH="0" baseline="0" noProof="0" dirty="0" err="1">
                <a:ln>
                  <a:noFill/>
                </a:ln>
                <a:solidFill>
                  <a:srgbClr val="FFFFFF">
                    <a:lumMod val="50000"/>
                  </a:srgbClr>
                </a:solidFill>
                <a:effectLst/>
                <a:uLnTx/>
                <a:uFillTx/>
                <a:latin typeface="Apis For Office"/>
                <a:ea typeface="+mn-ea"/>
                <a:cs typeface="+mn-cs"/>
              </a:rPr>
              <a:t>Behavioral</a:t>
            </a: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Nutrition and Physical Activity, 8, 98.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 Scott, K. M., et al. (2008). Obesity and mental disorders in the general population. Archives of General Psychiatry, 65(1), 24-31.  #</a:t>
            </a:r>
          </a:p>
          <a:p>
            <a:pPr marL="228600" marR="0" lvl="0" indent="-228600" algn="l" defTabSz="914377" rtl="0" eaLnBrk="1" fontAlgn="auto" latinLnBrk="0" hangingPunct="1">
              <a:lnSpc>
                <a:spcPct val="12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FFFFFF">
                    <a:lumMod val="50000"/>
                  </a:srgbClr>
                </a:solidFill>
                <a:effectLst/>
                <a:uLnTx/>
                <a:uFillTx/>
                <a:latin typeface="Apis For Office"/>
                <a:ea typeface="+mn-ea"/>
                <a:cs typeface="+mn-cs"/>
              </a:rPr>
              <a:t>Allison, D. B., et al. (1999). Antipsychotic-induced weight gain: A comprehensive research synthesis. American Journal of Psychiatry, 156(11), 1686-1696.</a:t>
            </a:r>
            <a:endParaRPr kumimoji="0" lang="en-ZA" sz="500" b="0" i="0" u="none" strike="noStrike" kern="1200" cap="none" spc="0" normalizeH="0" baseline="0" noProof="0" dirty="0" err="1">
              <a:ln>
                <a:noFill/>
              </a:ln>
              <a:solidFill>
                <a:srgbClr val="FFFFFF">
                  <a:lumMod val="50000"/>
                </a:srgbClr>
              </a:solidFill>
              <a:effectLst/>
              <a:uLnTx/>
              <a:uFillTx/>
              <a:latin typeface="Apis For Office"/>
              <a:ea typeface="+mn-ea"/>
              <a:cs typeface="+mn-cs"/>
            </a:endParaRPr>
          </a:p>
        </p:txBody>
      </p:sp>
    </p:spTree>
    <p:extLst>
      <p:ext uri="{BB962C8B-B14F-4D97-AF65-F5344CB8AC3E}">
        <p14:creationId xmlns:p14="http://schemas.microsoft.com/office/powerpoint/2010/main" val="1771569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500" fill="hold"/>
                                        <p:tgtEl>
                                          <p:spTgt spid="25"/>
                                        </p:tgtEl>
                                        <p:attrNameLst>
                                          <p:attrName>ppt_x</p:attrName>
                                        </p:attrNameLst>
                                      </p:cBhvr>
                                      <p:tavLst>
                                        <p:tav tm="0">
                                          <p:val>
                                            <p:strVal val="#ppt_x"/>
                                          </p:val>
                                        </p:tav>
                                        <p:tav tm="100000">
                                          <p:val>
                                            <p:strVal val="#ppt_x"/>
                                          </p:val>
                                        </p:tav>
                                      </p:tavLst>
                                    </p:anim>
                                    <p:anim calcmode="lin" valueType="num">
                                      <p:cBhvr additive="base">
                                        <p:cTn id="2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fill="hold"/>
                                        <p:tgtEl>
                                          <p:spTgt spid="23"/>
                                        </p:tgtEl>
                                        <p:attrNameLst>
                                          <p:attrName>ppt_x</p:attrName>
                                        </p:attrNameLst>
                                      </p:cBhvr>
                                      <p:tavLst>
                                        <p:tav tm="0">
                                          <p:val>
                                            <p:strVal val="#ppt_x"/>
                                          </p:val>
                                        </p:tav>
                                        <p:tav tm="100000">
                                          <p:val>
                                            <p:strVal val="#ppt_x"/>
                                          </p:val>
                                        </p:tav>
                                      </p:tavLst>
                                    </p:anim>
                                    <p:anim calcmode="lin" valueType="num">
                                      <p:cBhvr additive="base">
                                        <p:cTn id="32"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additive="base">
                                        <p:cTn id="43" dur="500" fill="hold"/>
                                        <p:tgtEl>
                                          <p:spTgt spid="17"/>
                                        </p:tgtEl>
                                        <p:attrNameLst>
                                          <p:attrName>ppt_x</p:attrName>
                                        </p:attrNameLst>
                                      </p:cBhvr>
                                      <p:tavLst>
                                        <p:tav tm="0">
                                          <p:val>
                                            <p:strVal val="#ppt_x"/>
                                          </p:val>
                                        </p:tav>
                                        <p:tav tm="100000">
                                          <p:val>
                                            <p:strVal val="#ppt_x"/>
                                          </p:val>
                                        </p:tav>
                                      </p:tavLst>
                                    </p:anim>
                                    <p:anim calcmode="lin" valueType="num">
                                      <p:cBhvr additive="base">
                                        <p:cTn id="44"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P spid="14" grpId="0" animBg="1"/>
      <p:bldP spid="17" grpId="0" animBg="1"/>
      <p:bldP spid="23" grpId="0" animBg="1"/>
      <p:bldP spid="2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2" name="Title 2"/>
          <p:cNvSpPr>
            <a:spLocks noGrp="1"/>
          </p:cNvSpPr>
          <p:nvPr>
            <p:ph type="title"/>
          </p:nvPr>
        </p:nvSpPr>
        <p:spPr/>
        <p:txBody>
          <a:bodyPr/>
          <a:lstStyle/>
          <a:p>
            <a:r>
              <a:rPr lang="en-GB" dirty="0"/>
              <a:t>Hard truth: BMI – mortality link</a:t>
            </a:r>
            <a:br>
              <a:rPr lang="en-GB" dirty="0"/>
            </a:br>
            <a:endParaRPr lang="en-GB" dirty="0"/>
          </a:p>
        </p:txBody>
      </p:sp>
      <p:sp>
        <p:nvSpPr>
          <p:cNvPr id="2" name="Text Placeholder 1">
            <a:extLst>
              <a:ext uri="{FF2B5EF4-FFF2-40B4-BE49-F238E27FC236}">
                <a16:creationId xmlns:a16="http://schemas.microsoft.com/office/drawing/2014/main" id="{1B0CDE17-C4A5-4B3B-B58C-AA34C40F051A}"/>
              </a:ext>
            </a:extLst>
          </p:cNvPr>
          <p:cNvSpPr>
            <a:spLocks noGrp="1"/>
          </p:cNvSpPr>
          <p:nvPr>
            <p:ph type="body" sz="quarter" idx="13"/>
          </p:nvPr>
        </p:nvSpPr>
        <p:spPr/>
        <p:txBody>
          <a:bodyPr/>
          <a:lstStyle/>
          <a:p>
            <a:r>
              <a:rPr lang="en-GB"/>
              <a:t>Data are based on male subjects; n=541,452.</a:t>
            </a:r>
            <a:br>
              <a:rPr lang="en-GB"/>
            </a:br>
            <a:r>
              <a:rPr lang="en-GB"/>
              <a:t>BMI, body mass index.</a:t>
            </a:r>
            <a:br>
              <a:rPr lang="en-GB"/>
            </a:br>
            <a:r>
              <a:rPr lang="en-GB"/>
              <a:t>Prospective Studies Collaboration. Lancet. 2009;373:1083–96.</a:t>
            </a:r>
          </a:p>
        </p:txBody>
      </p:sp>
      <p:sp>
        <p:nvSpPr>
          <p:cNvPr id="113" name="Rectangle 8"/>
          <p:cNvSpPr>
            <a:spLocks noChangeArrowheads="1"/>
          </p:cNvSpPr>
          <p:nvPr/>
        </p:nvSpPr>
        <p:spPr bwMode="auto">
          <a:xfrm>
            <a:off x="8673088" y="1966433"/>
            <a:ext cx="3027379" cy="960000"/>
          </a:xfrm>
          <a:prstGeom prst="rect">
            <a:avLst/>
          </a:prstGeom>
          <a:solidFill>
            <a:schemeClr val="accent3"/>
          </a:solidFill>
          <a:ln w="38100">
            <a:noFill/>
          </a:ln>
          <a:effectLst/>
          <a:scene3d>
            <a:camera prst="orthographicFront">
              <a:rot lat="0" lon="0" rev="0"/>
            </a:camera>
            <a:lightRig rig="contrasting" dir="t">
              <a:rot lat="0" lon="0" rev="7800000"/>
            </a:lightRig>
          </a:scene3d>
          <a:sp3d/>
        </p:spPr>
        <p:txBody>
          <a:bodyPr lIns="95939" tIns="47959" rIns="95939" bIns="47959" anchor="ctr"/>
          <a:lstStyle/>
          <a:p>
            <a:pPr marL="0" marR="0" lvl="0" indent="0" algn="ctr" defTabSz="121821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ormal BMI =</a:t>
            </a:r>
            <a:b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lmost 80% chance of reaching age 70</a:t>
            </a:r>
          </a:p>
        </p:txBody>
      </p:sp>
      <p:sp>
        <p:nvSpPr>
          <p:cNvPr id="114" name="Rectangle 8"/>
          <p:cNvSpPr>
            <a:spLocks noChangeArrowheads="1"/>
          </p:cNvSpPr>
          <p:nvPr/>
        </p:nvSpPr>
        <p:spPr bwMode="auto">
          <a:xfrm>
            <a:off x="8673088" y="3011221"/>
            <a:ext cx="3027379" cy="960000"/>
          </a:xfrm>
          <a:prstGeom prst="rect">
            <a:avLst/>
          </a:prstGeom>
          <a:solidFill>
            <a:schemeClr val="accent5"/>
          </a:solidFill>
          <a:ln w="38100">
            <a:noFill/>
          </a:ln>
          <a:effectLst/>
          <a:scene3d>
            <a:camera prst="orthographicFront">
              <a:rot lat="0" lon="0" rev="0"/>
            </a:camera>
            <a:lightRig rig="contrasting" dir="t">
              <a:rot lat="0" lon="0" rev="7800000"/>
            </a:lightRig>
          </a:scene3d>
          <a:sp3d/>
        </p:spPr>
        <p:txBody>
          <a:bodyPr lIns="95939" tIns="47959" rIns="95939" bIns="47959" anchor="ctr"/>
          <a:lstStyle/>
          <a:p>
            <a:pPr marL="0" marR="0" lvl="0" indent="0" algn="ctr" defTabSz="121821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MI 35–40 kg/m</a:t>
            </a:r>
            <a:r>
              <a:rPr kumimoji="0" lang="en-GB" sz="1600" b="1" i="0" u="none" strike="noStrike" kern="1200" cap="none" spc="0" normalizeH="0" baseline="3000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a:t>
            </a:r>
            <a: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b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0% chance of </a:t>
            </a:r>
            <a:b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eaching age 70</a:t>
            </a:r>
            <a:endParaRPr kumimoji="0" lang="en-GB" sz="14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5" name="Rectangle 8"/>
          <p:cNvSpPr>
            <a:spLocks noChangeArrowheads="1"/>
          </p:cNvSpPr>
          <p:nvPr/>
        </p:nvSpPr>
        <p:spPr bwMode="auto">
          <a:xfrm>
            <a:off x="8673088" y="4056011"/>
            <a:ext cx="3027379" cy="960000"/>
          </a:xfrm>
          <a:prstGeom prst="rect">
            <a:avLst/>
          </a:prstGeom>
          <a:solidFill>
            <a:schemeClr val="tx2"/>
          </a:solidFill>
          <a:ln w="38100">
            <a:noFill/>
          </a:ln>
          <a:effectLst/>
          <a:scene3d>
            <a:camera prst="orthographicFront">
              <a:rot lat="0" lon="0" rev="0"/>
            </a:camera>
            <a:lightRig rig="contrasting" dir="t">
              <a:rot lat="0" lon="0" rev="7800000"/>
            </a:lightRig>
          </a:scene3d>
          <a:sp3d/>
        </p:spPr>
        <p:txBody>
          <a:bodyPr lIns="95939" tIns="47959" rIns="95939" bIns="47959" anchor="ctr"/>
          <a:lstStyle/>
          <a:p>
            <a:pPr marL="0" marR="0" lvl="0" indent="0" algn="ctr" defTabSz="121821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MI 40–50 kg/m</a:t>
            </a:r>
            <a:r>
              <a:rPr kumimoji="0" lang="en-GB" sz="1600" b="1" i="0" u="none" strike="noStrike" kern="1200" cap="none" spc="0" normalizeH="0" baseline="3000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 </a:t>
            </a:r>
            <a: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br>
              <a:rPr kumimoji="0" lang="en-GB" sz="16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0% chance of </a:t>
            </a:r>
            <a:b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reaching age 70</a:t>
            </a:r>
          </a:p>
        </p:txBody>
      </p:sp>
      <p:grpSp>
        <p:nvGrpSpPr>
          <p:cNvPr id="5" name="Group 4">
            <a:extLst>
              <a:ext uri="{FF2B5EF4-FFF2-40B4-BE49-F238E27FC236}">
                <a16:creationId xmlns:a16="http://schemas.microsoft.com/office/drawing/2014/main" id="{4C6F5E15-AB2D-42CA-866B-6FBDDC57541E}"/>
              </a:ext>
            </a:extLst>
          </p:cNvPr>
          <p:cNvGrpSpPr/>
          <p:nvPr/>
        </p:nvGrpSpPr>
        <p:grpSpPr>
          <a:xfrm>
            <a:off x="1584028" y="1840477"/>
            <a:ext cx="6555077" cy="3454104"/>
            <a:chOff x="1584028" y="1840477"/>
            <a:chExt cx="6555077" cy="3454104"/>
          </a:xfrm>
        </p:grpSpPr>
        <p:cxnSp>
          <p:nvCxnSpPr>
            <p:cNvPr id="109" name="Straight Connector 108"/>
            <p:cNvCxnSpPr/>
            <p:nvPr/>
          </p:nvCxnSpPr>
          <p:spPr>
            <a:xfrm flipH="1" flipV="1">
              <a:off x="5167859" y="2629646"/>
              <a:ext cx="0" cy="2553863"/>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98520" y="3124066"/>
              <a:ext cx="3471526" cy="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720381" y="2642959"/>
              <a:ext cx="3469339" cy="0"/>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698520" y="3576649"/>
              <a:ext cx="3471526"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1" name="Freeform 30"/>
            <p:cNvSpPr/>
            <p:nvPr/>
          </p:nvSpPr>
          <p:spPr>
            <a:xfrm>
              <a:off x="1720381" y="1908937"/>
              <a:ext cx="6330944" cy="3278375"/>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475782 w 4692770"/>
                <a:gd name="connsiteY3" fmla="*/ 854015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28048"/>
                <a:gd name="connsiteX1" fmla="*/ 1078302 w 4692770"/>
                <a:gd name="connsiteY1" fmla="*/ 146649 h 3728048"/>
                <a:gd name="connsiteX2" fmla="*/ 1820174 w 4692770"/>
                <a:gd name="connsiteY2" fmla="*/ 388189 h 3728048"/>
                <a:gd name="connsiteX3" fmla="*/ 2475782 w 4692770"/>
                <a:gd name="connsiteY3" fmla="*/ 854015 h 3728048"/>
                <a:gd name="connsiteX4" fmla="*/ 3433313 w 4692770"/>
                <a:gd name="connsiteY4" fmla="*/ 2372264 h 3728048"/>
                <a:gd name="connsiteX5" fmla="*/ 3968151 w 4692770"/>
                <a:gd name="connsiteY5" fmla="*/ 3510950 h 3728048"/>
                <a:gd name="connsiteX6" fmla="*/ 4692770 w 4692770"/>
                <a:gd name="connsiteY6" fmla="*/ 3674852 h 3728048"/>
                <a:gd name="connsiteX0" fmla="*/ 0 w 4692770"/>
                <a:gd name="connsiteY0" fmla="*/ 0 h 3674852"/>
                <a:gd name="connsiteX1" fmla="*/ 1078302 w 4692770"/>
                <a:gd name="connsiteY1" fmla="*/ 146649 h 3674852"/>
                <a:gd name="connsiteX2" fmla="*/ 1820174 w 4692770"/>
                <a:gd name="connsiteY2" fmla="*/ 388189 h 3674852"/>
                <a:gd name="connsiteX3" fmla="*/ 2475782 w 4692770"/>
                <a:gd name="connsiteY3" fmla="*/ 854015 h 3674852"/>
                <a:gd name="connsiteX4" fmla="*/ 3433313 w 4692770"/>
                <a:gd name="connsiteY4" fmla="*/ 2372264 h 3674852"/>
                <a:gd name="connsiteX5" fmla="*/ 4097547 w 4692770"/>
                <a:gd name="connsiteY5" fmla="*/ 3424686 h 3674852"/>
                <a:gd name="connsiteX6" fmla="*/ 4692770 w 4692770"/>
                <a:gd name="connsiteY6" fmla="*/ 3674852 h 3674852"/>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26610"/>
                <a:gd name="connsiteX1" fmla="*/ 1078302 w 4692770"/>
                <a:gd name="connsiteY1" fmla="*/ 155275 h 3726610"/>
                <a:gd name="connsiteX2" fmla="*/ 1820174 w 4692770"/>
                <a:gd name="connsiteY2" fmla="*/ 396815 h 3726610"/>
                <a:gd name="connsiteX3" fmla="*/ 2475782 w 4692770"/>
                <a:gd name="connsiteY3" fmla="*/ 862641 h 3726610"/>
                <a:gd name="connsiteX4" fmla="*/ 3200400 w 4692770"/>
                <a:gd name="connsiteY4" fmla="*/ 1923690 h 3726610"/>
                <a:gd name="connsiteX5" fmla="*/ 4097547 w 4692770"/>
                <a:gd name="connsiteY5" fmla="*/ 3433312 h 3726610"/>
                <a:gd name="connsiteX6" fmla="*/ 4692770 w 4692770"/>
                <a:gd name="connsiteY6" fmla="*/ 3683478 h 3726610"/>
                <a:gd name="connsiteX0" fmla="*/ 0 w 4692770"/>
                <a:gd name="connsiteY0" fmla="*/ 0 h 3726610"/>
                <a:gd name="connsiteX1" fmla="*/ 0 w 4692770"/>
                <a:gd name="connsiteY1" fmla="*/ 0 h 3726610"/>
                <a:gd name="connsiteX2" fmla="*/ 1078302 w 4692770"/>
                <a:gd name="connsiteY2" fmla="*/ 155275 h 3726610"/>
                <a:gd name="connsiteX3" fmla="*/ 1820174 w 4692770"/>
                <a:gd name="connsiteY3" fmla="*/ 396815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26610"/>
                <a:gd name="connsiteX1" fmla="*/ 0 w 4692770"/>
                <a:gd name="connsiteY1" fmla="*/ 0 h 3726610"/>
                <a:gd name="connsiteX2" fmla="*/ 1078302 w 4692770"/>
                <a:gd name="connsiteY2" fmla="*/ 155275 h 3726610"/>
                <a:gd name="connsiteX3" fmla="*/ 1794295 w 4692770"/>
                <a:gd name="connsiteY3" fmla="*/ 310551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26610"/>
                <a:gd name="connsiteX1" fmla="*/ 0 w 4692770"/>
                <a:gd name="connsiteY1" fmla="*/ 0 h 3726610"/>
                <a:gd name="connsiteX2" fmla="*/ 1052423 w 4692770"/>
                <a:gd name="connsiteY2" fmla="*/ 120769 h 3726610"/>
                <a:gd name="connsiteX3" fmla="*/ 1794295 w 4692770"/>
                <a:gd name="connsiteY3" fmla="*/ 310551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26610"/>
                <a:gd name="connsiteX1" fmla="*/ 0 w 4692770"/>
                <a:gd name="connsiteY1" fmla="*/ 0 h 3726610"/>
                <a:gd name="connsiteX2" fmla="*/ 1052423 w 4692770"/>
                <a:gd name="connsiteY2" fmla="*/ 120769 h 3726610"/>
                <a:gd name="connsiteX3" fmla="*/ 1794295 w 4692770"/>
                <a:gd name="connsiteY3" fmla="*/ 310551 h 3726610"/>
                <a:gd name="connsiteX4" fmla="*/ 2518914 w 4692770"/>
                <a:gd name="connsiteY4" fmla="*/ 836762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92770"/>
                <a:gd name="connsiteY0" fmla="*/ 0 h 3745301"/>
                <a:gd name="connsiteX1" fmla="*/ 0 w 4692770"/>
                <a:gd name="connsiteY1" fmla="*/ 0 h 3745301"/>
                <a:gd name="connsiteX2" fmla="*/ 1052423 w 4692770"/>
                <a:gd name="connsiteY2" fmla="*/ 120769 h 3745301"/>
                <a:gd name="connsiteX3" fmla="*/ 1794295 w 4692770"/>
                <a:gd name="connsiteY3" fmla="*/ 310551 h 3745301"/>
                <a:gd name="connsiteX4" fmla="*/ 2518914 w 4692770"/>
                <a:gd name="connsiteY4" fmla="*/ 836762 h 3745301"/>
                <a:gd name="connsiteX5" fmla="*/ 3209026 w 4692770"/>
                <a:gd name="connsiteY5" fmla="*/ 1811547 h 3745301"/>
                <a:gd name="connsiteX6" fmla="*/ 4097547 w 4692770"/>
                <a:gd name="connsiteY6" fmla="*/ 3433312 h 3745301"/>
                <a:gd name="connsiteX7" fmla="*/ 4692770 w 4692770"/>
                <a:gd name="connsiteY7" fmla="*/ 3683478 h 3745301"/>
                <a:gd name="connsiteX0" fmla="*/ 0 w 4692770"/>
                <a:gd name="connsiteY0" fmla="*/ 0 h 3683478"/>
                <a:gd name="connsiteX1" fmla="*/ 0 w 4692770"/>
                <a:gd name="connsiteY1" fmla="*/ 0 h 3683478"/>
                <a:gd name="connsiteX2" fmla="*/ 1052423 w 4692770"/>
                <a:gd name="connsiteY2" fmla="*/ 120769 h 3683478"/>
                <a:gd name="connsiteX3" fmla="*/ 1794295 w 4692770"/>
                <a:gd name="connsiteY3" fmla="*/ 310551 h 3683478"/>
                <a:gd name="connsiteX4" fmla="*/ 2518914 w 4692770"/>
                <a:gd name="connsiteY4" fmla="*/ 836762 h 3683478"/>
                <a:gd name="connsiteX5" fmla="*/ 3209026 w 4692770"/>
                <a:gd name="connsiteY5" fmla="*/ 1811547 h 3683478"/>
                <a:gd name="connsiteX6" fmla="*/ 3916392 w 4692770"/>
                <a:gd name="connsiteY6" fmla="*/ 3079629 h 3683478"/>
                <a:gd name="connsiteX7" fmla="*/ 4692770 w 4692770"/>
                <a:gd name="connsiteY7" fmla="*/ 3683478 h 3683478"/>
                <a:gd name="connsiteX0" fmla="*/ 0 w 4597880"/>
                <a:gd name="connsiteY0" fmla="*/ 0 h 3648973"/>
                <a:gd name="connsiteX1" fmla="*/ 0 w 4597880"/>
                <a:gd name="connsiteY1" fmla="*/ 0 h 3648973"/>
                <a:gd name="connsiteX2" fmla="*/ 1052423 w 4597880"/>
                <a:gd name="connsiteY2" fmla="*/ 120769 h 3648973"/>
                <a:gd name="connsiteX3" fmla="*/ 1794295 w 4597880"/>
                <a:gd name="connsiteY3" fmla="*/ 310551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 name="connsiteX0" fmla="*/ 0 w 4597880"/>
                <a:gd name="connsiteY0" fmla="*/ 0 h 3648973"/>
                <a:gd name="connsiteX1" fmla="*/ 0 w 4597880"/>
                <a:gd name="connsiteY1" fmla="*/ 0 h 3648973"/>
                <a:gd name="connsiteX2" fmla="*/ 1052423 w 4597880"/>
                <a:gd name="connsiteY2" fmla="*/ 120769 h 3648973"/>
                <a:gd name="connsiteX3" fmla="*/ 1794295 w 4597880"/>
                <a:gd name="connsiteY3" fmla="*/ 310551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 name="connsiteX0" fmla="*/ 0 w 4597880"/>
                <a:gd name="connsiteY0" fmla="*/ 0 h 3648973"/>
                <a:gd name="connsiteX1" fmla="*/ 0 w 4597880"/>
                <a:gd name="connsiteY1" fmla="*/ 0 h 3648973"/>
                <a:gd name="connsiteX2" fmla="*/ 1052423 w 4597880"/>
                <a:gd name="connsiteY2" fmla="*/ 120769 h 3648973"/>
                <a:gd name="connsiteX3" fmla="*/ 1794295 w 4597880"/>
                <a:gd name="connsiteY3" fmla="*/ 310551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 name="connsiteX0" fmla="*/ 0 w 4597880"/>
                <a:gd name="connsiteY0" fmla="*/ 0 h 3648973"/>
                <a:gd name="connsiteX1" fmla="*/ 0 w 4597880"/>
                <a:gd name="connsiteY1" fmla="*/ 0 h 3648973"/>
                <a:gd name="connsiteX2" fmla="*/ 1052423 w 4597880"/>
                <a:gd name="connsiteY2" fmla="*/ 120769 h 3648973"/>
                <a:gd name="connsiteX3" fmla="*/ 1863306 w 4597880"/>
                <a:gd name="connsiteY3" fmla="*/ 353683 h 3648973"/>
                <a:gd name="connsiteX4" fmla="*/ 2518914 w 4597880"/>
                <a:gd name="connsiteY4" fmla="*/ 836762 h 3648973"/>
                <a:gd name="connsiteX5" fmla="*/ 3209026 w 4597880"/>
                <a:gd name="connsiteY5" fmla="*/ 1811547 h 3648973"/>
                <a:gd name="connsiteX6" fmla="*/ 3916392 w 4597880"/>
                <a:gd name="connsiteY6" fmla="*/ 3079629 h 3648973"/>
                <a:gd name="connsiteX7" fmla="*/ 4597880 w 4597880"/>
                <a:gd name="connsiteY7" fmla="*/ 3648973 h 364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7880" h="3648973">
                  <a:moveTo>
                    <a:pt x="0" y="0"/>
                  </a:moveTo>
                  <a:lnTo>
                    <a:pt x="0" y="0"/>
                  </a:lnTo>
                  <a:cubicBezTo>
                    <a:pt x="179717" y="25879"/>
                    <a:pt x="750314" y="51902"/>
                    <a:pt x="1052423" y="120769"/>
                  </a:cubicBezTo>
                  <a:cubicBezTo>
                    <a:pt x="1373038" y="195532"/>
                    <a:pt x="1535503" y="209911"/>
                    <a:pt x="1863306" y="353683"/>
                  </a:cubicBezTo>
                  <a:cubicBezTo>
                    <a:pt x="2096219" y="471577"/>
                    <a:pt x="2294627" y="593785"/>
                    <a:pt x="2518914" y="836762"/>
                  </a:cubicBezTo>
                  <a:cubicBezTo>
                    <a:pt x="2743201" y="1079739"/>
                    <a:pt x="2988903" y="1466491"/>
                    <a:pt x="3209026" y="1811547"/>
                  </a:cubicBezTo>
                  <a:cubicBezTo>
                    <a:pt x="3411895" y="2165230"/>
                    <a:pt x="3736674" y="2747511"/>
                    <a:pt x="3916392" y="3079629"/>
                  </a:cubicBezTo>
                  <a:cubicBezTo>
                    <a:pt x="4147868" y="3385867"/>
                    <a:pt x="4304582" y="3594339"/>
                    <a:pt x="4597880" y="3648973"/>
                  </a:cubicBezTo>
                </a:path>
              </a:pathLst>
            </a:cu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2" name="Freeform 31"/>
            <p:cNvSpPr/>
            <p:nvPr/>
          </p:nvSpPr>
          <p:spPr>
            <a:xfrm>
              <a:off x="1659171" y="1889920"/>
              <a:ext cx="6462110" cy="3327818"/>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92770" h="3703606">
                  <a:moveTo>
                    <a:pt x="0" y="0"/>
                  </a:moveTo>
                  <a:cubicBezTo>
                    <a:pt x="373811" y="74762"/>
                    <a:pt x="843952" y="124512"/>
                    <a:pt x="1121434" y="224286"/>
                  </a:cubicBezTo>
                  <a:cubicBezTo>
                    <a:pt x="1416169" y="350807"/>
                    <a:pt x="1582948" y="409755"/>
                    <a:pt x="1820174" y="603849"/>
                  </a:cubicBezTo>
                  <a:cubicBezTo>
                    <a:pt x="2057400" y="797943"/>
                    <a:pt x="2303253" y="1069675"/>
                    <a:pt x="2544793" y="1388852"/>
                  </a:cubicBezTo>
                  <a:cubicBezTo>
                    <a:pt x="2786333" y="1708029"/>
                    <a:pt x="3049289" y="2173857"/>
                    <a:pt x="3269412" y="2518913"/>
                  </a:cubicBezTo>
                  <a:cubicBezTo>
                    <a:pt x="3472281" y="2872596"/>
                    <a:pt x="3730925" y="3318294"/>
                    <a:pt x="3968151" y="3510950"/>
                  </a:cubicBezTo>
                  <a:cubicBezTo>
                    <a:pt x="4205377" y="3703606"/>
                    <a:pt x="4451230" y="3620218"/>
                    <a:pt x="4692770" y="3674852"/>
                  </a:cubicBezTo>
                </a:path>
              </a:pathLst>
            </a:cu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3" name="Freeform 32"/>
            <p:cNvSpPr/>
            <p:nvPr/>
          </p:nvSpPr>
          <p:spPr>
            <a:xfrm>
              <a:off x="1720381" y="1882314"/>
              <a:ext cx="6379038" cy="3301194"/>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78302 w 4692770"/>
                <a:gd name="connsiteY1" fmla="*/ 146649 h 3703606"/>
                <a:gd name="connsiteX2" fmla="*/ 1820174 w 4692770"/>
                <a:gd name="connsiteY2" fmla="*/ 388189 h 3703606"/>
                <a:gd name="connsiteX3" fmla="*/ 2475782 w 4692770"/>
                <a:gd name="connsiteY3" fmla="*/ 854015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28048"/>
                <a:gd name="connsiteX1" fmla="*/ 1078302 w 4692770"/>
                <a:gd name="connsiteY1" fmla="*/ 146649 h 3728048"/>
                <a:gd name="connsiteX2" fmla="*/ 1820174 w 4692770"/>
                <a:gd name="connsiteY2" fmla="*/ 388189 h 3728048"/>
                <a:gd name="connsiteX3" fmla="*/ 2475782 w 4692770"/>
                <a:gd name="connsiteY3" fmla="*/ 854015 h 3728048"/>
                <a:gd name="connsiteX4" fmla="*/ 3433313 w 4692770"/>
                <a:gd name="connsiteY4" fmla="*/ 2372264 h 3728048"/>
                <a:gd name="connsiteX5" fmla="*/ 3968151 w 4692770"/>
                <a:gd name="connsiteY5" fmla="*/ 3510950 h 3728048"/>
                <a:gd name="connsiteX6" fmla="*/ 4692770 w 4692770"/>
                <a:gd name="connsiteY6" fmla="*/ 3674852 h 3728048"/>
                <a:gd name="connsiteX0" fmla="*/ 0 w 4692770"/>
                <a:gd name="connsiteY0" fmla="*/ 0 h 3674852"/>
                <a:gd name="connsiteX1" fmla="*/ 1078302 w 4692770"/>
                <a:gd name="connsiteY1" fmla="*/ 146649 h 3674852"/>
                <a:gd name="connsiteX2" fmla="*/ 1820174 w 4692770"/>
                <a:gd name="connsiteY2" fmla="*/ 388189 h 3674852"/>
                <a:gd name="connsiteX3" fmla="*/ 2475782 w 4692770"/>
                <a:gd name="connsiteY3" fmla="*/ 854015 h 3674852"/>
                <a:gd name="connsiteX4" fmla="*/ 3433313 w 4692770"/>
                <a:gd name="connsiteY4" fmla="*/ 2372264 h 3674852"/>
                <a:gd name="connsiteX5" fmla="*/ 4097547 w 4692770"/>
                <a:gd name="connsiteY5" fmla="*/ 3424686 h 3674852"/>
                <a:gd name="connsiteX6" fmla="*/ 4692770 w 4692770"/>
                <a:gd name="connsiteY6" fmla="*/ 3674852 h 3674852"/>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17984"/>
                <a:gd name="connsiteX1" fmla="*/ 1078302 w 4692770"/>
                <a:gd name="connsiteY1" fmla="*/ 146649 h 3717984"/>
                <a:gd name="connsiteX2" fmla="*/ 1820174 w 4692770"/>
                <a:gd name="connsiteY2" fmla="*/ 388189 h 3717984"/>
                <a:gd name="connsiteX3" fmla="*/ 2475782 w 4692770"/>
                <a:gd name="connsiteY3" fmla="*/ 854015 h 3717984"/>
                <a:gd name="connsiteX4" fmla="*/ 3200400 w 4692770"/>
                <a:gd name="connsiteY4" fmla="*/ 1915064 h 3717984"/>
                <a:gd name="connsiteX5" fmla="*/ 4097547 w 4692770"/>
                <a:gd name="connsiteY5" fmla="*/ 3424686 h 3717984"/>
                <a:gd name="connsiteX6" fmla="*/ 4692770 w 4692770"/>
                <a:gd name="connsiteY6" fmla="*/ 3674852 h 3717984"/>
                <a:gd name="connsiteX0" fmla="*/ 0 w 4692770"/>
                <a:gd name="connsiteY0" fmla="*/ 0 h 3726610"/>
                <a:gd name="connsiteX1" fmla="*/ 1078302 w 4692770"/>
                <a:gd name="connsiteY1" fmla="*/ 155275 h 3726610"/>
                <a:gd name="connsiteX2" fmla="*/ 1820174 w 4692770"/>
                <a:gd name="connsiteY2" fmla="*/ 396815 h 3726610"/>
                <a:gd name="connsiteX3" fmla="*/ 2475782 w 4692770"/>
                <a:gd name="connsiteY3" fmla="*/ 862641 h 3726610"/>
                <a:gd name="connsiteX4" fmla="*/ 3200400 w 4692770"/>
                <a:gd name="connsiteY4" fmla="*/ 1923690 h 3726610"/>
                <a:gd name="connsiteX5" fmla="*/ 4097547 w 4692770"/>
                <a:gd name="connsiteY5" fmla="*/ 3433312 h 3726610"/>
                <a:gd name="connsiteX6" fmla="*/ 4692770 w 4692770"/>
                <a:gd name="connsiteY6" fmla="*/ 3683478 h 3726610"/>
                <a:gd name="connsiteX0" fmla="*/ 0 w 4692770"/>
                <a:gd name="connsiteY0" fmla="*/ 0 h 3726610"/>
                <a:gd name="connsiteX1" fmla="*/ 0 w 4692770"/>
                <a:gd name="connsiteY1" fmla="*/ 0 h 3726610"/>
                <a:gd name="connsiteX2" fmla="*/ 1078302 w 4692770"/>
                <a:gd name="connsiteY2" fmla="*/ 155275 h 3726610"/>
                <a:gd name="connsiteX3" fmla="*/ 1820174 w 4692770"/>
                <a:gd name="connsiteY3" fmla="*/ 396815 h 3726610"/>
                <a:gd name="connsiteX4" fmla="*/ 2475782 w 4692770"/>
                <a:gd name="connsiteY4" fmla="*/ 862641 h 3726610"/>
                <a:gd name="connsiteX5" fmla="*/ 3200400 w 4692770"/>
                <a:gd name="connsiteY5" fmla="*/ 1923690 h 3726610"/>
                <a:gd name="connsiteX6" fmla="*/ 4097547 w 4692770"/>
                <a:gd name="connsiteY6" fmla="*/ 3433312 h 3726610"/>
                <a:gd name="connsiteX7" fmla="*/ 4692770 w 4692770"/>
                <a:gd name="connsiteY7" fmla="*/ 3683478 h 3726610"/>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725172"/>
                <a:gd name="connsiteX1" fmla="*/ 0 w 4632386"/>
                <a:gd name="connsiteY1" fmla="*/ 0 h 3725172"/>
                <a:gd name="connsiteX2" fmla="*/ 1078302 w 4632386"/>
                <a:gd name="connsiteY2" fmla="*/ 155275 h 3725172"/>
                <a:gd name="connsiteX3" fmla="*/ 1820174 w 4632386"/>
                <a:gd name="connsiteY3" fmla="*/ 396815 h 3725172"/>
                <a:gd name="connsiteX4" fmla="*/ 2475782 w 4632386"/>
                <a:gd name="connsiteY4" fmla="*/ 862641 h 3725172"/>
                <a:gd name="connsiteX5" fmla="*/ 3200400 w 4632386"/>
                <a:gd name="connsiteY5" fmla="*/ 1923690 h 3725172"/>
                <a:gd name="connsiteX6" fmla="*/ 4097547 w 4632386"/>
                <a:gd name="connsiteY6" fmla="*/ 3433312 h 3725172"/>
                <a:gd name="connsiteX7" fmla="*/ 4632386 w 4632386"/>
                <a:gd name="connsiteY7" fmla="*/ 3674852 h 3725172"/>
                <a:gd name="connsiteX0" fmla="*/ 0 w 4632386"/>
                <a:gd name="connsiteY0" fmla="*/ 0 h 3674852"/>
                <a:gd name="connsiteX1" fmla="*/ 0 w 4632386"/>
                <a:gd name="connsiteY1" fmla="*/ 0 h 3674852"/>
                <a:gd name="connsiteX2" fmla="*/ 1078302 w 4632386"/>
                <a:gd name="connsiteY2" fmla="*/ 155275 h 3674852"/>
                <a:gd name="connsiteX3" fmla="*/ 1820174 w 4632386"/>
                <a:gd name="connsiteY3" fmla="*/ 396815 h 3674852"/>
                <a:gd name="connsiteX4" fmla="*/ 2475782 w 4632386"/>
                <a:gd name="connsiteY4" fmla="*/ 862641 h 3674852"/>
                <a:gd name="connsiteX5" fmla="*/ 3200400 w 4632386"/>
                <a:gd name="connsiteY5" fmla="*/ 1923690 h 3674852"/>
                <a:gd name="connsiteX6" fmla="*/ 4011283 w 4632386"/>
                <a:gd name="connsiteY6" fmla="*/ 3312543 h 3674852"/>
                <a:gd name="connsiteX7" fmla="*/ 4632386 w 4632386"/>
                <a:gd name="connsiteY7" fmla="*/ 3674852 h 367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86" h="3674852">
                  <a:moveTo>
                    <a:pt x="0" y="0"/>
                  </a:moveTo>
                  <a:lnTo>
                    <a:pt x="0" y="0"/>
                  </a:lnTo>
                  <a:cubicBezTo>
                    <a:pt x="179717" y="25879"/>
                    <a:pt x="776193" y="86408"/>
                    <a:pt x="1078302" y="155275"/>
                  </a:cubicBezTo>
                  <a:cubicBezTo>
                    <a:pt x="1398917" y="230038"/>
                    <a:pt x="1492371" y="253043"/>
                    <a:pt x="1820174" y="396815"/>
                  </a:cubicBezTo>
                  <a:cubicBezTo>
                    <a:pt x="2053087" y="514709"/>
                    <a:pt x="2245744" y="608162"/>
                    <a:pt x="2475782" y="862641"/>
                  </a:cubicBezTo>
                  <a:cubicBezTo>
                    <a:pt x="2705820" y="1117120"/>
                    <a:pt x="2980277" y="1578634"/>
                    <a:pt x="3200400" y="1923690"/>
                  </a:cubicBezTo>
                  <a:cubicBezTo>
                    <a:pt x="3403269" y="2277373"/>
                    <a:pt x="3772619" y="3020683"/>
                    <a:pt x="4011283" y="3312543"/>
                  </a:cubicBezTo>
                  <a:cubicBezTo>
                    <a:pt x="4249947" y="3604403"/>
                    <a:pt x="4278703" y="3611592"/>
                    <a:pt x="4632386" y="3674852"/>
                  </a:cubicBezTo>
                </a:path>
              </a:pathLst>
            </a:cu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4" name="Freeform 33"/>
            <p:cNvSpPr/>
            <p:nvPr/>
          </p:nvSpPr>
          <p:spPr>
            <a:xfrm>
              <a:off x="1691961" y="1899429"/>
              <a:ext cx="6438063" cy="3297391"/>
            </a:xfrm>
            <a:custGeom>
              <a:avLst/>
              <a:gdLst>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674852"/>
                <a:gd name="connsiteX1" fmla="*/ 1121434 w 4692770"/>
                <a:gd name="connsiteY1" fmla="*/ 224286 h 3674852"/>
                <a:gd name="connsiteX2" fmla="*/ 1820174 w 4692770"/>
                <a:gd name="connsiteY2" fmla="*/ 603849 h 3674852"/>
                <a:gd name="connsiteX3" fmla="*/ 2544793 w 4692770"/>
                <a:gd name="connsiteY3" fmla="*/ 1388852 h 3674852"/>
                <a:gd name="connsiteX4" fmla="*/ 3252159 w 4692770"/>
                <a:gd name="connsiteY4" fmla="*/ 2536166 h 3674852"/>
                <a:gd name="connsiteX5" fmla="*/ 3968151 w 4692770"/>
                <a:gd name="connsiteY5" fmla="*/ 3510950 h 3674852"/>
                <a:gd name="connsiteX6" fmla="*/ 4692770 w 4692770"/>
                <a:gd name="connsiteY6" fmla="*/ 3674852 h 3674852"/>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0731"/>
                <a:gd name="connsiteX1" fmla="*/ 1121434 w 4692770"/>
                <a:gd name="connsiteY1" fmla="*/ 224286 h 3700731"/>
                <a:gd name="connsiteX2" fmla="*/ 1820174 w 4692770"/>
                <a:gd name="connsiteY2" fmla="*/ 603849 h 3700731"/>
                <a:gd name="connsiteX3" fmla="*/ 2544793 w 4692770"/>
                <a:gd name="connsiteY3" fmla="*/ 1388852 h 3700731"/>
                <a:gd name="connsiteX4" fmla="*/ 3252159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20174 w 4692770"/>
                <a:gd name="connsiteY2" fmla="*/ 603849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121434 w 4692770"/>
                <a:gd name="connsiteY1" fmla="*/ 224286 h 3703606"/>
                <a:gd name="connsiteX2" fmla="*/ 1802921 w 4692770"/>
                <a:gd name="connsiteY2" fmla="*/ 439947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69676 w 4692770"/>
                <a:gd name="connsiteY1" fmla="*/ 112143 h 3703606"/>
                <a:gd name="connsiteX2" fmla="*/ 1802921 w 4692770"/>
                <a:gd name="connsiteY2" fmla="*/ 439947 h 3703606"/>
                <a:gd name="connsiteX3" fmla="*/ 2544793 w 4692770"/>
                <a:gd name="connsiteY3" fmla="*/ 1388852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69676 w 4692770"/>
                <a:gd name="connsiteY1" fmla="*/ 112143 h 3703606"/>
                <a:gd name="connsiteX2" fmla="*/ 1802921 w 4692770"/>
                <a:gd name="connsiteY2" fmla="*/ 439947 h 3703606"/>
                <a:gd name="connsiteX3" fmla="*/ 2631057 w 4692770"/>
                <a:gd name="connsiteY3" fmla="*/ 1259456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3606"/>
                <a:gd name="connsiteX1" fmla="*/ 1069676 w 4692770"/>
                <a:gd name="connsiteY1" fmla="*/ 112143 h 3703606"/>
                <a:gd name="connsiteX2" fmla="*/ 1854679 w 4692770"/>
                <a:gd name="connsiteY2" fmla="*/ 491706 h 3703606"/>
                <a:gd name="connsiteX3" fmla="*/ 2631057 w 4692770"/>
                <a:gd name="connsiteY3" fmla="*/ 1259456 h 3703606"/>
                <a:gd name="connsiteX4" fmla="*/ 3269412 w 4692770"/>
                <a:gd name="connsiteY4" fmla="*/ 2518913 h 3703606"/>
                <a:gd name="connsiteX5" fmla="*/ 3968151 w 4692770"/>
                <a:gd name="connsiteY5" fmla="*/ 3510950 h 3703606"/>
                <a:gd name="connsiteX6" fmla="*/ 4692770 w 4692770"/>
                <a:gd name="connsiteY6" fmla="*/ 3674852 h 3703606"/>
                <a:gd name="connsiteX0" fmla="*/ 0 w 4692770"/>
                <a:gd name="connsiteY0" fmla="*/ 0 h 3700731"/>
                <a:gd name="connsiteX1" fmla="*/ 1069676 w 4692770"/>
                <a:gd name="connsiteY1" fmla="*/ 112143 h 3700731"/>
                <a:gd name="connsiteX2" fmla="*/ 1854679 w 4692770"/>
                <a:gd name="connsiteY2" fmla="*/ 491706 h 3700731"/>
                <a:gd name="connsiteX3" fmla="*/ 2631057 w 4692770"/>
                <a:gd name="connsiteY3" fmla="*/ 1259456 h 3700731"/>
                <a:gd name="connsiteX4" fmla="*/ 3407434 w 4692770"/>
                <a:gd name="connsiteY4" fmla="*/ 2536166 h 3700731"/>
                <a:gd name="connsiteX5" fmla="*/ 3968151 w 4692770"/>
                <a:gd name="connsiteY5" fmla="*/ 3510950 h 3700731"/>
                <a:gd name="connsiteX6" fmla="*/ 4692770 w 4692770"/>
                <a:gd name="connsiteY6" fmla="*/ 3674852 h 3700731"/>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16392 w 4692770"/>
                <a:gd name="connsiteY5" fmla="*/ 3286663 h 3674852"/>
                <a:gd name="connsiteX6" fmla="*/ 4692770 w 4692770"/>
                <a:gd name="connsiteY6"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16392 w 4692770"/>
                <a:gd name="connsiteY5" fmla="*/ 3286663 h 3674852"/>
                <a:gd name="connsiteX6" fmla="*/ 4186681 w 4692770"/>
                <a:gd name="connsiteY6" fmla="*/ 3539699 h 3674852"/>
                <a:gd name="connsiteX7" fmla="*/ 4692770 w 4692770"/>
                <a:gd name="connsiteY7"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33645 w 4692770"/>
                <a:gd name="connsiteY5" fmla="*/ 3329795 h 3674852"/>
                <a:gd name="connsiteX6" fmla="*/ 4186681 w 4692770"/>
                <a:gd name="connsiteY6" fmla="*/ 3539699 h 3674852"/>
                <a:gd name="connsiteX7" fmla="*/ 4692770 w 4692770"/>
                <a:gd name="connsiteY7"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33645 w 4692770"/>
                <a:gd name="connsiteY5" fmla="*/ 3329795 h 3674852"/>
                <a:gd name="connsiteX6" fmla="*/ 4186681 w 4692770"/>
                <a:gd name="connsiteY6" fmla="*/ 3539699 h 3674852"/>
                <a:gd name="connsiteX7" fmla="*/ 4692770 w 4692770"/>
                <a:gd name="connsiteY7" fmla="*/ 3674852 h 3674852"/>
                <a:gd name="connsiteX0" fmla="*/ 0 w 4692770"/>
                <a:gd name="connsiteY0" fmla="*/ 0 h 3674852"/>
                <a:gd name="connsiteX1" fmla="*/ 1069676 w 4692770"/>
                <a:gd name="connsiteY1" fmla="*/ 112143 h 3674852"/>
                <a:gd name="connsiteX2" fmla="*/ 1854679 w 4692770"/>
                <a:gd name="connsiteY2" fmla="*/ 491706 h 3674852"/>
                <a:gd name="connsiteX3" fmla="*/ 2631057 w 4692770"/>
                <a:gd name="connsiteY3" fmla="*/ 1259456 h 3674852"/>
                <a:gd name="connsiteX4" fmla="*/ 3407434 w 4692770"/>
                <a:gd name="connsiteY4" fmla="*/ 2536166 h 3674852"/>
                <a:gd name="connsiteX5" fmla="*/ 3933645 w 4692770"/>
                <a:gd name="connsiteY5" fmla="*/ 3329795 h 3674852"/>
                <a:gd name="connsiteX6" fmla="*/ 4195308 w 4692770"/>
                <a:gd name="connsiteY6" fmla="*/ 3574205 h 3674852"/>
                <a:gd name="connsiteX7" fmla="*/ 4692770 w 4692770"/>
                <a:gd name="connsiteY7" fmla="*/ 3674852 h 3674852"/>
                <a:gd name="connsiteX0" fmla="*/ 0 w 4675518"/>
                <a:gd name="connsiteY0" fmla="*/ 0 h 3657599"/>
                <a:gd name="connsiteX1" fmla="*/ 1069676 w 4675518"/>
                <a:gd name="connsiteY1" fmla="*/ 112143 h 3657599"/>
                <a:gd name="connsiteX2" fmla="*/ 1854679 w 4675518"/>
                <a:gd name="connsiteY2" fmla="*/ 491706 h 3657599"/>
                <a:gd name="connsiteX3" fmla="*/ 2631057 w 4675518"/>
                <a:gd name="connsiteY3" fmla="*/ 1259456 h 3657599"/>
                <a:gd name="connsiteX4" fmla="*/ 3407434 w 4675518"/>
                <a:gd name="connsiteY4" fmla="*/ 2536166 h 3657599"/>
                <a:gd name="connsiteX5" fmla="*/ 3933645 w 4675518"/>
                <a:gd name="connsiteY5" fmla="*/ 3329795 h 3657599"/>
                <a:gd name="connsiteX6" fmla="*/ 4195308 w 4675518"/>
                <a:gd name="connsiteY6" fmla="*/ 3574205 h 3657599"/>
                <a:gd name="connsiteX7" fmla="*/ 4675518 w 4675518"/>
                <a:gd name="connsiteY7" fmla="*/ 3657599 h 3657599"/>
                <a:gd name="connsiteX0" fmla="*/ 0 w 4675518"/>
                <a:gd name="connsiteY0" fmla="*/ 0 h 3657599"/>
                <a:gd name="connsiteX1" fmla="*/ 1069676 w 4675518"/>
                <a:gd name="connsiteY1" fmla="*/ 112143 h 3657599"/>
                <a:gd name="connsiteX2" fmla="*/ 1854679 w 4675518"/>
                <a:gd name="connsiteY2" fmla="*/ 491706 h 3657599"/>
                <a:gd name="connsiteX3" fmla="*/ 2631057 w 4675518"/>
                <a:gd name="connsiteY3" fmla="*/ 1259456 h 3657599"/>
                <a:gd name="connsiteX4" fmla="*/ 3407434 w 4675518"/>
                <a:gd name="connsiteY4" fmla="*/ 2536166 h 3657599"/>
                <a:gd name="connsiteX5" fmla="*/ 3933645 w 4675518"/>
                <a:gd name="connsiteY5" fmla="*/ 3329795 h 3657599"/>
                <a:gd name="connsiteX6" fmla="*/ 4195308 w 4675518"/>
                <a:gd name="connsiteY6" fmla="*/ 3574205 h 3657599"/>
                <a:gd name="connsiteX7" fmla="*/ 4675518 w 4675518"/>
                <a:gd name="connsiteY7" fmla="*/ 3657599 h 3657599"/>
                <a:gd name="connsiteX0" fmla="*/ 0 w 4675518"/>
                <a:gd name="connsiteY0" fmla="*/ 0 h 3657599"/>
                <a:gd name="connsiteX1" fmla="*/ 386515 w 4675518"/>
                <a:gd name="connsiteY1" fmla="*/ 32884 h 3657599"/>
                <a:gd name="connsiteX2" fmla="*/ 1069676 w 4675518"/>
                <a:gd name="connsiteY2" fmla="*/ 112143 h 3657599"/>
                <a:gd name="connsiteX3" fmla="*/ 1854679 w 4675518"/>
                <a:gd name="connsiteY3" fmla="*/ 491706 h 3657599"/>
                <a:gd name="connsiteX4" fmla="*/ 2631057 w 4675518"/>
                <a:gd name="connsiteY4" fmla="*/ 1259456 h 3657599"/>
                <a:gd name="connsiteX5" fmla="*/ 3407434 w 4675518"/>
                <a:gd name="connsiteY5" fmla="*/ 2536166 h 3657599"/>
                <a:gd name="connsiteX6" fmla="*/ 3933645 w 4675518"/>
                <a:gd name="connsiteY6" fmla="*/ 3329795 h 3657599"/>
                <a:gd name="connsiteX7" fmla="*/ 4195308 w 4675518"/>
                <a:gd name="connsiteY7" fmla="*/ 3574205 h 3657599"/>
                <a:gd name="connsiteX8" fmla="*/ 4675518 w 4675518"/>
                <a:gd name="connsiteY8" fmla="*/ 3657599 h 3657599"/>
                <a:gd name="connsiteX0" fmla="*/ 0 w 4675518"/>
                <a:gd name="connsiteY0" fmla="*/ 51195 h 3708794"/>
                <a:gd name="connsiteX1" fmla="*/ 370283 w 4675518"/>
                <a:gd name="connsiteY1" fmla="*/ 18691 h 3708794"/>
                <a:gd name="connsiteX2" fmla="*/ 1069676 w 4675518"/>
                <a:gd name="connsiteY2" fmla="*/ 163338 h 3708794"/>
                <a:gd name="connsiteX3" fmla="*/ 1854679 w 4675518"/>
                <a:gd name="connsiteY3" fmla="*/ 542901 h 3708794"/>
                <a:gd name="connsiteX4" fmla="*/ 2631057 w 4675518"/>
                <a:gd name="connsiteY4" fmla="*/ 1310651 h 3708794"/>
                <a:gd name="connsiteX5" fmla="*/ 3407434 w 4675518"/>
                <a:gd name="connsiteY5" fmla="*/ 2587361 h 3708794"/>
                <a:gd name="connsiteX6" fmla="*/ 3933645 w 4675518"/>
                <a:gd name="connsiteY6" fmla="*/ 3380990 h 3708794"/>
                <a:gd name="connsiteX7" fmla="*/ 4195308 w 4675518"/>
                <a:gd name="connsiteY7" fmla="*/ 3625400 h 3708794"/>
                <a:gd name="connsiteX8" fmla="*/ 4675518 w 4675518"/>
                <a:gd name="connsiteY8" fmla="*/ 3708794 h 3708794"/>
                <a:gd name="connsiteX0" fmla="*/ 0 w 4675518"/>
                <a:gd name="connsiteY0" fmla="*/ 51195 h 3708794"/>
                <a:gd name="connsiteX1" fmla="*/ 375693 w 4675518"/>
                <a:gd name="connsiteY1" fmla="*/ 18691 h 3708794"/>
                <a:gd name="connsiteX2" fmla="*/ 1069676 w 4675518"/>
                <a:gd name="connsiteY2" fmla="*/ 163338 h 3708794"/>
                <a:gd name="connsiteX3" fmla="*/ 1854679 w 4675518"/>
                <a:gd name="connsiteY3" fmla="*/ 542901 h 3708794"/>
                <a:gd name="connsiteX4" fmla="*/ 2631057 w 4675518"/>
                <a:gd name="connsiteY4" fmla="*/ 1310651 h 3708794"/>
                <a:gd name="connsiteX5" fmla="*/ 3407434 w 4675518"/>
                <a:gd name="connsiteY5" fmla="*/ 2587361 h 3708794"/>
                <a:gd name="connsiteX6" fmla="*/ 3933645 w 4675518"/>
                <a:gd name="connsiteY6" fmla="*/ 3380990 h 3708794"/>
                <a:gd name="connsiteX7" fmla="*/ 4195308 w 4675518"/>
                <a:gd name="connsiteY7" fmla="*/ 3625400 h 3708794"/>
                <a:gd name="connsiteX8" fmla="*/ 4675518 w 4675518"/>
                <a:gd name="connsiteY8" fmla="*/ 3708794 h 3708794"/>
                <a:gd name="connsiteX0" fmla="*/ 0 w 4675518"/>
                <a:gd name="connsiteY0" fmla="*/ 0 h 3657599"/>
                <a:gd name="connsiteX1" fmla="*/ 364872 w 4675518"/>
                <a:gd name="connsiteY1" fmla="*/ 281774 h 3657599"/>
                <a:gd name="connsiteX2" fmla="*/ 1069676 w 4675518"/>
                <a:gd name="connsiteY2" fmla="*/ 112143 h 3657599"/>
                <a:gd name="connsiteX3" fmla="*/ 1854679 w 4675518"/>
                <a:gd name="connsiteY3" fmla="*/ 491706 h 3657599"/>
                <a:gd name="connsiteX4" fmla="*/ 2631057 w 4675518"/>
                <a:gd name="connsiteY4" fmla="*/ 1259456 h 3657599"/>
                <a:gd name="connsiteX5" fmla="*/ 3407434 w 4675518"/>
                <a:gd name="connsiteY5" fmla="*/ 2536166 h 3657599"/>
                <a:gd name="connsiteX6" fmla="*/ 3933645 w 4675518"/>
                <a:gd name="connsiteY6" fmla="*/ 3329795 h 3657599"/>
                <a:gd name="connsiteX7" fmla="*/ 4195308 w 4675518"/>
                <a:gd name="connsiteY7" fmla="*/ 3574205 h 3657599"/>
                <a:gd name="connsiteX8" fmla="*/ 4675518 w 4675518"/>
                <a:gd name="connsiteY8" fmla="*/ 3657599 h 3657599"/>
                <a:gd name="connsiteX0" fmla="*/ 0 w 4675518"/>
                <a:gd name="connsiteY0" fmla="*/ 12860 h 3670459"/>
                <a:gd name="connsiteX1" fmla="*/ 397336 w 4675518"/>
                <a:gd name="connsiteY1" fmla="*/ 18691 h 3670459"/>
                <a:gd name="connsiteX2" fmla="*/ 1069676 w 4675518"/>
                <a:gd name="connsiteY2" fmla="*/ 125003 h 3670459"/>
                <a:gd name="connsiteX3" fmla="*/ 1854679 w 4675518"/>
                <a:gd name="connsiteY3" fmla="*/ 504566 h 3670459"/>
                <a:gd name="connsiteX4" fmla="*/ 2631057 w 4675518"/>
                <a:gd name="connsiteY4" fmla="*/ 1272316 h 3670459"/>
                <a:gd name="connsiteX5" fmla="*/ 3407434 w 4675518"/>
                <a:gd name="connsiteY5" fmla="*/ 2549026 h 3670459"/>
                <a:gd name="connsiteX6" fmla="*/ 3933645 w 4675518"/>
                <a:gd name="connsiteY6" fmla="*/ 3342655 h 3670459"/>
                <a:gd name="connsiteX7" fmla="*/ 4195308 w 4675518"/>
                <a:gd name="connsiteY7" fmla="*/ 3587065 h 3670459"/>
                <a:gd name="connsiteX8" fmla="*/ 4675518 w 4675518"/>
                <a:gd name="connsiteY8" fmla="*/ 3670459 h 367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5518" h="3670459">
                  <a:moveTo>
                    <a:pt x="0" y="12860"/>
                  </a:moveTo>
                  <a:cubicBezTo>
                    <a:pt x="61714" y="21948"/>
                    <a:pt x="219057" y="0"/>
                    <a:pt x="397336" y="18691"/>
                  </a:cubicBezTo>
                  <a:cubicBezTo>
                    <a:pt x="575615" y="37382"/>
                    <a:pt x="822277" y="52140"/>
                    <a:pt x="1069676" y="125003"/>
                  </a:cubicBezTo>
                  <a:cubicBezTo>
                    <a:pt x="1364411" y="251524"/>
                    <a:pt x="1594449" y="313347"/>
                    <a:pt x="1854679" y="504566"/>
                  </a:cubicBezTo>
                  <a:cubicBezTo>
                    <a:pt x="2114909" y="695785"/>
                    <a:pt x="2372264" y="931573"/>
                    <a:pt x="2631057" y="1272316"/>
                  </a:cubicBezTo>
                  <a:cubicBezTo>
                    <a:pt x="2889850" y="1613059"/>
                    <a:pt x="3187311" y="2203970"/>
                    <a:pt x="3407434" y="2549026"/>
                  </a:cubicBezTo>
                  <a:cubicBezTo>
                    <a:pt x="3610303" y="2902709"/>
                    <a:pt x="3736675" y="3118368"/>
                    <a:pt x="3933645" y="3342655"/>
                  </a:cubicBezTo>
                  <a:cubicBezTo>
                    <a:pt x="4075021" y="3504159"/>
                    <a:pt x="4071662" y="3532431"/>
                    <a:pt x="4195308" y="3587065"/>
                  </a:cubicBezTo>
                  <a:cubicBezTo>
                    <a:pt x="4318954" y="3641699"/>
                    <a:pt x="4602672" y="3642183"/>
                    <a:pt x="4675518" y="3670459"/>
                  </a:cubicBezTo>
                </a:path>
              </a:pathLst>
            </a:cu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5" name="Rectangle 34"/>
            <p:cNvSpPr/>
            <p:nvPr/>
          </p:nvSpPr>
          <p:spPr>
            <a:xfrm>
              <a:off x="6080704" y="3481567"/>
              <a:ext cx="130234" cy="1302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6" name="Rectangle 35"/>
            <p:cNvSpPr/>
            <p:nvPr/>
          </p:nvSpPr>
          <p:spPr>
            <a:xfrm>
              <a:off x="5103517" y="2585909"/>
              <a:ext cx="130234" cy="1302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7" name="Rectangle 36"/>
            <p:cNvSpPr/>
            <p:nvPr/>
          </p:nvSpPr>
          <p:spPr>
            <a:xfrm>
              <a:off x="4104470" y="2146635"/>
              <a:ext cx="130234" cy="1302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8" name="Rectangle 37"/>
            <p:cNvSpPr/>
            <p:nvPr/>
          </p:nvSpPr>
          <p:spPr>
            <a:xfrm>
              <a:off x="3133842" y="1956475"/>
              <a:ext cx="130234" cy="1302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40015" name="Straight Connector 6"/>
            <p:cNvCxnSpPr>
              <a:cxnSpLocks noChangeShapeType="1"/>
            </p:cNvCxnSpPr>
            <p:nvPr/>
          </p:nvCxnSpPr>
          <p:spPr bwMode="auto">
            <a:xfrm flipH="1">
              <a:off x="1683203" y="1891205"/>
              <a:ext cx="14" cy="3391494"/>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6" name="Straight Connector 10"/>
            <p:cNvCxnSpPr>
              <a:cxnSpLocks noChangeShapeType="1"/>
            </p:cNvCxnSpPr>
            <p:nvPr/>
          </p:nvCxnSpPr>
          <p:spPr bwMode="auto">
            <a:xfrm flipH="1">
              <a:off x="1688143" y="5188504"/>
              <a:ext cx="6450962"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7" name="Straight Connector 13"/>
            <p:cNvCxnSpPr>
              <a:cxnSpLocks noChangeShapeType="1"/>
            </p:cNvCxnSpPr>
            <p:nvPr/>
          </p:nvCxnSpPr>
          <p:spPr bwMode="auto">
            <a:xfrm flipH="1">
              <a:off x="2168531"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8" name="Straight Connector 14"/>
            <p:cNvCxnSpPr>
              <a:cxnSpLocks noChangeShapeType="1"/>
            </p:cNvCxnSpPr>
            <p:nvPr/>
          </p:nvCxnSpPr>
          <p:spPr bwMode="auto">
            <a:xfrm flipH="1">
              <a:off x="3168911"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19" name="Straight Connector 15"/>
            <p:cNvCxnSpPr>
              <a:cxnSpLocks noChangeShapeType="1"/>
            </p:cNvCxnSpPr>
            <p:nvPr/>
          </p:nvCxnSpPr>
          <p:spPr bwMode="auto">
            <a:xfrm flipH="1">
              <a:off x="4169292"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0" name="Straight Connector 16"/>
            <p:cNvCxnSpPr>
              <a:cxnSpLocks noChangeShapeType="1"/>
            </p:cNvCxnSpPr>
            <p:nvPr/>
          </p:nvCxnSpPr>
          <p:spPr bwMode="auto">
            <a:xfrm flipH="1">
              <a:off x="5155032"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1" name="Straight Connector 17"/>
            <p:cNvCxnSpPr>
              <a:cxnSpLocks noChangeShapeType="1"/>
            </p:cNvCxnSpPr>
            <p:nvPr/>
          </p:nvCxnSpPr>
          <p:spPr bwMode="auto">
            <a:xfrm flipH="1">
              <a:off x="6126134"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2" name="Straight Connector 18"/>
            <p:cNvCxnSpPr>
              <a:cxnSpLocks noChangeShapeType="1"/>
            </p:cNvCxnSpPr>
            <p:nvPr/>
          </p:nvCxnSpPr>
          <p:spPr bwMode="auto">
            <a:xfrm flipH="1">
              <a:off x="7097236"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3" name="Straight Connector 19"/>
            <p:cNvCxnSpPr>
              <a:cxnSpLocks noChangeShapeType="1"/>
            </p:cNvCxnSpPr>
            <p:nvPr/>
          </p:nvCxnSpPr>
          <p:spPr bwMode="auto">
            <a:xfrm flipH="1">
              <a:off x="8112255" y="5186053"/>
              <a:ext cx="0" cy="108528"/>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4" name="Straight Connector 20"/>
            <p:cNvCxnSpPr>
              <a:cxnSpLocks noChangeShapeType="1"/>
            </p:cNvCxnSpPr>
            <p:nvPr/>
          </p:nvCxnSpPr>
          <p:spPr bwMode="auto">
            <a:xfrm flipV="1">
              <a:off x="1584028" y="5188507"/>
              <a:ext cx="99149"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5" name="Straight Connector 22"/>
            <p:cNvCxnSpPr>
              <a:cxnSpLocks noChangeShapeType="1"/>
            </p:cNvCxnSpPr>
            <p:nvPr/>
          </p:nvCxnSpPr>
          <p:spPr bwMode="auto">
            <a:xfrm flipV="1">
              <a:off x="1584028" y="4532853"/>
              <a:ext cx="99149"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6" name="Straight Connector 23"/>
            <p:cNvCxnSpPr>
              <a:cxnSpLocks noChangeShapeType="1"/>
            </p:cNvCxnSpPr>
            <p:nvPr/>
          </p:nvCxnSpPr>
          <p:spPr bwMode="auto">
            <a:xfrm flipV="1">
              <a:off x="1584028" y="3867651"/>
              <a:ext cx="99149"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7" name="Straight Connector 24"/>
            <p:cNvCxnSpPr>
              <a:cxnSpLocks noChangeShapeType="1"/>
            </p:cNvCxnSpPr>
            <p:nvPr/>
          </p:nvCxnSpPr>
          <p:spPr bwMode="auto">
            <a:xfrm flipV="1">
              <a:off x="1584028" y="3202448"/>
              <a:ext cx="99149"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8" name="Straight Connector 25"/>
            <p:cNvCxnSpPr>
              <a:cxnSpLocks noChangeShapeType="1"/>
            </p:cNvCxnSpPr>
            <p:nvPr/>
          </p:nvCxnSpPr>
          <p:spPr bwMode="auto">
            <a:xfrm flipV="1">
              <a:off x="1584028" y="2546794"/>
              <a:ext cx="99149"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cxnSp>
          <p:nvCxnSpPr>
            <p:cNvPr id="40029" name="Straight Connector 26"/>
            <p:cNvCxnSpPr>
              <a:cxnSpLocks noChangeShapeType="1"/>
            </p:cNvCxnSpPr>
            <p:nvPr/>
          </p:nvCxnSpPr>
          <p:spPr bwMode="auto">
            <a:xfrm flipV="1">
              <a:off x="1584028" y="1891140"/>
              <a:ext cx="99149" cy="0"/>
            </a:xfrm>
            <a:prstGeom prst="line">
              <a:avLst/>
            </a:prstGeom>
            <a:noFill/>
            <a:ln w="19050" algn="ctr">
              <a:solidFill>
                <a:srgbClr val="002060"/>
              </a:solidFill>
              <a:round/>
              <a:headEnd/>
              <a:tailEnd/>
            </a:ln>
            <a:extLst>
              <a:ext uri="{909E8E84-426E-40DD-AFC4-6F175D3DCCD1}">
                <a14:hiddenFill xmlns:a14="http://schemas.microsoft.com/office/drawing/2010/main">
                  <a:noFill/>
                </a14:hiddenFill>
              </a:ext>
            </a:extLst>
          </p:spPr>
        </p:cxnSp>
        <p:sp>
          <p:nvSpPr>
            <p:cNvPr id="40009" name="TextBox 43"/>
            <p:cNvSpPr txBox="1">
              <a:spLocks noChangeArrowheads="1"/>
            </p:cNvSpPr>
            <p:nvPr/>
          </p:nvSpPr>
          <p:spPr bwMode="auto">
            <a:xfrm rot="10800000" flipV="1">
              <a:off x="1903859" y="3595733"/>
              <a:ext cx="2789464"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1218210" rtl="0" eaLnBrk="1" fontAlgn="base" latinLnBrk="0" hangingPunct="1">
                <a:lnSpc>
                  <a:spcPct val="100000"/>
                </a:lnSpc>
                <a:spcBef>
                  <a:spcPct val="0"/>
                </a:spcBef>
                <a:spcAft>
                  <a:spcPct val="0"/>
                </a:spcAft>
                <a:buClrTx/>
                <a:buSzTx/>
                <a:buFontTx/>
                <a:buNone/>
                <a:tabLst/>
                <a:defRPr/>
              </a:pP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BMI range (kg/m</a:t>
              </a:r>
              <a:r>
                <a:rPr kumimoji="0" lang="en-GB" sz="1467" b="0" i="0" u="none" strike="noStrike" kern="1200" cap="none" spc="0" normalizeH="0" baseline="3000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a:t>
              </a: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p>
          </p:txBody>
        </p:sp>
        <p:sp>
          <p:nvSpPr>
            <p:cNvPr id="40010" name="TextBox 44"/>
            <p:cNvSpPr txBox="1">
              <a:spLocks noChangeArrowheads="1"/>
            </p:cNvSpPr>
            <p:nvPr/>
          </p:nvSpPr>
          <p:spPr bwMode="auto">
            <a:xfrm rot="10800000" flipV="1">
              <a:off x="2556990" y="3858915"/>
              <a:ext cx="865943"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1218210" rtl="0" eaLnBrk="1" fontAlgn="base" latinLnBrk="0" hangingPunct="1">
                <a:lnSpc>
                  <a:spcPct val="100000"/>
                </a:lnSpc>
                <a:spcBef>
                  <a:spcPct val="0"/>
                </a:spcBef>
                <a:spcAft>
                  <a:spcPct val="0"/>
                </a:spcAft>
                <a:buClrTx/>
                <a:buSzTx/>
                <a:buFontTx/>
                <a:buNone/>
                <a:tabLst/>
                <a:defRPr/>
              </a:pP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2.5–25</a:t>
              </a:r>
            </a:p>
          </p:txBody>
        </p:sp>
        <p:sp>
          <p:nvSpPr>
            <p:cNvPr id="40011" name="TextBox 45"/>
            <p:cNvSpPr txBox="1">
              <a:spLocks noChangeArrowheads="1"/>
            </p:cNvSpPr>
            <p:nvPr/>
          </p:nvSpPr>
          <p:spPr bwMode="auto">
            <a:xfrm rot="10800000" flipV="1">
              <a:off x="2534052" y="4075426"/>
              <a:ext cx="708848"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1218210" rtl="0" eaLnBrk="1" fontAlgn="base" latinLnBrk="0" hangingPunct="1">
                <a:lnSpc>
                  <a:spcPct val="100000"/>
                </a:lnSpc>
                <a:spcBef>
                  <a:spcPct val="0"/>
                </a:spcBef>
                <a:spcAft>
                  <a:spcPct val="0"/>
                </a:spcAft>
                <a:buClrTx/>
                <a:buSzTx/>
                <a:buFontTx/>
                <a:buNone/>
                <a:tabLst/>
                <a:defRPr/>
              </a:pP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5–30</a:t>
              </a:r>
            </a:p>
          </p:txBody>
        </p:sp>
        <p:sp>
          <p:nvSpPr>
            <p:cNvPr id="40012" name="TextBox 46"/>
            <p:cNvSpPr txBox="1">
              <a:spLocks noChangeArrowheads="1"/>
            </p:cNvSpPr>
            <p:nvPr/>
          </p:nvSpPr>
          <p:spPr bwMode="auto">
            <a:xfrm rot="10800000" flipV="1">
              <a:off x="2534052" y="4307962"/>
              <a:ext cx="708848"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1218210" rtl="0" eaLnBrk="1" fontAlgn="base" latinLnBrk="0" hangingPunct="1">
                <a:lnSpc>
                  <a:spcPct val="100000"/>
                </a:lnSpc>
                <a:spcBef>
                  <a:spcPct val="0"/>
                </a:spcBef>
                <a:spcAft>
                  <a:spcPct val="0"/>
                </a:spcAft>
                <a:buClrTx/>
                <a:buSzTx/>
                <a:buFontTx/>
                <a:buNone/>
                <a:tabLst/>
                <a:defRPr/>
              </a:pP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0–35</a:t>
              </a:r>
            </a:p>
          </p:txBody>
        </p:sp>
        <p:sp>
          <p:nvSpPr>
            <p:cNvPr id="40013" name="TextBox 47"/>
            <p:cNvSpPr txBox="1">
              <a:spLocks noChangeArrowheads="1"/>
            </p:cNvSpPr>
            <p:nvPr/>
          </p:nvSpPr>
          <p:spPr bwMode="auto">
            <a:xfrm rot="10800000" flipV="1">
              <a:off x="2534052" y="4540501"/>
              <a:ext cx="708848"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1218210" rtl="0" eaLnBrk="1" fontAlgn="base" latinLnBrk="0" hangingPunct="1">
                <a:lnSpc>
                  <a:spcPct val="100000"/>
                </a:lnSpc>
                <a:spcBef>
                  <a:spcPct val="0"/>
                </a:spcBef>
                <a:spcAft>
                  <a:spcPct val="0"/>
                </a:spcAft>
                <a:buClrTx/>
                <a:buSzTx/>
                <a:buFontTx/>
                <a:buNone/>
                <a:tabLst/>
                <a:defRPr/>
              </a:pP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5–40</a:t>
              </a:r>
            </a:p>
          </p:txBody>
        </p:sp>
        <p:sp>
          <p:nvSpPr>
            <p:cNvPr id="40014" name="TextBox 48"/>
            <p:cNvSpPr txBox="1">
              <a:spLocks noChangeArrowheads="1"/>
            </p:cNvSpPr>
            <p:nvPr/>
          </p:nvSpPr>
          <p:spPr bwMode="auto">
            <a:xfrm rot="10800000" flipV="1">
              <a:off x="2534052" y="4773040"/>
              <a:ext cx="708848"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1218210" rtl="0" eaLnBrk="1" fontAlgn="base" latinLnBrk="0" hangingPunct="1">
                <a:lnSpc>
                  <a:spcPct val="100000"/>
                </a:lnSpc>
                <a:spcBef>
                  <a:spcPct val="0"/>
                </a:spcBef>
                <a:spcAft>
                  <a:spcPct val="0"/>
                </a:spcAft>
                <a:buClrTx/>
                <a:buSzTx/>
                <a:buFontTx/>
                <a:buNone/>
                <a:tabLst/>
                <a:defRPr/>
              </a:pPr>
              <a:r>
                <a:rPr kumimoji="0" lang="en-GB" sz="1467"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0–50</a:t>
              </a:r>
            </a:p>
          </p:txBody>
        </p:sp>
        <p:sp>
          <p:nvSpPr>
            <p:cNvPr id="82" name="Freeform 81"/>
            <p:cNvSpPr/>
            <p:nvPr/>
          </p:nvSpPr>
          <p:spPr>
            <a:xfrm>
              <a:off x="1683217" y="1912740"/>
              <a:ext cx="6427132" cy="3291686"/>
            </a:xfrm>
            <a:custGeom>
              <a:avLst/>
              <a:gdLst>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631721"/>
                <a:gd name="connsiteX1" fmla="*/ 370936 w 4666891"/>
                <a:gd name="connsiteY1" fmla="*/ 34505 h 3631721"/>
                <a:gd name="connsiteX2" fmla="*/ 1095555 w 4666891"/>
                <a:gd name="connsiteY2" fmla="*/ 301924 h 3631721"/>
                <a:gd name="connsiteX3" fmla="*/ 1811547 w 4666891"/>
                <a:gd name="connsiteY3" fmla="*/ 879894 h 3631721"/>
                <a:gd name="connsiteX4" fmla="*/ 2518913 w 4666891"/>
                <a:gd name="connsiteY4" fmla="*/ 1863305 h 3631721"/>
                <a:gd name="connsiteX5" fmla="*/ 3243532 w 4666891"/>
                <a:gd name="connsiteY5" fmla="*/ 2984739 h 3631721"/>
                <a:gd name="connsiteX6" fmla="*/ 3959525 w 4666891"/>
                <a:gd name="connsiteY6" fmla="*/ 3614468 h 3631721"/>
                <a:gd name="connsiteX7" fmla="*/ 4666891 w 4666891"/>
                <a:gd name="connsiteY7" fmla="*/ 3631721 h 3631721"/>
                <a:gd name="connsiteX8" fmla="*/ 4658264 w 4666891"/>
                <a:gd name="connsiteY8" fmla="*/ 3631721 h 3631721"/>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18913 w 4666891"/>
                <a:gd name="connsiteY4" fmla="*/ 1863305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01660 w 4666891"/>
                <a:gd name="connsiteY4" fmla="*/ 1802920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2298"/>
                <a:gd name="connsiteX1" fmla="*/ 370936 w 4666891"/>
                <a:gd name="connsiteY1" fmla="*/ 34505 h 3722298"/>
                <a:gd name="connsiteX2" fmla="*/ 1095555 w 4666891"/>
                <a:gd name="connsiteY2" fmla="*/ 301924 h 3722298"/>
                <a:gd name="connsiteX3" fmla="*/ 1811547 w 4666891"/>
                <a:gd name="connsiteY3" fmla="*/ 879894 h 3722298"/>
                <a:gd name="connsiteX4" fmla="*/ 2501660 w 4666891"/>
                <a:gd name="connsiteY4" fmla="*/ 1802920 h 3722298"/>
                <a:gd name="connsiteX5" fmla="*/ 3243532 w 4666891"/>
                <a:gd name="connsiteY5" fmla="*/ 2984739 h 3722298"/>
                <a:gd name="connsiteX6" fmla="*/ 3959525 w 4666891"/>
                <a:gd name="connsiteY6" fmla="*/ 3614468 h 3722298"/>
                <a:gd name="connsiteX7" fmla="*/ 4666891 w 4666891"/>
                <a:gd name="connsiteY7" fmla="*/ 3631721 h 3722298"/>
                <a:gd name="connsiteX8" fmla="*/ 4658264 w 4666891"/>
                <a:gd name="connsiteY8" fmla="*/ 3631721 h 3722298"/>
                <a:gd name="connsiteX0" fmla="*/ 0 w 4666891"/>
                <a:gd name="connsiteY0" fmla="*/ 0 h 3723736"/>
                <a:gd name="connsiteX1" fmla="*/ 370936 w 4666891"/>
                <a:gd name="connsiteY1" fmla="*/ 34505 h 3723736"/>
                <a:gd name="connsiteX2" fmla="*/ 1095555 w 4666891"/>
                <a:gd name="connsiteY2" fmla="*/ 301924 h 3723736"/>
                <a:gd name="connsiteX3" fmla="*/ 1811547 w 4666891"/>
                <a:gd name="connsiteY3" fmla="*/ 879894 h 3723736"/>
                <a:gd name="connsiteX4" fmla="*/ 2501660 w 4666891"/>
                <a:gd name="connsiteY4" fmla="*/ 1802920 h 3723736"/>
                <a:gd name="connsiteX5" fmla="*/ 3252158 w 4666891"/>
                <a:gd name="connsiteY5" fmla="*/ 2976113 h 3723736"/>
                <a:gd name="connsiteX6" fmla="*/ 3959525 w 4666891"/>
                <a:gd name="connsiteY6" fmla="*/ 3614468 h 3723736"/>
                <a:gd name="connsiteX7" fmla="*/ 4666891 w 4666891"/>
                <a:gd name="connsiteY7" fmla="*/ 3631721 h 3723736"/>
                <a:gd name="connsiteX8" fmla="*/ 4658264 w 4666891"/>
                <a:gd name="connsiteY8" fmla="*/ 3631721 h 3723736"/>
                <a:gd name="connsiteX0" fmla="*/ 0 w 4666891"/>
                <a:gd name="connsiteY0" fmla="*/ 0 h 3715109"/>
                <a:gd name="connsiteX1" fmla="*/ 370936 w 4666891"/>
                <a:gd name="connsiteY1" fmla="*/ 34505 h 3715109"/>
                <a:gd name="connsiteX2" fmla="*/ 1095555 w 4666891"/>
                <a:gd name="connsiteY2" fmla="*/ 301924 h 3715109"/>
                <a:gd name="connsiteX3" fmla="*/ 1811547 w 4666891"/>
                <a:gd name="connsiteY3" fmla="*/ 879894 h 3715109"/>
                <a:gd name="connsiteX4" fmla="*/ 2501660 w 4666891"/>
                <a:gd name="connsiteY4" fmla="*/ 1802920 h 3715109"/>
                <a:gd name="connsiteX5" fmla="*/ 3252158 w 4666891"/>
                <a:gd name="connsiteY5" fmla="*/ 2976113 h 3715109"/>
                <a:gd name="connsiteX6" fmla="*/ 3968151 w 4666891"/>
                <a:gd name="connsiteY6" fmla="*/ 3605841 h 3715109"/>
                <a:gd name="connsiteX7" fmla="*/ 4666891 w 4666891"/>
                <a:gd name="connsiteY7" fmla="*/ 3631721 h 3715109"/>
                <a:gd name="connsiteX8" fmla="*/ 4658264 w 4666891"/>
                <a:gd name="connsiteY8" fmla="*/ 3631721 h 3715109"/>
                <a:gd name="connsiteX0" fmla="*/ 0 w 4666891"/>
                <a:gd name="connsiteY0" fmla="*/ 0 h 3715109"/>
                <a:gd name="connsiteX1" fmla="*/ 370936 w 4666891"/>
                <a:gd name="connsiteY1" fmla="*/ 34505 h 3715109"/>
                <a:gd name="connsiteX2" fmla="*/ 1095555 w 4666891"/>
                <a:gd name="connsiteY2" fmla="*/ 301924 h 3715109"/>
                <a:gd name="connsiteX3" fmla="*/ 1811547 w 4666891"/>
                <a:gd name="connsiteY3" fmla="*/ 879894 h 3715109"/>
                <a:gd name="connsiteX4" fmla="*/ 2501660 w 4666891"/>
                <a:gd name="connsiteY4" fmla="*/ 1802920 h 3715109"/>
                <a:gd name="connsiteX5" fmla="*/ 3252158 w 4666891"/>
                <a:gd name="connsiteY5" fmla="*/ 2976113 h 3715109"/>
                <a:gd name="connsiteX6" fmla="*/ 3968151 w 4666891"/>
                <a:gd name="connsiteY6" fmla="*/ 3605841 h 3715109"/>
                <a:gd name="connsiteX7" fmla="*/ 4666891 w 4666891"/>
                <a:gd name="connsiteY7" fmla="*/ 3631721 h 3715109"/>
                <a:gd name="connsiteX8" fmla="*/ 4658264 w 4666891"/>
                <a:gd name="connsiteY8" fmla="*/ 3631721 h 3715109"/>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52158 w 4666891"/>
                <a:gd name="connsiteY5" fmla="*/ 2976113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 name="connsiteX0" fmla="*/ 0 w 4666891"/>
                <a:gd name="connsiteY0" fmla="*/ 0 h 3663350"/>
                <a:gd name="connsiteX1" fmla="*/ 370936 w 4666891"/>
                <a:gd name="connsiteY1" fmla="*/ 34505 h 3663350"/>
                <a:gd name="connsiteX2" fmla="*/ 1095555 w 4666891"/>
                <a:gd name="connsiteY2" fmla="*/ 301924 h 3663350"/>
                <a:gd name="connsiteX3" fmla="*/ 1811547 w 4666891"/>
                <a:gd name="connsiteY3" fmla="*/ 879894 h 3663350"/>
                <a:gd name="connsiteX4" fmla="*/ 2501660 w 4666891"/>
                <a:gd name="connsiteY4" fmla="*/ 1802920 h 3663350"/>
                <a:gd name="connsiteX5" fmla="*/ 3234905 w 4666891"/>
                <a:gd name="connsiteY5" fmla="*/ 2950234 h 3663350"/>
                <a:gd name="connsiteX6" fmla="*/ 3968151 w 4666891"/>
                <a:gd name="connsiteY6" fmla="*/ 3605841 h 3663350"/>
                <a:gd name="connsiteX7" fmla="*/ 4666891 w 4666891"/>
                <a:gd name="connsiteY7" fmla="*/ 3631721 h 3663350"/>
                <a:gd name="connsiteX8" fmla="*/ 4658264 w 4666891"/>
                <a:gd name="connsiteY8" fmla="*/ 3631721 h 366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891" h="3663350">
                  <a:moveTo>
                    <a:pt x="0" y="0"/>
                  </a:moveTo>
                  <a:lnTo>
                    <a:pt x="370936" y="34505"/>
                  </a:lnTo>
                  <a:cubicBezTo>
                    <a:pt x="553528" y="84826"/>
                    <a:pt x="855453" y="161026"/>
                    <a:pt x="1095555" y="301924"/>
                  </a:cubicBezTo>
                  <a:cubicBezTo>
                    <a:pt x="1335657" y="442822"/>
                    <a:pt x="1577196" y="629728"/>
                    <a:pt x="1811547" y="879894"/>
                  </a:cubicBezTo>
                  <a:cubicBezTo>
                    <a:pt x="2045898" y="1130060"/>
                    <a:pt x="2262996" y="1452112"/>
                    <a:pt x="2501660" y="1802920"/>
                  </a:cubicBezTo>
                  <a:cubicBezTo>
                    <a:pt x="2748951" y="2170981"/>
                    <a:pt x="3085232" y="2727385"/>
                    <a:pt x="3234905" y="2950234"/>
                  </a:cubicBezTo>
                  <a:cubicBezTo>
                    <a:pt x="3384578" y="3173083"/>
                    <a:pt x="3439064" y="3375803"/>
                    <a:pt x="3968151" y="3605841"/>
                  </a:cubicBezTo>
                  <a:cubicBezTo>
                    <a:pt x="4428227" y="3663350"/>
                    <a:pt x="4550435" y="3628846"/>
                    <a:pt x="4666891" y="3631721"/>
                  </a:cubicBezTo>
                  <a:lnTo>
                    <a:pt x="4658264" y="3631721"/>
                  </a:lnTo>
                </a:path>
              </a:pathLst>
            </a:cu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3" name="Oval 82"/>
            <p:cNvSpPr/>
            <p:nvPr/>
          </p:nvSpPr>
          <p:spPr>
            <a:xfrm>
              <a:off x="6056656" y="3835268"/>
              <a:ext cx="173644" cy="17364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4" name="Oval 83"/>
            <p:cNvSpPr/>
            <p:nvPr/>
          </p:nvSpPr>
          <p:spPr>
            <a:xfrm>
              <a:off x="5079471" y="2833119"/>
              <a:ext cx="173644" cy="17364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5" name="Oval 84"/>
            <p:cNvSpPr/>
            <p:nvPr/>
          </p:nvSpPr>
          <p:spPr>
            <a:xfrm>
              <a:off x="4080423" y="2253127"/>
              <a:ext cx="173644" cy="17364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6" name="Oval 85"/>
            <p:cNvSpPr/>
            <p:nvPr/>
          </p:nvSpPr>
          <p:spPr>
            <a:xfrm>
              <a:off x="3107609" y="1981197"/>
              <a:ext cx="173644" cy="17364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7" name="Oval 86"/>
            <p:cNvSpPr/>
            <p:nvPr/>
          </p:nvSpPr>
          <p:spPr>
            <a:xfrm>
              <a:off x="2108561" y="1840477"/>
              <a:ext cx="173644" cy="17364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8" name="Oval 87"/>
            <p:cNvSpPr/>
            <p:nvPr/>
          </p:nvSpPr>
          <p:spPr>
            <a:xfrm>
              <a:off x="7038216" y="4848826"/>
              <a:ext cx="173644" cy="17364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9" name="Oval 88"/>
            <p:cNvSpPr/>
            <p:nvPr/>
          </p:nvSpPr>
          <p:spPr>
            <a:xfrm>
              <a:off x="6075919" y="4112902"/>
              <a:ext cx="130234" cy="130233"/>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0" name="Oval 89"/>
            <p:cNvSpPr/>
            <p:nvPr/>
          </p:nvSpPr>
          <p:spPr>
            <a:xfrm>
              <a:off x="7057477" y="4989544"/>
              <a:ext cx="130234" cy="130233"/>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1" name="Oval 90"/>
            <p:cNvSpPr/>
            <p:nvPr/>
          </p:nvSpPr>
          <p:spPr>
            <a:xfrm>
              <a:off x="5098732" y="3078425"/>
              <a:ext cx="130234" cy="130233"/>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2" name="Oval 91"/>
            <p:cNvSpPr/>
            <p:nvPr/>
          </p:nvSpPr>
          <p:spPr>
            <a:xfrm>
              <a:off x="4102615" y="2362019"/>
              <a:ext cx="130234" cy="130233"/>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3" name="Oval 92"/>
            <p:cNvSpPr/>
            <p:nvPr/>
          </p:nvSpPr>
          <p:spPr>
            <a:xfrm>
              <a:off x="3129057" y="2047753"/>
              <a:ext cx="130234" cy="130233"/>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4" name="Oval 93"/>
            <p:cNvSpPr/>
            <p:nvPr/>
          </p:nvSpPr>
          <p:spPr>
            <a:xfrm>
              <a:off x="3157889" y="2148476"/>
              <a:ext cx="86822" cy="86822"/>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5" name="Oval 94"/>
            <p:cNvSpPr/>
            <p:nvPr/>
          </p:nvSpPr>
          <p:spPr>
            <a:xfrm>
              <a:off x="4121132" y="2663811"/>
              <a:ext cx="86822" cy="86822"/>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6" name="Oval 95"/>
            <p:cNvSpPr/>
            <p:nvPr/>
          </p:nvSpPr>
          <p:spPr>
            <a:xfrm>
              <a:off x="5129750" y="3538551"/>
              <a:ext cx="86822" cy="86822"/>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7" name="Oval 96"/>
            <p:cNvSpPr/>
            <p:nvPr/>
          </p:nvSpPr>
          <p:spPr>
            <a:xfrm>
              <a:off x="6106937" y="4550208"/>
              <a:ext cx="86822" cy="86822"/>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8" name="Oval 97"/>
            <p:cNvSpPr/>
            <p:nvPr/>
          </p:nvSpPr>
          <p:spPr>
            <a:xfrm>
              <a:off x="7088495" y="5099775"/>
              <a:ext cx="86822" cy="86822"/>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9" name="Rectangle 98"/>
            <p:cNvSpPr/>
            <p:nvPr/>
          </p:nvSpPr>
          <p:spPr>
            <a:xfrm>
              <a:off x="7062262" y="4635844"/>
              <a:ext cx="130234" cy="1302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100" name="Straight Connector 99"/>
            <p:cNvCxnSpPr/>
            <p:nvPr/>
          </p:nvCxnSpPr>
          <p:spPr>
            <a:xfrm flipV="1">
              <a:off x="2059226" y="4932091"/>
              <a:ext cx="406614" cy="0"/>
            </a:xfrm>
            <a:prstGeom prst="line">
              <a:avLst/>
            </a:prstGeom>
            <a:ln w="19050">
              <a:solidFill>
                <a:srgbClr val="001965"/>
              </a:solidFill>
              <a:prstDash val="sys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2059226" y="4699552"/>
              <a:ext cx="406614" cy="0"/>
            </a:xfrm>
            <a:prstGeom prst="line">
              <a:avLst/>
            </a:prstGeom>
            <a:ln w="19050">
              <a:solidFill>
                <a:srgbClr val="009FDA"/>
              </a:solidFill>
              <a:prstDash val="sysDash"/>
            </a:ln>
          </p:spPr>
          <p:style>
            <a:lnRef idx="1">
              <a:schemeClr val="accent1"/>
            </a:lnRef>
            <a:fillRef idx="0">
              <a:schemeClr val="accent1"/>
            </a:fillRef>
            <a:effectRef idx="0">
              <a:schemeClr val="accent1"/>
            </a:effectRef>
            <a:fontRef idx="minor">
              <a:schemeClr val="tx1"/>
            </a:fontRef>
          </p:style>
        </p:cxnSp>
        <p:sp>
          <p:nvSpPr>
            <p:cNvPr id="102" name="Oval 101"/>
            <p:cNvSpPr/>
            <p:nvPr/>
          </p:nvSpPr>
          <p:spPr>
            <a:xfrm>
              <a:off x="2197416" y="4634898"/>
              <a:ext cx="130234" cy="129309"/>
            </a:xfrm>
            <a:prstGeom prst="ellipse">
              <a:avLst/>
            </a:prstGeom>
            <a:solidFill>
              <a:schemeClr val="bg1"/>
            </a:solidFill>
            <a:ln w="1905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3" name="Oval 102"/>
            <p:cNvSpPr/>
            <p:nvPr/>
          </p:nvSpPr>
          <p:spPr>
            <a:xfrm>
              <a:off x="2219122" y="4889303"/>
              <a:ext cx="86822" cy="85574"/>
            </a:xfrm>
            <a:prstGeom prst="ellipse">
              <a:avLst/>
            </a:prstGeom>
            <a:solidFill>
              <a:schemeClr val="bg1"/>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104" name="Straight Connector 103"/>
            <p:cNvCxnSpPr/>
            <p:nvPr/>
          </p:nvCxnSpPr>
          <p:spPr>
            <a:xfrm flipV="1">
              <a:off x="2059226" y="4467013"/>
              <a:ext cx="406614" cy="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05" name="Oval 104"/>
            <p:cNvSpPr/>
            <p:nvPr/>
          </p:nvSpPr>
          <p:spPr>
            <a:xfrm>
              <a:off x="2175711" y="4380489"/>
              <a:ext cx="173644" cy="17304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106" name="Straight Connector 105"/>
            <p:cNvCxnSpPr/>
            <p:nvPr/>
          </p:nvCxnSpPr>
          <p:spPr>
            <a:xfrm flipV="1">
              <a:off x="2059226" y="4234475"/>
              <a:ext cx="406614"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2059226" y="4017964"/>
              <a:ext cx="406614" cy="0"/>
            </a:xfrm>
            <a:prstGeom prst="line">
              <a:avLst/>
            </a:prstGeom>
            <a:ln w="19050">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2197416" y="3953310"/>
              <a:ext cx="130234" cy="129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21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6" name="Group 5">
            <a:extLst>
              <a:ext uri="{FF2B5EF4-FFF2-40B4-BE49-F238E27FC236}">
                <a16:creationId xmlns:a16="http://schemas.microsoft.com/office/drawing/2014/main" id="{B55590BA-E15E-4A5C-B6DA-025A170B4EB2}"/>
              </a:ext>
            </a:extLst>
          </p:cNvPr>
          <p:cNvGrpSpPr/>
          <p:nvPr/>
        </p:nvGrpSpPr>
        <p:grpSpPr>
          <a:xfrm>
            <a:off x="696207" y="1726423"/>
            <a:ext cx="7683888" cy="4181138"/>
            <a:chOff x="696207" y="1726423"/>
            <a:chExt cx="7683888" cy="4181138"/>
          </a:xfrm>
        </p:grpSpPr>
        <p:sp>
          <p:nvSpPr>
            <p:cNvPr id="39992" name="TextBox 42"/>
            <p:cNvSpPr txBox="1">
              <a:spLocks noChangeArrowheads="1"/>
            </p:cNvSpPr>
            <p:nvPr/>
          </p:nvSpPr>
          <p:spPr bwMode="auto">
            <a:xfrm>
              <a:off x="7840691" y="5238989"/>
              <a:ext cx="539404"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0</a:t>
              </a:r>
            </a:p>
          </p:txBody>
        </p:sp>
        <p:sp>
          <p:nvSpPr>
            <p:cNvPr id="39996" name="TextBox 29"/>
            <p:cNvSpPr txBox="1">
              <a:spLocks noChangeArrowheads="1"/>
            </p:cNvSpPr>
            <p:nvPr/>
          </p:nvSpPr>
          <p:spPr bwMode="auto">
            <a:xfrm>
              <a:off x="1320268" y="5023225"/>
              <a:ext cx="343837"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0</a:t>
              </a:r>
            </a:p>
          </p:txBody>
        </p:sp>
        <p:sp>
          <p:nvSpPr>
            <p:cNvPr id="39997" name="TextBox 30"/>
            <p:cNvSpPr txBox="1">
              <a:spLocks noChangeArrowheads="1"/>
            </p:cNvSpPr>
            <p:nvPr/>
          </p:nvSpPr>
          <p:spPr bwMode="auto">
            <a:xfrm>
              <a:off x="1222486" y="4359995"/>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
          <p:nvSpPr>
            <p:cNvPr id="39998" name="TextBox 31"/>
            <p:cNvSpPr txBox="1">
              <a:spLocks noChangeArrowheads="1"/>
            </p:cNvSpPr>
            <p:nvPr/>
          </p:nvSpPr>
          <p:spPr bwMode="auto">
            <a:xfrm>
              <a:off x="1222486" y="3701585"/>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0</a:t>
              </a:r>
            </a:p>
          </p:txBody>
        </p:sp>
        <p:sp>
          <p:nvSpPr>
            <p:cNvPr id="39999" name="TextBox 32"/>
            <p:cNvSpPr txBox="1">
              <a:spLocks noChangeArrowheads="1"/>
            </p:cNvSpPr>
            <p:nvPr/>
          </p:nvSpPr>
          <p:spPr bwMode="auto">
            <a:xfrm>
              <a:off x="1222486" y="3043208"/>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0</a:t>
              </a:r>
            </a:p>
          </p:txBody>
        </p:sp>
        <p:sp>
          <p:nvSpPr>
            <p:cNvPr id="40000" name="TextBox 33"/>
            <p:cNvSpPr txBox="1">
              <a:spLocks noChangeArrowheads="1"/>
            </p:cNvSpPr>
            <p:nvPr/>
          </p:nvSpPr>
          <p:spPr bwMode="auto">
            <a:xfrm>
              <a:off x="1222486" y="2384816"/>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0</a:t>
              </a:r>
            </a:p>
          </p:txBody>
        </p:sp>
        <p:sp>
          <p:nvSpPr>
            <p:cNvPr id="40001" name="TextBox 34"/>
            <p:cNvSpPr txBox="1">
              <a:spLocks noChangeArrowheads="1"/>
            </p:cNvSpPr>
            <p:nvPr/>
          </p:nvSpPr>
          <p:spPr bwMode="auto">
            <a:xfrm>
              <a:off x="1124749" y="1726423"/>
              <a:ext cx="539404"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0</a:t>
              </a:r>
            </a:p>
          </p:txBody>
        </p:sp>
        <p:sp>
          <p:nvSpPr>
            <p:cNvPr id="40002" name="TextBox 35"/>
            <p:cNvSpPr txBox="1">
              <a:spLocks noChangeArrowheads="1"/>
            </p:cNvSpPr>
            <p:nvPr/>
          </p:nvSpPr>
          <p:spPr bwMode="auto">
            <a:xfrm>
              <a:off x="1460317"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5</a:t>
              </a:r>
            </a:p>
          </p:txBody>
        </p:sp>
        <p:sp>
          <p:nvSpPr>
            <p:cNvPr id="40003" name="TextBox 36"/>
            <p:cNvSpPr txBox="1">
              <a:spLocks noChangeArrowheads="1"/>
            </p:cNvSpPr>
            <p:nvPr/>
          </p:nvSpPr>
          <p:spPr bwMode="auto">
            <a:xfrm>
              <a:off x="1946043"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40</a:t>
              </a:r>
            </a:p>
          </p:txBody>
        </p:sp>
        <p:sp>
          <p:nvSpPr>
            <p:cNvPr id="40004" name="TextBox 37"/>
            <p:cNvSpPr txBox="1">
              <a:spLocks noChangeArrowheads="1"/>
            </p:cNvSpPr>
            <p:nvPr/>
          </p:nvSpPr>
          <p:spPr bwMode="auto">
            <a:xfrm>
              <a:off x="2950522"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0</a:t>
              </a:r>
            </a:p>
          </p:txBody>
        </p:sp>
        <p:sp>
          <p:nvSpPr>
            <p:cNvPr id="40005" name="TextBox 38"/>
            <p:cNvSpPr txBox="1">
              <a:spLocks noChangeArrowheads="1"/>
            </p:cNvSpPr>
            <p:nvPr/>
          </p:nvSpPr>
          <p:spPr bwMode="auto">
            <a:xfrm>
              <a:off x="3945625"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0</a:t>
              </a:r>
            </a:p>
          </p:txBody>
        </p:sp>
        <p:sp>
          <p:nvSpPr>
            <p:cNvPr id="40006" name="TextBox 39"/>
            <p:cNvSpPr txBox="1">
              <a:spLocks noChangeArrowheads="1"/>
            </p:cNvSpPr>
            <p:nvPr/>
          </p:nvSpPr>
          <p:spPr bwMode="auto">
            <a:xfrm>
              <a:off x="4931353"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70</a:t>
              </a:r>
            </a:p>
          </p:txBody>
        </p:sp>
        <p:sp>
          <p:nvSpPr>
            <p:cNvPr id="40007" name="TextBox 40"/>
            <p:cNvSpPr txBox="1">
              <a:spLocks noChangeArrowheads="1"/>
            </p:cNvSpPr>
            <p:nvPr/>
          </p:nvSpPr>
          <p:spPr bwMode="auto">
            <a:xfrm>
              <a:off x="5917079"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0</a:t>
              </a:r>
            </a:p>
          </p:txBody>
        </p:sp>
        <p:sp>
          <p:nvSpPr>
            <p:cNvPr id="40008" name="TextBox 41"/>
            <p:cNvSpPr txBox="1">
              <a:spLocks noChangeArrowheads="1"/>
            </p:cNvSpPr>
            <p:nvPr/>
          </p:nvSpPr>
          <p:spPr bwMode="auto">
            <a:xfrm>
              <a:off x="6865310" y="5238989"/>
              <a:ext cx="441621" cy="32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nchor="t">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0</a:t>
              </a:r>
            </a:p>
          </p:txBody>
        </p:sp>
        <p:sp>
          <p:nvSpPr>
            <p:cNvPr id="118" name="TextBox 117"/>
            <p:cNvSpPr txBox="1"/>
            <p:nvPr/>
          </p:nvSpPr>
          <p:spPr>
            <a:xfrm rot="16200000">
              <a:off x="-374716" y="3355276"/>
              <a:ext cx="2511095" cy="369249"/>
            </a:xfrm>
            <a:prstGeom prst="rect">
              <a:avLst/>
            </a:prstGeom>
            <a:noFill/>
          </p:spPr>
          <p:txBody>
            <a:bodyPr wrap="none" lIns="121837" tIns="60919" rIns="121837" bIns="60919" rtlCol="0" anchor="b">
              <a:spAutoFit/>
            </a:body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roportion still alive (%)</a:t>
              </a:r>
            </a:p>
          </p:txBody>
        </p:sp>
        <p:sp>
          <p:nvSpPr>
            <p:cNvPr id="119" name="TextBox 118"/>
            <p:cNvSpPr txBox="1"/>
            <p:nvPr/>
          </p:nvSpPr>
          <p:spPr>
            <a:xfrm>
              <a:off x="4295072" y="5538312"/>
              <a:ext cx="1312049" cy="369249"/>
            </a:xfrm>
            <a:prstGeom prst="rect">
              <a:avLst/>
            </a:prstGeom>
            <a:noFill/>
          </p:spPr>
          <p:txBody>
            <a:bodyPr wrap="none" lIns="121837" tIns="60919" rIns="121837" bIns="60919" rtlCol="0" anchor="b">
              <a:spAutoFit/>
            </a:bodyPr>
            <a:lstStyle/>
            <a:p>
              <a:pPr marL="0" marR="0" lvl="0" indent="0" algn="ctr" defTabSz="121821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ge (years)</a:t>
              </a:r>
            </a:p>
          </p:txBody>
        </p:sp>
      </p:grpSp>
    </p:spTree>
    <p:extLst>
      <p:ext uri="{BB962C8B-B14F-4D97-AF65-F5344CB8AC3E}">
        <p14:creationId xmlns:p14="http://schemas.microsoft.com/office/powerpoint/2010/main" val="2195958086"/>
      </p:ext>
    </p:extLst>
  </p:cSld>
  <p:clrMapOvr>
    <a:masterClrMapping/>
  </p:clrMapOvr>
  <mc:AlternateContent xmlns:mc="http://schemas.openxmlformats.org/markup-compatibility/2006" xmlns:p14="http://schemas.microsoft.com/office/powerpoint/2010/main">
    <mc:Choice Requires="p14">
      <p:transition spd="slow" p14:dur="2000" advTm="776"/>
    </mc:Choice>
    <mc:Fallback xmlns="">
      <p:transition spd="slow" advTm="776"/>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9D4934D8-5659-45CC-B01D-9199D1BA94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446977" y="759910"/>
            <a:ext cx="3920331" cy="558070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GB" altLang="en-US" dirty="0">
                <a:solidFill>
                  <a:srgbClr val="001965"/>
                </a:solidFill>
              </a:rPr>
              <a:t>Obesity is associated with multiple comorbidities and complications</a:t>
            </a:r>
            <a:br>
              <a:rPr lang="en-GB" altLang="en-US" dirty="0">
                <a:solidFill>
                  <a:srgbClr val="001965"/>
                </a:solidFill>
              </a:rPr>
            </a:br>
            <a:r>
              <a:rPr lang="en-GB" altLang="en-US" sz="1867" dirty="0">
                <a:solidFill>
                  <a:srgbClr val="009FDA"/>
                </a:solidFill>
              </a:rPr>
              <a:t>Metabolic, mechanical and mental </a:t>
            </a:r>
            <a:endParaRPr lang="en-GB" sz="1867" dirty="0">
              <a:solidFill>
                <a:srgbClr val="009FDA"/>
              </a:solidFill>
            </a:endParaRPr>
          </a:p>
        </p:txBody>
      </p:sp>
      <p:sp>
        <p:nvSpPr>
          <p:cNvPr id="7" name="TextBox 6"/>
          <p:cNvSpPr txBox="1"/>
          <p:nvPr/>
        </p:nvSpPr>
        <p:spPr>
          <a:xfrm>
            <a:off x="2735" y="6385032"/>
            <a:ext cx="11749000" cy="451532"/>
          </a:xfrm>
          <a:prstGeom prst="rect">
            <a:avLst/>
          </a:prstGeom>
          <a:noFill/>
        </p:spPr>
        <p:txBody>
          <a:bodyPr wrap="square" lIns="121917" tIns="60959" rIns="121917" bIns="60959" rtlCol="0" anchor="b">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82786F"/>
                </a:solidFill>
                <a:effectLst/>
                <a:uLnTx/>
                <a:uFillTx/>
                <a:latin typeface="Apis For Office"/>
                <a:ea typeface="+mn-ea"/>
                <a:cs typeface="Verdana" panose="020B0604030504040204" pitchFamily="34" charset="0"/>
              </a:rPr>
              <a:t>Adapted from Sharma AM. </a:t>
            </a:r>
            <a:r>
              <a:rPr kumimoji="0" lang="en-GB" sz="1067" b="0" i="1" u="none" strike="noStrike" kern="1200" cap="none" spc="0" normalizeH="0" baseline="0" noProof="0" dirty="0" err="1">
                <a:ln>
                  <a:noFill/>
                </a:ln>
                <a:solidFill>
                  <a:srgbClr val="82786F"/>
                </a:solidFill>
                <a:effectLst/>
                <a:uLnTx/>
                <a:uFillTx/>
                <a:latin typeface="Apis For Office"/>
                <a:ea typeface="+mn-ea"/>
                <a:cs typeface="Verdana" panose="020B0604030504040204" pitchFamily="34" charset="0"/>
              </a:rPr>
              <a:t>Obes</a:t>
            </a:r>
            <a:r>
              <a:rPr kumimoji="0" lang="en-GB" sz="1067" b="0" i="1" u="none" strike="noStrike" kern="1200" cap="none" spc="0" normalizeH="0" baseline="0" noProof="0" dirty="0">
                <a:ln>
                  <a:noFill/>
                </a:ln>
                <a:solidFill>
                  <a:srgbClr val="82786F"/>
                </a:solidFill>
                <a:effectLst/>
                <a:uLnTx/>
                <a:uFillTx/>
                <a:latin typeface="Apis For Office"/>
                <a:ea typeface="+mn-ea"/>
                <a:cs typeface="Verdana" panose="020B0604030504040204" pitchFamily="34" charset="0"/>
              </a:rPr>
              <a:t> Rev</a:t>
            </a:r>
            <a:r>
              <a:rPr kumimoji="0" lang="en-GB" sz="1067" b="0" i="0" u="none" strike="noStrike" kern="1200" cap="none" spc="0" normalizeH="0" baseline="0" noProof="0" dirty="0">
                <a:ln>
                  <a:noFill/>
                </a:ln>
                <a:solidFill>
                  <a:srgbClr val="82786F"/>
                </a:solidFill>
                <a:effectLst/>
                <a:uLnTx/>
                <a:uFillTx/>
                <a:latin typeface="Apis For Office"/>
                <a:ea typeface="+mn-ea"/>
                <a:cs typeface="Verdana" panose="020B0604030504040204" pitchFamily="34" charset="0"/>
              </a:rPr>
              <a:t>. 2010;11:808-9; </a:t>
            </a:r>
            <a:r>
              <a:rPr kumimoji="0" lang="en-GB" sz="1067" b="0" i="0" u="none" strike="noStrike" kern="1200" cap="none" spc="0" normalizeH="0" baseline="0" noProof="0" dirty="0" err="1">
                <a:ln>
                  <a:noFill/>
                </a:ln>
                <a:solidFill>
                  <a:srgbClr val="82786F"/>
                </a:solidFill>
                <a:effectLst/>
                <a:uLnTx/>
                <a:uFillTx/>
                <a:latin typeface="Apis For Office"/>
                <a:ea typeface="+mn-ea"/>
                <a:cs typeface="+mn-cs"/>
              </a:rPr>
              <a:t>Guh</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 </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et al. BMC Public Health</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 2009;9:88; </a:t>
            </a:r>
            <a:r>
              <a:rPr kumimoji="0" lang="en-GB" sz="1067" b="0" i="0" u="none" strike="noStrike" kern="1200" cap="none" spc="0" normalizeH="0" baseline="0" noProof="0" dirty="0" err="1">
                <a:ln>
                  <a:noFill/>
                </a:ln>
                <a:solidFill>
                  <a:srgbClr val="82786F"/>
                </a:solidFill>
                <a:effectLst/>
                <a:uLnTx/>
                <a:uFillTx/>
                <a:latin typeface="Apis For Office"/>
                <a:ea typeface="+mn-ea"/>
                <a:cs typeface="+mn-cs"/>
              </a:rPr>
              <a:t>Luppino</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 </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et al. Arch Gen Psychiatry </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2010;67:220–9; Simon </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et al. Arch Gen Psychiatry </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2006;63:824–30; Church </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et al. Gastroenterology </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2006;130:2023–30; Li </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et al. </a:t>
            </a:r>
            <a:r>
              <a:rPr kumimoji="0" lang="en-GB" sz="1067" b="0" i="1" u="none" strike="noStrike" kern="1200" cap="none" spc="0" normalizeH="0" baseline="0" noProof="0" dirty="0" err="1">
                <a:ln>
                  <a:noFill/>
                </a:ln>
                <a:solidFill>
                  <a:srgbClr val="82786F"/>
                </a:solidFill>
                <a:effectLst/>
                <a:uLnTx/>
                <a:uFillTx/>
                <a:latin typeface="Apis For Office"/>
                <a:ea typeface="+mn-ea"/>
                <a:cs typeface="+mn-cs"/>
              </a:rPr>
              <a:t>Prev</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 Med </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2010;51:18–23; </a:t>
            </a:r>
            <a:r>
              <a:rPr kumimoji="0" lang="en-GB" sz="1067" b="0" i="0" u="none" strike="noStrike" kern="1200" cap="none" spc="0" normalizeH="0" baseline="0" noProof="0" dirty="0" err="1">
                <a:ln>
                  <a:noFill/>
                </a:ln>
                <a:solidFill>
                  <a:srgbClr val="82786F"/>
                </a:solidFill>
                <a:effectLst/>
                <a:uLnTx/>
                <a:uFillTx/>
                <a:latin typeface="Apis For Office"/>
                <a:ea typeface="+mn-ea"/>
                <a:cs typeface="+mn-cs"/>
              </a:rPr>
              <a:t>Hosler</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 </a:t>
            </a:r>
            <a:r>
              <a:rPr kumimoji="0" lang="en-GB" sz="1067" b="0" i="1" u="none" strike="noStrike" kern="1200" cap="none" spc="0" normalizeH="0" baseline="0" noProof="0" dirty="0" err="1">
                <a:ln>
                  <a:noFill/>
                </a:ln>
                <a:solidFill>
                  <a:srgbClr val="82786F"/>
                </a:solidFill>
                <a:effectLst/>
                <a:uLnTx/>
                <a:uFillTx/>
                <a:latin typeface="Apis For Office"/>
                <a:ea typeface="+mn-ea"/>
                <a:cs typeface="+mn-cs"/>
              </a:rPr>
              <a:t>Prev</a:t>
            </a:r>
            <a:r>
              <a:rPr kumimoji="0" lang="en-GB" sz="1067" b="0" i="1" u="none" strike="noStrike" kern="1200" cap="none" spc="0" normalizeH="0" baseline="0" noProof="0" dirty="0">
                <a:ln>
                  <a:noFill/>
                </a:ln>
                <a:solidFill>
                  <a:srgbClr val="82786F"/>
                </a:solidFill>
                <a:effectLst/>
                <a:uLnTx/>
                <a:uFillTx/>
                <a:latin typeface="Apis For Office"/>
                <a:ea typeface="+mn-ea"/>
                <a:cs typeface="+mn-cs"/>
              </a:rPr>
              <a:t> Chronic Dis </a:t>
            </a:r>
            <a:r>
              <a:rPr kumimoji="0" lang="en-GB" sz="1067" b="0" i="0" u="none" strike="noStrike" kern="1200" cap="none" spc="0" normalizeH="0" baseline="0" noProof="0" dirty="0">
                <a:ln>
                  <a:noFill/>
                </a:ln>
                <a:solidFill>
                  <a:srgbClr val="82786F"/>
                </a:solidFill>
                <a:effectLst/>
                <a:uLnTx/>
                <a:uFillTx/>
                <a:latin typeface="Apis For Office"/>
                <a:ea typeface="+mn-ea"/>
                <a:cs typeface="+mn-cs"/>
              </a:rPr>
              <a:t>2009;6:A48</a:t>
            </a:r>
          </a:p>
        </p:txBody>
      </p:sp>
      <p:sp>
        <p:nvSpPr>
          <p:cNvPr id="14" name="Rounded Rectangle 13"/>
          <p:cNvSpPr/>
          <p:nvPr/>
        </p:nvSpPr>
        <p:spPr>
          <a:xfrm>
            <a:off x="430076" y="1649097"/>
            <a:ext cx="1828800" cy="341376"/>
          </a:xfrm>
          <a:prstGeom prst="round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24384" rIns="121917" bIns="24384" rtlCol="0" anchor="ctr">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Metabolic</a:t>
            </a:r>
          </a:p>
        </p:txBody>
      </p:sp>
      <p:sp>
        <p:nvSpPr>
          <p:cNvPr id="17" name="TextBox 6"/>
          <p:cNvSpPr txBox="1">
            <a:spLocks noChangeArrowheads="1"/>
          </p:cNvSpPr>
          <p:nvPr/>
        </p:nvSpPr>
        <p:spPr bwMode="auto">
          <a:xfrm>
            <a:off x="8022281" y="4189365"/>
            <a:ext cx="2922800" cy="554052"/>
          </a:xfrm>
          <a:prstGeom prst="roundRect">
            <a:avLst/>
          </a:prstGeom>
          <a:solidFill>
            <a:srgbClr val="001965"/>
          </a:solidFill>
          <a:ln w="28575">
            <a:solidFill>
              <a:srgbClr val="001965"/>
            </a:solidFill>
            <a:miter lim="800000"/>
            <a:headEnd/>
            <a:tailEnd/>
          </a:ln>
        </p:spPr>
        <p:txBody>
          <a:bodyPr wrap="square" lIns="121905" tIns="24384" rIns="121905" bIns="24384">
            <a:spAutoFit/>
          </a:bodyPr>
          <a:lstStyle>
            <a:defPPr>
              <a:defRPr lang="en-US"/>
            </a:defPPr>
            <a:lvl1pPr eaLnBrk="1" hangingPunct="1">
              <a:defRPr sz="1200">
                <a:solidFill>
                  <a:srgbClr val="001965"/>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mn-cs"/>
              </a:rPr>
              <a:t>T2D</a:t>
            </a:r>
          </a:p>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mn-cs"/>
              </a:rPr>
              <a:t>Prediabetes</a:t>
            </a:r>
            <a:endParaRPr kumimoji="0" lang="en-GB" altLang="en-US" sz="1467" b="0" i="0" u="none" strike="noStrike" kern="1200" cap="none" spc="0" normalizeH="0" baseline="30000" noProof="0" dirty="0">
              <a:ln>
                <a:noFill/>
              </a:ln>
              <a:solidFill>
                <a:srgbClr val="FFFFFF"/>
              </a:solidFill>
              <a:effectLst/>
              <a:uLnTx/>
              <a:uFillTx/>
              <a:latin typeface="Apis For Office"/>
              <a:ea typeface="+mn-ea"/>
              <a:cs typeface="+mn-cs"/>
            </a:endParaRPr>
          </a:p>
        </p:txBody>
      </p:sp>
      <p:sp>
        <p:nvSpPr>
          <p:cNvPr id="18" name="TextBox 6"/>
          <p:cNvSpPr txBox="1">
            <a:spLocks noChangeArrowheads="1"/>
          </p:cNvSpPr>
          <p:nvPr/>
        </p:nvSpPr>
        <p:spPr bwMode="auto">
          <a:xfrm>
            <a:off x="8022281" y="1748804"/>
            <a:ext cx="2922801" cy="1676894"/>
          </a:xfrm>
          <a:prstGeom prst="roundRect">
            <a:avLst>
              <a:gd name="adj" fmla="val 5999"/>
            </a:avLst>
          </a:prstGeom>
          <a:solidFill>
            <a:srgbClr val="001965"/>
          </a:solidFill>
          <a:ln w="28575">
            <a:solidFill>
              <a:srgbClr val="001965"/>
            </a:solidFill>
            <a:miter lim="800000"/>
            <a:headEnd/>
            <a:tailEnd/>
          </a:ln>
        </p:spPr>
        <p:txBody>
          <a:bodyPr wrap="square" lIns="95999" tIns="24384" rIns="95999" bIns="24384">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CVD and risk factors</a:t>
            </a:r>
          </a:p>
          <a:p>
            <a:pPr marL="0" marR="0" lvl="0" indent="0" algn="l" defTabSz="91419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Stroke</a:t>
            </a:r>
          </a:p>
          <a:p>
            <a:pPr marL="0" marR="0" lvl="0" indent="0" algn="l" defTabSz="91419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D</a:t>
            </a:r>
            <a:r>
              <a:rPr kumimoji="0" lang="en-GB" sz="1467" b="0" i="0" u="none" strike="noStrike" kern="1200" cap="none" spc="0" normalizeH="0" baseline="0" noProof="0" dirty="0">
                <a:ln>
                  <a:noFill/>
                </a:ln>
                <a:solidFill>
                  <a:srgbClr val="FFFFFF"/>
                </a:solidFill>
                <a:effectLst/>
                <a:uLnTx/>
                <a:uFillTx/>
                <a:latin typeface="Apis For Office"/>
                <a:ea typeface="+mn-ea"/>
                <a:cs typeface="Arial" charset="0"/>
              </a:rPr>
              <a:t>yslipidaemia</a:t>
            </a: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a:t>
            </a:r>
          </a:p>
          <a:p>
            <a:pPr marL="0" marR="0" lvl="0" indent="0" algn="l" defTabSz="91419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Hypertension</a:t>
            </a:r>
          </a:p>
          <a:p>
            <a:pPr marL="0" marR="0" lvl="0" indent="0" algn="l" defTabSz="91419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Coronary artery disease</a:t>
            </a:r>
          </a:p>
          <a:p>
            <a:pPr marL="0" marR="0" lvl="0" indent="0" algn="l" defTabSz="91419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Coronary heart failure</a:t>
            </a:r>
          </a:p>
          <a:p>
            <a:pPr marL="0" marR="0" lvl="0" indent="0" algn="l" defTabSz="91419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 Pulmonary embolism</a:t>
            </a:r>
          </a:p>
        </p:txBody>
      </p:sp>
      <p:sp>
        <p:nvSpPr>
          <p:cNvPr id="19" name="TextBox 6"/>
          <p:cNvSpPr txBox="1">
            <a:spLocks noChangeArrowheads="1"/>
          </p:cNvSpPr>
          <p:nvPr/>
        </p:nvSpPr>
        <p:spPr bwMode="auto">
          <a:xfrm>
            <a:off x="2470061" y="3470698"/>
            <a:ext cx="2104812" cy="1661134"/>
          </a:xfrm>
          <a:prstGeom prst="roundRect">
            <a:avLst>
              <a:gd name="adj" fmla="val 4774"/>
            </a:avLst>
          </a:prstGeom>
          <a:solidFill>
            <a:srgbClr val="001965"/>
          </a:solidFill>
          <a:ln w="28575">
            <a:solidFill>
              <a:srgbClr val="001965"/>
            </a:solidFill>
            <a:miter lim="800000"/>
            <a:headEnd/>
            <a:tailEnd/>
          </a:ln>
        </p:spPr>
        <p:txBody>
          <a:bodyPr wrap="square" lIns="121905" tIns="24384" rIns="121905" bIns="24384">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Infertility</a:t>
            </a:r>
          </a:p>
          <a:p>
            <a:pPr marL="121917" marR="0" lvl="0" indent="-121917" algn="l" defTabSz="9141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Subfertility</a:t>
            </a:r>
          </a:p>
          <a:p>
            <a:pPr marL="121917" marR="0" lvl="0" indent="-121917" algn="l" defTabSz="9141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hypogonadism (male)</a:t>
            </a:r>
          </a:p>
          <a:p>
            <a:pPr marL="121917" marR="0" lvl="0" indent="-121917" algn="l" defTabSz="9141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PCOS</a:t>
            </a:r>
          </a:p>
          <a:p>
            <a:pPr marL="121917" marR="0" lvl="0" indent="-121917" algn="l" defTabSz="9141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pregnancy complications</a:t>
            </a:r>
          </a:p>
        </p:txBody>
      </p:sp>
      <p:sp>
        <p:nvSpPr>
          <p:cNvPr id="20" name="TextBox 6"/>
          <p:cNvSpPr txBox="1">
            <a:spLocks noChangeArrowheads="1"/>
          </p:cNvSpPr>
          <p:nvPr/>
        </p:nvSpPr>
        <p:spPr bwMode="auto">
          <a:xfrm>
            <a:off x="2468004" y="2733665"/>
            <a:ext cx="2123269" cy="304268"/>
          </a:xfrm>
          <a:prstGeom prst="roundRect">
            <a:avLst/>
          </a:prstGeom>
          <a:solidFill>
            <a:srgbClr val="001965"/>
          </a:solidFill>
          <a:ln w="28575">
            <a:solidFill>
              <a:srgbClr val="001965"/>
            </a:solidFill>
            <a:miter lim="800000"/>
            <a:headEnd/>
            <a:tailEnd/>
          </a:ln>
        </p:spPr>
        <p:txBody>
          <a:bodyPr wrap="square" lIns="121905" tIns="24384" rIns="121905" bIns="24384">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NAFLD</a:t>
            </a:r>
            <a:endParaRPr kumimoji="0" lang="en-GB" altLang="en-US" sz="1467" b="0" i="0" u="none" strike="noStrike" kern="1200" cap="none" spc="0" normalizeH="0" baseline="30000" noProof="0" dirty="0">
              <a:ln>
                <a:noFill/>
              </a:ln>
              <a:solidFill>
                <a:srgbClr val="FFFFFF"/>
              </a:solidFill>
              <a:effectLst/>
              <a:uLnTx/>
              <a:uFillTx/>
              <a:latin typeface="Apis For Office"/>
              <a:ea typeface="+mn-ea"/>
              <a:cs typeface="Arial" charset="0"/>
            </a:endParaRPr>
          </a:p>
        </p:txBody>
      </p:sp>
      <p:sp>
        <p:nvSpPr>
          <p:cNvPr id="21" name="TextBox 6"/>
          <p:cNvSpPr txBox="1">
            <a:spLocks noChangeArrowheads="1"/>
          </p:cNvSpPr>
          <p:nvPr/>
        </p:nvSpPr>
        <p:spPr bwMode="auto">
          <a:xfrm>
            <a:off x="430076" y="4971087"/>
            <a:ext cx="1828800" cy="304268"/>
          </a:xfrm>
          <a:prstGeom prst="roundRect">
            <a:avLst/>
          </a:prstGeom>
          <a:solidFill>
            <a:srgbClr val="001965"/>
          </a:solidFill>
          <a:ln w="28575">
            <a:noFill/>
            <a:miter lim="800000"/>
            <a:headEnd/>
            <a:tailEnd/>
          </a:ln>
        </p:spPr>
        <p:txBody>
          <a:bodyPr wrap="square" lIns="121905" tIns="24384" rIns="121905" bIns="24384" anchor="ctr">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Cancers*</a:t>
            </a:r>
          </a:p>
        </p:txBody>
      </p:sp>
      <p:sp>
        <p:nvSpPr>
          <p:cNvPr id="22" name="TextBox 6"/>
          <p:cNvSpPr txBox="1">
            <a:spLocks noChangeArrowheads="1"/>
          </p:cNvSpPr>
          <p:nvPr/>
        </p:nvSpPr>
        <p:spPr bwMode="auto">
          <a:xfrm>
            <a:off x="8022281" y="5522439"/>
            <a:ext cx="2922800" cy="304268"/>
          </a:xfrm>
          <a:prstGeom prst="roundRect">
            <a:avLst/>
          </a:prstGeom>
          <a:solidFill>
            <a:srgbClr val="001965"/>
          </a:solidFill>
          <a:ln w="28575">
            <a:solidFill>
              <a:srgbClr val="001965"/>
            </a:solidFill>
            <a:miter lim="800000"/>
            <a:headEnd/>
            <a:tailEnd/>
          </a:ln>
        </p:spPr>
        <p:txBody>
          <a:bodyPr wrap="square" lIns="121905" tIns="24384" rIns="121905" bIns="24384">
            <a:spAutoFit/>
          </a:bodyPr>
          <a:lstStyle>
            <a:defPPr>
              <a:defRPr lang="en-US"/>
            </a:defPPr>
            <a:lvl1pPr eaLnBrk="1" hangingPunct="1">
              <a:defRPr sz="1200">
                <a:solidFill>
                  <a:srgbClr val="001965"/>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mn-cs"/>
              </a:rPr>
              <a:t>Gout</a:t>
            </a:r>
          </a:p>
        </p:txBody>
      </p:sp>
      <p:sp>
        <p:nvSpPr>
          <p:cNvPr id="23" name="TextBox 6"/>
          <p:cNvSpPr txBox="1">
            <a:spLocks noChangeArrowheads="1"/>
          </p:cNvSpPr>
          <p:nvPr/>
        </p:nvSpPr>
        <p:spPr bwMode="auto">
          <a:xfrm>
            <a:off x="8022281" y="4992111"/>
            <a:ext cx="2922801" cy="304268"/>
          </a:xfrm>
          <a:prstGeom prst="roundRect">
            <a:avLst/>
          </a:prstGeom>
          <a:solidFill>
            <a:srgbClr val="001965"/>
          </a:solidFill>
          <a:ln w="28575">
            <a:solidFill>
              <a:srgbClr val="001965"/>
            </a:solidFill>
            <a:miter lim="800000"/>
            <a:headEnd/>
            <a:tailEnd/>
          </a:ln>
        </p:spPr>
        <p:txBody>
          <a:bodyPr wrap="square" lIns="121905" tIns="24384" rIns="121905" bIns="24384">
            <a:spAutoFit/>
          </a:bodyPr>
          <a:lstStyle>
            <a:defPPr>
              <a:defRPr lang="en-US"/>
            </a:defPPr>
            <a:lvl1pPr eaLnBrk="1" hangingPunct="1">
              <a:defRPr sz="1200">
                <a:solidFill>
                  <a:srgbClr val="001965"/>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mn-cs"/>
              </a:rPr>
              <a:t>Thrombosis</a:t>
            </a:r>
          </a:p>
        </p:txBody>
      </p:sp>
      <p:sp>
        <p:nvSpPr>
          <p:cNvPr id="24" name="TextBox 6"/>
          <p:cNvSpPr txBox="1">
            <a:spLocks noChangeArrowheads="1"/>
          </p:cNvSpPr>
          <p:nvPr/>
        </p:nvSpPr>
        <p:spPr bwMode="auto">
          <a:xfrm>
            <a:off x="2470061" y="2365149"/>
            <a:ext cx="2104812" cy="304268"/>
          </a:xfrm>
          <a:prstGeom prst="roundRect">
            <a:avLst/>
          </a:prstGeom>
          <a:solidFill>
            <a:srgbClr val="001965"/>
          </a:solidFill>
          <a:ln w="28575">
            <a:solidFill>
              <a:srgbClr val="001965"/>
            </a:solidFill>
            <a:miter lim="800000"/>
            <a:headEnd/>
            <a:tailEnd/>
          </a:ln>
        </p:spPr>
        <p:txBody>
          <a:bodyPr wrap="square" lIns="121905" tIns="24384" rIns="121905" bIns="24384">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Asthma</a:t>
            </a:r>
          </a:p>
        </p:txBody>
      </p:sp>
      <p:sp>
        <p:nvSpPr>
          <p:cNvPr id="25" name="TextBox 6"/>
          <p:cNvSpPr txBox="1">
            <a:spLocks noChangeArrowheads="1"/>
          </p:cNvSpPr>
          <p:nvPr/>
        </p:nvSpPr>
        <p:spPr bwMode="auto">
          <a:xfrm>
            <a:off x="2470061" y="3102181"/>
            <a:ext cx="2104812" cy="304268"/>
          </a:xfrm>
          <a:prstGeom prst="roundRect">
            <a:avLst/>
          </a:prstGeom>
          <a:solidFill>
            <a:srgbClr val="001965"/>
          </a:solidFill>
          <a:ln w="28575">
            <a:solidFill>
              <a:srgbClr val="001965"/>
            </a:solidFill>
            <a:miter lim="800000"/>
            <a:headEnd/>
            <a:tailEnd/>
          </a:ln>
        </p:spPr>
        <p:txBody>
          <a:bodyPr wrap="square" lIns="121905" tIns="24384" rIns="121905" bIns="24384">
            <a:spAutoFit/>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altLang="en-US" sz="1467" b="0" i="0" u="none" strike="noStrike" kern="1200" cap="none" spc="0" normalizeH="0" baseline="0" noProof="0" dirty="0">
                <a:ln>
                  <a:noFill/>
                </a:ln>
                <a:solidFill>
                  <a:srgbClr val="FFFFFF"/>
                </a:solidFill>
                <a:effectLst/>
                <a:uLnTx/>
                <a:uFillTx/>
                <a:latin typeface="Apis For Office"/>
                <a:ea typeface="+mn-ea"/>
                <a:cs typeface="Arial" charset="0"/>
              </a:rPr>
              <a:t>Gallstones</a:t>
            </a:r>
          </a:p>
        </p:txBody>
      </p:sp>
      <p:cxnSp>
        <p:nvCxnSpPr>
          <p:cNvPr id="11" name="Straight Connector 10"/>
          <p:cNvCxnSpPr>
            <a:cxnSpLocks/>
            <a:stCxn id="24" idx="3"/>
          </p:cNvCxnSpPr>
          <p:nvPr/>
        </p:nvCxnSpPr>
        <p:spPr>
          <a:xfrm flipV="1">
            <a:off x="4574873" y="1765303"/>
            <a:ext cx="1689402" cy="75198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a:stCxn id="20" idx="3"/>
          </p:cNvCxnSpPr>
          <p:nvPr/>
        </p:nvCxnSpPr>
        <p:spPr>
          <a:xfrm flipV="1">
            <a:off x="4591273" y="2057403"/>
            <a:ext cx="1369261" cy="828396"/>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25" idx="3"/>
          </p:cNvCxnSpPr>
          <p:nvPr/>
        </p:nvCxnSpPr>
        <p:spPr>
          <a:xfrm flipV="1">
            <a:off x="4574873" y="2607391"/>
            <a:ext cx="1614260" cy="646924"/>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flipV="1">
            <a:off x="4473248" y="3462868"/>
            <a:ext cx="1783619" cy="107353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a:endCxn id="22" idx="1"/>
          </p:cNvCxnSpPr>
          <p:nvPr/>
        </p:nvCxnSpPr>
        <p:spPr>
          <a:xfrm flipV="1">
            <a:off x="6587067" y="5674573"/>
            <a:ext cx="1435214" cy="10878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23" idx="1"/>
          </p:cNvCxnSpPr>
          <p:nvPr/>
        </p:nvCxnSpPr>
        <p:spPr>
          <a:xfrm flipV="1">
            <a:off x="6690848" y="5144245"/>
            <a:ext cx="1331433" cy="8956"/>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489411" y="1060071"/>
            <a:ext cx="1606308" cy="111372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a:endCxn id="17" idx="1"/>
          </p:cNvCxnSpPr>
          <p:nvPr/>
        </p:nvCxnSpPr>
        <p:spPr>
          <a:xfrm>
            <a:off x="6587067" y="2692400"/>
            <a:ext cx="1435214" cy="177399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430076" y="2560937"/>
            <a:ext cx="1828800" cy="341376"/>
          </a:xfrm>
          <a:prstGeom prst="roundRect">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24384" rIns="121917" bIns="24384" rtlCol="0" anchor="ctr">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1965"/>
                </a:solidFill>
                <a:effectLst/>
                <a:uLnTx/>
                <a:uFillTx/>
                <a:latin typeface="Apis For Office"/>
                <a:ea typeface="+mn-ea"/>
                <a:cs typeface="+mn-cs"/>
              </a:rPr>
              <a:t>Mental</a:t>
            </a:r>
          </a:p>
        </p:txBody>
      </p:sp>
      <p:sp>
        <p:nvSpPr>
          <p:cNvPr id="41" name="Rounded Rectangle 40"/>
          <p:cNvSpPr/>
          <p:nvPr/>
        </p:nvSpPr>
        <p:spPr>
          <a:xfrm>
            <a:off x="2470061" y="1633400"/>
            <a:ext cx="2104812" cy="304268"/>
          </a:xfrm>
          <a:prstGeom prst="roundRect">
            <a:avLst>
              <a:gd name="adj" fmla="val 17369"/>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1965"/>
                </a:solidFill>
                <a:effectLst/>
                <a:uLnTx/>
                <a:uFillTx/>
                <a:latin typeface="Apis For Office"/>
                <a:ea typeface="+mn-ea"/>
                <a:cs typeface="Arial" charset="0"/>
              </a:rPr>
              <a:t>Depression</a:t>
            </a:r>
            <a:endParaRPr kumimoji="0" lang="en-GB" sz="1467" b="0" i="0" u="none" strike="noStrike" kern="1200" cap="none" spc="0" normalizeH="0" baseline="30000" noProof="0" dirty="0">
              <a:ln>
                <a:noFill/>
              </a:ln>
              <a:solidFill>
                <a:srgbClr val="001965"/>
              </a:solidFill>
              <a:effectLst/>
              <a:uLnTx/>
              <a:uFillTx/>
              <a:latin typeface="Apis For Office"/>
              <a:ea typeface="+mn-ea"/>
              <a:cs typeface="Arial" charset="0"/>
            </a:endParaRPr>
          </a:p>
        </p:txBody>
      </p:sp>
      <p:sp>
        <p:nvSpPr>
          <p:cNvPr id="46" name="Rounded Rectangle 45"/>
          <p:cNvSpPr/>
          <p:nvPr/>
        </p:nvSpPr>
        <p:spPr>
          <a:xfrm>
            <a:off x="430076" y="5303890"/>
            <a:ext cx="1828800" cy="554052"/>
          </a:xfrm>
          <a:prstGeom prst="roundRect">
            <a:avLst/>
          </a:prstGeom>
          <a:solidFill>
            <a:srgbClr val="009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Physical functioning</a:t>
            </a:r>
          </a:p>
        </p:txBody>
      </p:sp>
      <p:sp>
        <p:nvSpPr>
          <p:cNvPr id="4" name="Rounded Rectangle 3"/>
          <p:cNvSpPr/>
          <p:nvPr/>
        </p:nvSpPr>
        <p:spPr>
          <a:xfrm>
            <a:off x="430076" y="2106795"/>
            <a:ext cx="1828800" cy="337821"/>
          </a:xfrm>
          <a:prstGeom prst="round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121917" tIns="24384" rIns="121917" bIns="24384" rtlCol="0" anchor="ctr">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Mechanical</a:t>
            </a:r>
          </a:p>
        </p:txBody>
      </p:sp>
      <p:sp>
        <p:nvSpPr>
          <p:cNvPr id="47" name="Rounded Rectangle 46"/>
          <p:cNvSpPr/>
          <p:nvPr/>
        </p:nvSpPr>
        <p:spPr>
          <a:xfrm>
            <a:off x="8022281" y="1270650"/>
            <a:ext cx="2922801" cy="304268"/>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Sleep apnoea</a:t>
            </a:r>
            <a:endParaRPr kumimoji="0" lang="en-GB" sz="1467" b="0" i="0" u="none" strike="noStrike" kern="1200" cap="none" spc="0" normalizeH="0" baseline="30000" noProof="0" dirty="0">
              <a:ln>
                <a:noFill/>
              </a:ln>
              <a:solidFill>
                <a:srgbClr val="FFFFFF"/>
              </a:solidFill>
              <a:effectLst/>
              <a:uLnTx/>
              <a:uFillTx/>
              <a:latin typeface="Apis For Office"/>
              <a:ea typeface="+mn-ea"/>
              <a:cs typeface="+mn-cs"/>
            </a:endParaRPr>
          </a:p>
        </p:txBody>
      </p:sp>
      <p:sp>
        <p:nvSpPr>
          <p:cNvPr id="49" name="Rounded Rectangle 48"/>
          <p:cNvSpPr/>
          <p:nvPr/>
        </p:nvSpPr>
        <p:spPr>
          <a:xfrm>
            <a:off x="2472415" y="5195656"/>
            <a:ext cx="2104811" cy="304268"/>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Incontinence</a:t>
            </a:r>
          </a:p>
        </p:txBody>
      </p:sp>
      <p:sp>
        <p:nvSpPr>
          <p:cNvPr id="50" name="Rounded Rectangle 49"/>
          <p:cNvSpPr/>
          <p:nvPr/>
        </p:nvSpPr>
        <p:spPr>
          <a:xfrm>
            <a:off x="2470061" y="5564173"/>
            <a:ext cx="2104812" cy="304268"/>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Knee osteoarthritis</a:t>
            </a:r>
          </a:p>
        </p:txBody>
      </p:sp>
      <p:cxnSp>
        <p:nvCxnSpPr>
          <p:cNvPr id="56" name="Straight Connector 55"/>
          <p:cNvCxnSpPr>
            <a:cxnSpLocks/>
            <a:stCxn id="49" idx="3"/>
          </p:cNvCxnSpPr>
          <p:nvPr/>
        </p:nvCxnSpPr>
        <p:spPr>
          <a:xfrm flipV="1">
            <a:off x="4577226" y="3625853"/>
            <a:ext cx="1679641" cy="1721937"/>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a:stCxn id="50" idx="3"/>
          </p:cNvCxnSpPr>
          <p:nvPr/>
        </p:nvCxnSpPr>
        <p:spPr>
          <a:xfrm flipV="1">
            <a:off x="4574873" y="4783673"/>
            <a:ext cx="1427994" cy="932634"/>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a:endCxn id="47" idx="1"/>
          </p:cNvCxnSpPr>
          <p:nvPr/>
        </p:nvCxnSpPr>
        <p:spPr>
          <a:xfrm flipV="1">
            <a:off x="6362701" y="1422784"/>
            <a:ext cx="1659580" cy="298068"/>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8022281" y="3711211"/>
            <a:ext cx="2922800" cy="304268"/>
          </a:xfrm>
          <a:prstGeom prst="roundRect">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pis For Office"/>
                <a:ea typeface="+mn-ea"/>
                <a:cs typeface="+mn-cs"/>
              </a:rPr>
              <a:t>Chronic back pain</a:t>
            </a:r>
          </a:p>
        </p:txBody>
      </p:sp>
      <p:cxnSp>
        <p:nvCxnSpPr>
          <p:cNvPr id="72" name="Straight Connector 71"/>
          <p:cNvCxnSpPr>
            <a:cxnSpLocks/>
            <a:endCxn id="70" idx="1"/>
          </p:cNvCxnSpPr>
          <p:nvPr/>
        </p:nvCxnSpPr>
        <p:spPr>
          <a:xfrm>
            <a:off x="6832601" y="2633134"/>
            <a:ext cx="1189680" cy="1230211"/>
          </a:xfrm>
          <a:prstGeom prst="line">
            <a:avLst/>
          </a:prstGeom>
          <a:ln w="19050">
            <a:solidFill>
              <a:srgbClr val="009FDA"/>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341534" y="1837267"/>
            <a:ext cx="1808705" cy="832253"/>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69" name="Rectangle 1"/>
          <p:cNvSpPr>
            <a:spLocks noChangeArrowheads="1"/>
          </p:cNvSpPr>
          <p:nvPr/>
        </p:nvSpPr>
        <p:spPr bwMode="auto">
          <a:xfrm>
            <a:off x="439735" y="5927969"/>
            <a:ext cx="8501680" cy="451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9" rIns="121917" bIns="60959"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82786F"/>
                </a:solidFill>
                <a:effectLst/>
                <a:uLnTx/>
                <a:uFillTx/>
                <a:latin typeface="Verdana" panose="020B0604030504040204" pitchFamily="34" charset="0"/>
                <a:ea typeface="+mn-ea"/>
                <a:cs typeface="Verdana" panose="020B0604030504040204" pitchFamily="34" charset="0"/>
              </a:rPr>
              <a:t>CVD, cardiovascular disease; NAFLD, non-alcoholic fatty liver diseas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82786F"/>
                </a:solidFill>
                <a:effectLst/>
                <a:uLnTx/>
                <a:uFillTx/>
                <a:latin typeface="Verdana" panose="020B0604030504040204" pitchFamily="34" charset="0"/>
                <a:ea typeface="+mn-ea"/>
                <a:cs typeface="Verdana" panose="020B0604030504040204" pitchFamily="34" charset="0"/>
              </a:rPr>
              <a:t>*Including breast, colorectal, endometrial, oesophageal, kidney, ovarian, pancreatic and prostate; T2D, type 2 diabetes</a:t>
            </a:r>
          </a:p>
        </p:txBody>
      </p:sp>
      <p:sp>
        <p:nvSpPr>
          <p:cNvPr id="39" name="Rounded Rectangle 38"/>
          <p:cNvSpPr/>
          <p:nvPr/>
        </p:nvSpPr>
        <p:spPr>
          <a:xfrm>
            <a:off x="2470061" y="2001918"/>
            <a:ext cx="2104812" cy="298949"/>
          </a:xfrm>
          <a:prstGeom prst="roundRect">
            <a:avLst>
              <a:gd name="adj" fmla="val 14058"/>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24384" rIns="121917" bIns="24384" rtlCol="0" anchor="ctr">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1965"/>
                </a:solidFill>
                <a:effectLst/>
                <a:uLnTx/>
                <a:uFillTx/>
                <a:latin typeface="Apis For Office"/>
                <a:ea typeface="+mn-ea"/>
                <a:cs typeface="Arial" charset="0"/>
              </a:rPr>
              <a:t>Anxiety</a:t>
            </a:r>
          </a:p>
        </p:txBody>
      </p:sp>
      <p:pic>
        <p:nvPicPr>
          <p:cNvPr id="51" name="Picture 50" descr="brain1.png">
            <a:extLst>
              <a:ext uri="{FF2B5EF4-FFF2-40B4-BE49-F238E27FC236}">
                <a16:creationId xmlns:a16="http://schemas.microsoft.com/office/drawing/2014/main" id="{CF06B13C-0349-46CC-81DE-94A44853448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89484" y="919244"/>
            <a:ext cx="849075" cy="651897"/>
          </a:xfrm>
          <a:prstGeom prst="rect">
            <a:avLst/>
          </a:prstGeom>
        </p:spPr>
      </p:pic>
      <p:cxnSp>
        <p:nvCxnSpPr>
          <p:cNvPr id="43" name="Straight Connector 42"/>
          <p:cNvCxnSpPr>
            <a:cxnSpLocks/>
            <a:stCxn id="41" idx="3"/>
          </p:cNvCxnSpPr>
          <p:nvPr/>
        </p:nvCxnSpPr>
        <p:spPr>
          <a:xfrm flipV="1">
            <a:off x="4574873" y="1060071"/>
            <a:ext cx="1816113" cy="725463"/>
          </a:xfrm>
          <a:prstGeom prst="line">
            <a:avLst/>
          </a:prstGeom>
          <a:ln w="19050">
            <a:solidFill>
              <a:srgbClr val="72B5C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a:stCxn id="39" idx="3"/>
          </p:cNvCxnSpPr>
          <p:nvPr/>
        </p:nvCxnSpPr>
        <p:spPr>
          <a:xfrm flipV="1">
            <a:off x="4574873" y="1077856"/>
            <a:ext cx="1808705" cy="1073537"/>
          </a:xfrm>
          <a:prstGeom prst="line">
            <a:avLst/>
          </a:prstGeom>
          <a:ln w="19050">
            <a:solidFill>
              <a:srgbClr val="72B5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1923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0"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childTnLst>
                                </p:cTn>
                              </p:par>
                              <p:par>
                                <p:cTn id="44" presetID="10" presetClass="entr" presetSubtype="0" fill="hold"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nodeType="with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500"/>
                                        <p:tgtEl>
                                          <p:spTgt spid="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0"/>
                                        </p:tgtEl>
                                        <p:attrNameLst>
                                          <p:attrName>style.visibility</p:attrName>
                                        </p:attrNameLst>
                                      </p:cBhvr>
                                      <p:to>
                                        <p:strVal val="visible"/>
                                      </p:to>
                                    </p:set>
                                    <p:animEffect transition="in" filter="fade">
                                      <p:cBhvr>
                                        <p:cTn id="72" dur="500"/>
                                        <p:tgtEl>
                                          <p:spTgt spid="5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0"/>
                                        </p:tgtEl>
                                        <p:attrNameLst>
                                          <p:attrName>style.visibility</p:attrName>
                                        </p:attrNameLst>
                                      </p:cBhvr>
                                      <p:to>
                                        <p:strVal val="visible"/>
                                      </p:to>
                                    </p:set>
                                    <p:animEffect transition="in" filter="fade">
                                      <p:cBhvr>
                                        <p:cTn id="75" dur="500"/>
                                        <p:tgtEl>
                                          <p:spTgt spid="7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500"/>
                                        <p:tgtEl>
                                          <p:spTgt spid="47"/>
                                        </p:tgtEl>
                                      </p:cBhvr>
                                    </p:animEffect>
                                  </p:childTnLst>
                                </p:cTn>
                              </p:par>
                              <p:par>
                                <p:cTn id="79" presetID="10" presetClass="entr" presetSubtype="0" fill="hold" nodeType="withEffect">
                                  <p:stCondLst>
                                    <p:cond delay="0"/>
                                  </p:stCondLst>
                                  <p:childTnLst>
                                    <p:set>
                                      <p:cBhvr>
                                        <p:cTn id="80" dur="1" fill="hold">
                                          <p:stCondLst>
                                            <p:cond delay="0"/>
                                          </p:stCondLst>
                                        </p:cTn>
                                        <p:tgtEl>
                                          <p:spTgt spid="62"/>
                                        </p:tgtEl>
                                        <p:attrNameLst>
                                          <p:attrName>style.visibility</p:attrName>
                                        </p:attrNameLst>
                                      </p:cBhvr>
                                      <p:to>
                                        <p:strVal val="visible"/>
                                      </p:to>
                                    </p:set>
                                    <p:animEffect transition="in" filter="fade">
                                      <p:cBhvr>
                                        <p:cTn id="81" dur="500"/>
                                        <p:tgtEl>
                                          <p:spTgt spid="62"/>
                                        </p:tgtEl>
                                      </p:cBhvr>
                                    </p:animEffect>
                                  </p:childTnLst>
                                </p:cTn>
                              </p:par>
                              <p:par>
                                <p:cTn id="82" presetID="10" presetClass="entr" presetSubtype="0" fill="hold" nodeType="withEffect">
                                  <p:stCondLst>
                                    <p:cond delay="0"/>
                                  </p:stCondLst>
                                  <p:childTnLst>
                                    <p:set>
                                      <p:cBhvr>
                                        <p:cTn id="83" dur="1" fill="hold">
                                          <p:stCondLst>
                                            <p:cond delay="0"/>
                                          </p:stCondLst>
                                        </p:cTn>
                                        <p:tgtEl>
                                          <p:spTgt spid="72"/>
                                        </p:tgtEl>
                                        <p:attrNameLst>
                                          <p:attrName>style.visibility</p:attrName>
                                        </p:attrNameLst>
                                      </p:cBhvr>
                                      <p:to>
                                        <p:strVal val="visible"/>
                                      </p:to>
                                    </p:set>
                                    <p:animEffect transition="in" filter="fade">
                                      <p:cBhvr>
                                        <p:cTn id="84" dur="500"/>
                                        <p:tgtEl>
                                          <p:spTgt spid="72"/>
                                        </p:tgtEl>
                                      </p:cBhvr>
                                    </p:animEffect>
                                  </p:childTnLst>
                                </p:cTn>
                              </p:par>
                              <p:par>
                                <p:cTn id="85" presetID="10" presetClass="entr" presetSubtype="0" fill="hold" nodeType="withEffect">
                                  <p:stCondLst>
                                    <p:cond delay="0"/>
                                  </p:stCondLst>
                                  <p:childTnLst>
                                    <p:set>
                                      <p:cBhvr>
                                        <p:cTn id="86" dur="1" fill="hold">
                                          <p:stCondLst>
                                            <p:cond delay="0"/>
                                          </p:stCondLst>
                                        </p:cTn>
                                        <p:tgtEl>
                                          <p:spTgt spid="56"/>
                                        </p:tgtEl>
                                        <p:attrNameLst>
                                          <p:attrName>style.visibility</p:attrName>
                                        </p:attrNameLst>
                                      </p:cBhvr>
                                      <p:to>
                                        <p:strVal val="visible"/>
                                      </p:to>
                                    </p:set>
                                    <p:animEffect transition="in" filter="fade">
                                      <p:cBhvr>
                                        <p:cTn id="87" dur="500"/>
                                        <p:tgtEl>
                                          <p:spTgt spid="56"/>
                                        </p:tgtEl>
                                      </p:cBhvr>
                                    </p:animEffect>
                                  </p:childTnLst>
                                </p:cTn>
                              </p:par>
                              <p:par>
                                <p:cTn id="88" presetID="10" presetClass="entr" presetSubtype="0" fill="hold"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6"/>
                                        </p:tgtEl>
                                        <p:attrNameLst>
                                          <p:attrName>style.visibility</p:attrName>
                                        </p:attrNameLst>
                                      </p:cBhvr>
                                      <p:to>
                                        <p:strVal val="visible"/>
                                      </p:to>
                                    </p:set>
                                    <p:animEffect transition="in" filter="fade">
                                      <p:cBhvr>
                                        <p:cTn id="93" dur="500"/>
                                        <p:tgtEl>
                                          <p:spTgt spid="4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5"/>
                                        </p:tgtEl>
                                        <p:attrNameLst>
                                          <p:attrName>style.visibility</p:attrName>
                                        </p:attrNameLst>
                                      </p:cBhvr>
                                      <p:to>
                                        <p:strVal val="visible"/>
                                      </p:to>
                                    </p:set>
                                    <p:animEffect transition="in" filter="fade">
                                      <p:cBhvr>
                                        <p:cTn id="98" dur="500"/>
                                        <p:tgtEl>
                                          <p:spTgt spid="1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41"/>
                                        </p:tgtEl>
                                        <p:attrNameLst>
                                          <p:attrName>style.visibility</p:attrName>
                                        </p:attrNameLst>
                                      </p:cBhvr>
                                      <p:to>
                                        <p:strVal val="visible"/>
                                      </p:to>
                                    </p:set>
                                    <p:animEffect transition="in" filter="fade">
                                      <p:cBhvr>
                                        <p:cTn id="101" dur="500"/>
                                        <p:tgtEl>
                                          <p:spTgt spid="41"/>
                                        </p:tgtEl>
                                      </p:cBhvr>
                                    </p:animEffect>
                                  </p:childTnLst>
                                </p:cTn>
                              </p:par>
                              <p:par>
                                <p:cTn id="102" presetID="10" presetClass="entr" presetSubtype="0" fill="hold"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9"/>
                                        </p:tgtEl>
                                        <p:attrNameLst>
                                          <p:attrName>style.visibility</p:attrName>
                                        </p:attrNameLst>
                                      </p:cBhvr>
                                      <p:to>
                                        <p:strVal val="visible"/>
                                      </p:to>
                                    </p:set>
                                    <p:animEffect transition="in" filter="fade">
                                      <p:cBhvr>
                                        <p:cTn id="107" dur="500"/>
                                        <p:tgtEl>
                                          <p:spTgt spid="39"/>
                                        </p:tgtEl>
                                      </p:cBhvr>
                                    </p:animEffect>
                                  </p:childTnLst>
                                </p:cTn>
                              </p:par>
                              <p:par>
                                <p:cTn id="108" presetID="10" presetClass="entr" presetSubtype="0" fill="hold" nodeType="withEffect">
                                  <p:stCondLst>
                                    <p:cond delay="0"/>
                                  </p:stCondLst>
                                  <p:childTnLst>
                                    <p:set>
                                      <p:cBhvr>
                                        <p:cTn id="109" dur="1" fill="hold">
                                          <p:stCondLst>
                                            <p:cond delay="0"/>
                                          </p:stCondLst>
                                        </p:cTn>
                                        <p:tgtEl>
                                          <p:spTgt spid="40"/>
                                        </p:tgtEl>
                                        <p:attrNameLst>
                                          <p:attrName>style.visibility</p:attrName>
                                        </p:attrNameLst>
                                      </p:cBhvr>
                                      <p:to>
                                        <p:strVal val="visible"/>
                                      </p:to>
                                    </p:set>
                                    <p:animEffect transition="in" filter="fade">
                                      <p:cBhvr>
                                        <p:cTn id="11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19" grpId="0" animBg="1"/>
      <p:bldP spid="20" grpId="0" animBg="1"/>
      <p:bldP spid="21" grpId="0" animBg="1"/>
      <p:bldP spid="22" grpId="0" animBg="1"/>
      <p:bldP spid="23" grpId="0" animBg="1"/>
      <p:bldP spid="24" grpId="0" animBg="1"/>
      <p:bldP spid="25" grpId="0" animBg="1"/>
      <p:bldP spid="15" grpId="0" animBg="1"/>
      <p:bldP spid="41" grpId="0" animBg="1"/>
      <p:bldP spid="46" grpId="0" animBg="1"/>
      <p:bldP spid="4" grpId="0" animBg="1"/>
      <p:bldP spid="47" grpId="0" animBg="1"/>
      <p:bldP spid="49" grpId="0" animBg="1"/>
      <p:bldP spid="50" grpId="0" animBg="1"/>
      <p:bldP spid="70" grpId="0" animBg="1"/>
      <p:bldP spid="3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SUBGRID]" val="[SubGrid]"/>
</p:tagLst>
</file>

<file path=ppt/tags/tag101.xml><?xml version="1.0" encoding="utf-8"?>
<p:tagLst xmlns:a="http://schemas.openxmlformats.org/drawingml/2006/main" xmlns:r="http://schemas.openxmlformats.org/officeDocument/2006/relationships" xmlns:p="http://schemas.openxmlformats.org/presentationml/2006/main">
  <p:tag name="[SUBGRID]" val="[SubGrid]"/>
</p:tagLst>
</file>

<file path=ppt/tags/tag102.xml><?xml version="1.0" encoding="utf-8"?>
<p:tagLst xmlns:a="http://schemas.openxmlformats.org/drawingml/2006/main" xmlns:r="http://schemas.openxmlformats.org/officeDocument/2006/relationships" xmlns:p="http://schemas.openxmlformats.org/presentationml/2006/main">
  <p:tag name="[SUBGRID]" val="[SubGrid]"/>
</p:tagLst>
</file>

<file path=ppt/tags/tag103.xml><?xml version="1.0" encoding="utf-8"?>
<p:tagLst xmlns:a="http://schemas.openxmlformats.org/drawingml/2006/main" xmlns:r="http://schemas.openxmlformats.org/officeDocument/2006/relationships" xmlns:p="http://schemas.openxmlformats.org/presentationml/2006/main">
  <p:tag name="[SUBGRID]" val="[SubGrid]"/>
</p:tagLst>
</file>

<file path=ppt/tags/tag104.xml><?xml version="1.0" encoding="utf-8"?>
<p:tagLst xmlns:a="http://schemas.openxmlformats.org/drawingml/2006/main" xmlns:r="http://schemas.openxmlformats.org/officeDocument/2006/relationships" xmlns:p="http://schemas.openxmlformats.org/presentationml/2006/main">
  <p:tag name="[SUBGRID]" val="[SubGrid]"/>
</p:tagLst>
</file>

<file path=ppt/tags/tag105.xml><?xml version="1.0" encoding="utf-8"?>
<p:tagLst xmlns:a="http://schemas.openxmlformats.org/drawingml/2006/main" xmlns:r="http://schemas.openxmlformats.org/officeDocument/2006/relationships" xmlns:p="http://schemas.openxmlformats.org/presentationml/2006/main">
  <p:tag name="[SUBGRID]" val="[SubGrid]"/>
</p:tagLst>
</file>

<file path=ppt/tags/tag106.xml><?xml version="1.0" encoding="utf-8"?>
<p:tagLst xmlns:a="http://schemas.openxmlformats.org/drawingml/2006/main" xmlns:r="http://schemas.openxmlformats.org/officeDocument/2006/relationships" xmlns:p="http://schemas.openxmlformats.org/presentationml/2006/main">
  <p:tag name="[SUBGRID]" val="[SubGrid]"/>
</p:tagLst>
</file>

<file path=ppt/tags/tag107.xml><?xml version="1.0" encoding="utf-8"?>
<p:tagLst xmlns:a="http://schemas.openxmlformats.org/drawingml/2006/main" xmlns:r="http://schemas.openxmlformats.org/officeDocument/2006/relationships" xmlns:p="http://schemas.openxmlformats.org/presentationml/2006/main">
  <p:tag name="[SUBGRID]" val="[SubGrid]"/>
</p:tagLst>
</file>

<file path=ppt/tags/tag108.xml><?xml version="1.0" encoding="utf-8"?>
<p:tagLst xmlns:a="http://schemas.openxmlformats.org/drawingml/2006/main" xmlns:r="http://schemas.openxmlformats.org/officeDocument/2006/relationships" xmlns:p="http://schemas.openxmlformats.org/presentationml/2006/main">
  <p:tag name="[SUBGRID]" val="[SubGrid]"/>
</p:tagLst>
</file>

<file path=ppt/tags/tag109.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SUBGRID]" val="[SubGrid]"/>
</p:tagLst>
</file>

<file path=ppt/tags/tag111.xml><?xml version="1.0" encoding="utf-8"?>
<p:tagLst xmlns:a="http://schemas.openxmlformats.org/drawingml/2006/main" xmlns:r="http://schemas.openxmlformats.org/officeDocument/2006/relationships" xmlns:p="http://schemas.openxmlformats.org/presentationml/2006/main">
  <p:tag name="[SUBGRID]" val="[SubGrid]"/>
</p:tagLst>
</file>

<file path=ppt/tags/tag112.xml><?xml version="1.0" encoding="utf-8"?>
<p:tagLst xmlns:a="http://schemas.openxmlformats.org/drawingml/2006/main" xmlns:r="http://schemas.openxmlformats.org/officeDocument/2006/relationships" xmlns:p="http://schemas.openxmlformats.org/presentationml/2006/main">
  <p:tag name="[SUBGRID]" val="[SubGrid]"/>
</p:tagLst>
</file>

<file path=ppt/tags/tag113.xml><?xml version="1.0" encoding="utf-8"?>
<p:tagLst xmlns:a="http://schemas.openxmlformats.org/drawingml/2006/main" xmlns:r="http://schemas.openxmlformats.org/officeDocument/2006/relationships" xmlns:p="http://schemas.openxmlformats.org/presentationml/2006/main">
  <p:tag name="[SUBGRID]" val="[SubGrid]"/>
</p:tagLst>
</file>

<file path=ppt/tags/tag114.xml><?xml version="1.0" encoding="utf-8"?>
<p:tagLst xmlns:a="http://schemas.openxmlformats.org/drawingml/2006/main" xmlns:r="http://schemas.openxmlformats.org/officeDocument/2006/relationships" xmlns:p="http://schemas.openxmlformats.org/presentationml/2006/main">
  <p:tag name="[SUBGRID]" val="[SubGrid]"/>
</p:tagLst>
</file>

<file path=ppt/tags/tag115.xml><?xml version="1.0" encoding="utf-8"?>
<p:tagLst xmlns:a="http://schemas.openxmlformats.org/drawingml/2006/main" xmlns:r="http://schemas.openxmlformats.org/officeDocument/2006/relationships" xmlns:p="http://schemas.openxmlformats.org/presentationml/2006/main">
  <p:tag name="[SUBGRID]" val="[SubGrid]"/>
</p:tagLst>
</file>

<file path=ppt/tags/tag116.xml><?xml version="1.0" encoding="utf-8"?>
<p:tagLst xmlns:a="http://schemas.openxmlformats.org/drawingml/2006/main" xmlns:r="http://schemas.openxmlformats.org/officeDocument/2006/relationships" xmlns:p="http://schemas.openxmlformats.org/presentationml/2006/main">
  <p:tag name="[SUBGRID]" val="[SubGrid]"/>
</p:tagLst>
</file>

<file path=ppt/tags/tag117.xml><?xml version="1.0" encoding="utf-8"?>
<p:tagLst xmlns:a="http://schemas.openxmlformats.org/drawingml/2006/main" xmlns:r="http://schemas.openxmlformats.org/officeDocument/2006/relationships" xmlns:p="http://schemas.openxmlformats.org/presentationml/2006/main">
  <p:tag name="[SUBGRID]" val="[SubGrid]"/>
</p:tagLst>
</file>

<file path=ppt/tags/tag118.xml><?xml version="1.0" encoding="utf-8"?>
<p:tagLst xmlns:a="http://schemas.openxmlformats.org/drawingml/2006/main" xmlns:r="http://schemas.openxmlformats.org/officeDocument/2006/relationships" xmlns:p="http://schemas.openxmlformats.org/presentationml/2006/main">
  <p:tag name="[SUBGRID]" val="[SubGrid]"/>
</p:tagLst>
</file>

<file path=ppt/tags/tag119.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20.xml><?xml version="1.0" encoding="utf-8"?>
<p:tagLst xmlns:a="http://schemas.openxmlformats.org/drawingml/2006/main" xmlns:r="http://schemas.openxmlformats.org/officeDocument/2006/relationships" xmlns:p="http://schemas.openxmlformats.org/presentationml/2006/main">
  <p:tag name="[SUBGRID]" val="[SubGrid]"/>
</p:tagLst>
</file>

<file path=ppt/tags/tag121.xml><?xml version="1.0" encoding="utf-8"?>
<p:tagLst xmlns:a="http://schemas.openxmlformats.org/drawingml/2006/main" xmlns:r="http://schemas.openxmlformats.org/officeDocument/2006/relationships" xmlns:p="http://schemas.openxmlformats.org/presentationml/2006/main">
  <p:tag name="[SUBGRID]" val="[SubGrid]"/>
</p:tagLst>
</file>

<file path=ppt/tags/tag122.xml><?xml version="1.0" encoding="utf-8"?>
<p:tagLst xmlns:a="http://schemas.openxmlformats.org/drawingml/2006/main" xmlns:r="http://schemas.openxmlformats.org/officeDocument/2006/relationships" xmlns:p="http://schemas.openxmlformats.org/presentationml/2006/main">
  <p:tag name="[SUBGRID]" val="[SubGrid]"/>
</p:tagLst>
</file>

<file path=ppt/tags/tag123.xml><?xml version="1.0" encoding="utf-8"?>
<p:tagLst xmlns:a="http://schemas.openxmlformats.org/drawingml/2006/main" xmlns:r="http://schemas.openxmlformats.org/officeDocument/2006/relationships" xmlns:p="http://schemas.openxmlformats.org/presentationml/2006/main">
  <p:tag name="[SUBGRID]" val="[SubGrid]"/>
</p:tagLst>
</file>

<file path=ppt/tags/tag124.xml><?xml version="1.0" encoding="utf-8"?>
<p:tagLst xmlns:a="http://schemas.openxmlformats.org/drawingml/2006/main" xmlns:r="http://schemas.openxmlformats.org/officeDocument/2006/relationships" xmlns:p="http://schemas.openxmlformats.org/presentationml/2006/main">
  <p:tag name="[SUBGRID]" val="[SubGrid]"/>
</p:tagLst>
</file>

<file path=ppt/tags/tag125.xml><?xml version="1.0" encoding="utf-8"?>
<p:tagLst xmlns:a="http://schemas.openxmlformats.org/drawingml/2006/main" xmlns:r="http://schemas.openxmlformats.org/officeDocument/2006/relationships" xmlns:p="http://schemas.openxmlformats.org/presentationml/2006/main">
  <p:tag name="[SUBGRID]" val="[SubGrid]"/>
</p:tagLst>
</file>

<file path=ppt/tags/tag126.xml><?xml version="1.0" encoding="utf-8"?>
<p:tagLst xmlns:a="http://schemas.openxmlformats.org/drawingml/2006/main" xmlns:r="http://schemas.openxmlformats.org/officeDocument/2006/relationships" xmlns:p="http://schemas.openxmlformats.org/presentationml/2006/main">
  <p:tag name="[SUBGRID]" val="[SubGrid]"/>
</p:tagLst>
</file>

<file path=ppt/tags/tag127.xml><?xml version="1.0" encoding="utf-8"?>
<p:tagLst xmlns:a="http://schemas.openxmlformats.org/drawingml/2006/main" xmlns:r="http://schemas.openxmlformats.org/officeDocument/2006/relationships" xmlns:p="http://schemas.openxmlformats.org/presentationml/2006/main">
  <p:tag name="[SUBGRID]" val="[SubGrid]"/>
</p:tagLst>
</file>

<file path=ppt/tags/tag128.xml><?xml version="1.0" encoding="utf-8"?>
<p:tagLst xmlns:a="http://schemas.openxmlformats.org/drawingml/2006/main" xmlns:r="http://schemas.openxmlformats.org/officeDocument/2006/relationships" xmlns:p="http://schemas.openxmlformats.org/presentationml/2006/main">
  <p:tag name="[SUBGRID]" val="[SubGrid]"/>
</p:tagLst>
</file>

<file path=ppt/tags/tag129.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30.xml><?xml version="1.0" encoding="utf-8"?>
<p:tagLst xmlns:a="http://schemas.openxmlformats.org/drawingml/2006/main" xmlns:r="http://schemas.openxmlformats.org/officeDocument/2006/relationships" xmlns:p="http://schemas.openxmlformats.org/presentationml/2006/main">
  <p:tag name="[SUBGRID]" val="[SubGrid]"/>
</p:tagLst>
</file>

<file path=ppt/tags/tag131.xml><?xml version="1.0" encoding="utf-8"?>
<p:tagLst xmlns:a="http://schemas.openxmlformats.org/drawingml/2006/main" xmlns:r="http://schemas.openxmlformats.org/officeDocument/2006/relationships" xmlns:p="http://schemas.openxmlformats.org/presentationml/2006/main">
  <p:tag name="[SUBGRID]" val="[SubGrid]"/>
</p:tagLst>
</file>

<file path=ppt/tags/tag132.xml><?xml version="1.0" encoding="utf-8"?>
<p:tagLst xmlns:a="http://schemas.openxmlformats.org/drawingml/2006/main" xmlns:r="http://schemas.openxmlformats.org/officeDocument/2006/relationships" xmlns:p="http://schemas.openxmlformats.org/presentationml/2006/main">
  <p:tag name="[SUBGRID]" val="[SubGrid]"/>
</p:tagLst>
</file>

<file path=ppt/tags/tag133.xml><?xml version="1.0" encoding="utf-8"?>
<p:tagLst xmlns:a="http://schemas.openxmlformats.org/drawingml/2006/main" xmlns:r="http://schemas.openxmlformats.org/officeDocument/2006/relationships" xmlns:p="http://schemas.openxmlformats.org/presentationml/2006/main">
  <p:tag name="[SUBGRID]" val="[SubGrid]"/>
</p:tagLst>
</file>

<file path=ppt/tags/tag134.xml><?xml version="1.0" encoding="utf-8"?>
<p:tagLst xmlns:a="http://schemas.openxmlformats.org/drawingml/2006/main" xmlns:r="http://schemas.openxmlformats.org/officeDocument/2006/relationships" xmlns:p="http://schemas.openxmlformats.org/presentationml/2006/main">
  <p:tag name="[SUBGRID]" val="[SubGrid]"/>
</p:tagLst>
</file>

<file path=ppt/tags/tag135.xml><?xml version="1.0" encoding="utf-8"?>
<p:tagLst xmlns:a="http://schemas.openxmlformats.org/drawingml/2006/main" xmlns:r="http://schemas.openxmlformats.org/officeDocument/2006/relationships" xmlns:p="http://schemas.openxmlformats.org/presentationml/2006/main">
  <p:tag name="[SUBGRID]" val="[SubGrid]"/>
</p:tagLst>
</file>

<file path=ppt/tags/tag136.xml><?xml version="1.0" encoding="utf-8"?>
<p:tagLst xmlns:a="http://schemas.openxmlformats.org/drawingml/2006/main" xmlns:r="http://schemas.openxmlformats.org/officeDocument/2006/relationships" xmlns:p="http://schemas.openxmlformats.org/presentationml/2006/main">
  <p:tag name="[SUBGRID]" val="[SubGrid]"/>
</p:tagLst>
</file>

<file path=ppt/tags/tag137.xml><?xml version="1.0" encoding="utf-8"?>
<p:tagLst xmlns:a="http://schemas.openxmlformats.org/drawingml/2006/main" xmlns:r="http://schemas.openxmlformats.org/officeDocument/2006/relationships" xmlns:p="http://schemas.openxmlformats.org/presentationml/2006/main">
  <p:tag name="[SUBGRID]" val="[SubGrid]"/>
</p:tagLst>
</file>

<file path=ppt/tags/tag138.xml><?xml version="1.0" encoding="utf-8"?>
<p:tagLst xmlns:a="http://schemas.openxmlformats.org/drawingml/2006/main" xmlns:r="http://schemas.openxmlformats.org/officeDocument/2006/relationships" xmlns:p="http://schemas.openxmlformats.org/presentationml/2006/main">
  <p:tag name="[SUBGRID]" val="[SubGrid]"/>
</p:tagLst>
</file>

<file path=ppt/tags/tag139.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40.xml><?xml version="1.0" encoding="utf-8"?>
<p:tagLst xmlns:a="http://schemas.openxmlformats.org/drawingml/2006/main" xmlns:r="http://schemas.openxmlformats.org/officeDocument/2006/relationships" xmlns:p="http://schemas.openxmlformats.org/presentationml/2006/main">
  <p:tag name="[SUBGRID]" val="[SubGrid]"/>
</p:tagLst>
</file>

<file path=ppt/tags/tag141.xml><?xml version="1.0" encoding="utf-8"?>
<p:tagLst xmlns:a="http://schemas.openxmlformats.org/drawingml/2006/main" xmlns:r="http://schemas.openxmlformats.org/officeDocument/2006/relationships" xmlns:p="http://schemas.openxmlformats.org/presentationml/2006/main">
  <p:tag name="[SUBGRID]" val="[SubGrid]"/>
</p:tagLst>
</file>

<file path=ppt/tags/tag142.xml><?xml version="1.0" encoding="utf-8"?>
<p:tagLst xmlns:a="http://schemas.openxmlformats.org/drawingml/2006/main" xmlns:r="http://schemas.openxmlformats.org/officeDocument/2006/relationships" xmlns:p="http://schemas.openxmlformats.org/presentationml/2006/main">
  <p:tag name="[SUBGRID]" val="[SubGrid]"/>
</p:tagLst>
</file>

<file path=ppt/tags/tag143.xml><?xml version="1.0" encoding="utf-8"?>
<p:tagLst xmlns:a="http://schemas.openxmlformats.org/drawingml/2006/main" xmlns:r="http://schemas.openxmlformats.org/officeDocument/2006/relationships" xmlns:p="http://schemas.openxmlformats.org/presentationml/2006/main">
  <p:tag name="[SUBGRID]" val="[SubGrid]"/>
</p:tagLst>
</file>

<file path=ppt/tags/tag144.xml><?xml version="1.0" encoding="utf-8"?>
<p:tagLst xmlns:a="http://schemas.openxmlformats.org/drawingml/2006/main" xmlns:r="http://schemas.openxmlformats.org/officeDocument/2006/relationships" xmlns:p="http://schemas.openxmlformats.org/presentationml/2006/main">
  <p:tag name="[SUBGRID]" val="[SubGrid]"/>
</p:tagLst>
</file>

<file path=ppt/tags/tag145.xml><?xml version="1.0" encoding="utf-8"?>
<p:tagLst xmlns:a="http://schemas.openxmlformats.org/drawingml/2006/main" xmlns:r="http://schemas.openxmlformats.org/officeDocument/2006/relationships" xmlns:p="http://schemas.openxmlformats.org/presentationml/2006/main">
  <p:tag name="[SUBGRID]" val="[SubGrid]"/>
</p:tagLst>
</file>

<file path=ppt/tags/tag146.xml><?xml version="1.0" encoding="utf-8"?>
<p:tagLst xmlns:a="http://schemas.openxmlformats.org/drawingml/2006/main" xmlns:r="http://schemas.openxmlformats.org/officeDocument/2006/relationships" xmlns:p="http://schemas.openxmlformats.org/presentationml/2006/main">
  <p:tag name="[SUBGRID]" val="[SubGrid]"/>
</p:tagLst>
</file>

<file path=ppt/tags/tag147.xml><?xml version="1.0" encoding="utf-8"?>
<p:tagLst xmlns:a="http://schemas.openxmlformats.org/drawingml/2006/main" xmlns:r="http://schemas.openxmlformats.org/officeDocument/2006/relationships" xmlns:p="http://schemas.openxmlformats.org/presentationml/2006/main">
  <p:tag name="[SUBGRID]" val="[SubGrid]"/>
</p:tagLst>
</file>

<file path=ppt/tags/tag148.xml><?xml version="1.0" encoding="utf-8"?>
<p:tagLst xmlns:a="http://schemas.openxmlformats.org/drawingml/2006/main" xmlns:r="http://schemas.openxmlformats.org/officeDocument/2006/relationships" xmlns:p="http://schemas.openxmlformats.org/presentationml/2006/main">
  <p:tag name="[SUBGRID]" val="[SubGrid]"/>
</p:tagLst>
</file>

<file path=ppt/tags/tag149.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50.xml><?xml version="1.0" encoding="utf-8"?>
<p:tagLst xmlns:a="http://schemas.openxmlformats.org/drawingml/2006/main" xmlns:r="http://schemas.openxmlformats.org/officeDocument/2006/relationships" xmlns:p="http://schemas.openxmlformats.org/presentationml/2006/main">
  <p:tag name="[SUBGRID]" val="[SubGrid]"/>
</p:tagLst>
</file>

<file path=ppt/tags/tag151.xml><?xml version="1.0" encoding="utf-8"?>
<p:tagLst xmlns:a="http://schemas.openxmlformats.org/drawingml/2006/main" xmlns:r="http://schemas.openxmlformats.org/officeDocument/2006/relationships" xmlns:p="http://schemas.openxmlformats.org/presentationml/2006/main">
  <p:tag name="[SUBGRID]" val="[SubGrid]"/>
</p:tagLst>
</file>

<file path=ppt/tags/tag152.xml><?xml version="1.0" encoding="utf-8"?>
<p:tagLst xmlns:a="http://schemas.openxmlformats.org/drawingml/2006/main" xmlns:r="http://schemas.openxmlformats.org/officeDocument/2006/relationships" xmlns:p="http://schemas.openxmlformats.org/presentationml/2006/main">
  <p:tag name="[SUBGRID]" val="[SubGrid]"/>
</p:tagLst>
</file>

<file path=ppt/tags/tag153.xml><?xml version="1.0" encoding="utf-8"?>
<p:tagLst xmlns:a="http://schemas.openxmlformats.org/drawingml/2006/main" xmlns:r="http://schemas.openxmlformats.org/officeDocument/2006/relationships" xmlns:p="http://schemas.openxmlformats.org/presentationml/2006/main">
  <p:tag name="[SUBGRID]" val="[SubGrid]"/>
</p:tagLst>
</file>

<file path=ppt/tags/tag154.xml><?xml version="1.0" encoding="utf-8"?>
<p:tagLst xmlns:a="http://schemas.openxmlformats.org/drawingml/2006/main" xmlns:r="http://schemas.openxmlformats.org/officeDocument/2006/relationships" xmlns:p="http://schemas.openxmlformats.org/presentationml/2006/main">
  <p:tag name="[SUBGRID]" val="[SubGrid]"/>
</p:tagLst>
</file>

<file path=ppt/tags/tag155.xml><?xml version="1.0" encoding="utf-8"?>
<p:tagLst xmlns:a="http://schemas.openxmlformats.org/drawingml/2006/main" xmlns:r="http://schemas.openxmlformats.org/officeDocument/2006/relationships" xmlns:p="http://schemas.openxmlformats.org/presentationml/2006/main">
  <p:tag name="[SUBGRID]" val="[SubGrid]"/>
</p:tagLst>
</file>

<file path=ppt/tags/tag156.xml><?xml version="1.0" encoding="utf-8"?>
<p:tagLst xmlns:a="http://schemas.openxmlformats.org/drawingml/2006/main" xmlns:r="http://schemas.openxmlformats.org/officeDocument/2006/relationships" xmlns:p="http://schemas.openxmlformats.org/presentationml/2006/main">
  <p:tag name="[SUBGRID]" val="[SubGrid]"/>
</p:tagLst>
</file>

<file path=ppt/tags/tag157.xml><?xml version="1.0" encoding="utf-8"?>
<p:tagLst xmlns:a="http://schemas.openxmlformats.org/drawingml/2006/main" xmlns:r="http://schemas.openxmlformats.org/officeDocument/2006/relationships" xmlns:p="http://schemas.openxmlformats.org/presentationml/2006/main">
  <p:tag name="[SUBGRID]" val="[SubGrid]"/>
</p:tagLst>
</file>

<file path=ppt/tags/tag158.xml><?xml version="1.0" encoding="utf-8"?>
<p:tagLst xmlns:a="http://schemas.openxmlformats.org/drawingml/2006/main" xmlns:r="http://schemas.openxmlformats.org/officeDocument/2006/relationships" xmlns:p="http://schemas.openxmlformats.org/presentationml/2006/main">
  <p:tag name="[SUBGRID]" val="[SubGrid]"/>
</p:tagLst>
</file>

<file path=ppt/tags/tag159.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60.xml><?xml version="1.0" encoding="utf-8"?>
<p:tagLst xmlns:a="http://schemas.openxmlformats.org/drawingml/2006/main" xmlns:r="http://schemas.openxmlformats.org/officeDocument/2006/relationships" xmlns:p="http://schemas.openxmlformats.org/presentationml/2006/main">
  <p:tag name="[SUBGRID]" val="[SubGrid]"/>
</p:tagLst>
</file>

<file path=ppt/tags/tag161.xml><?xml version="1.0" encoding="utf-8"?>
<p:tagLst xmlns:a="http://schemas.openxmlformats.org/drawingml/2006/main" xmlns:r="http://schemas.openxmlformats.org/officeDocument/2006/relationships" xmlns:p="http://schemas.openxmlformats.org/presentationml/2006/main">
  <p:tag name="[SUBGRID]" val="[SubGrid]"/>
</p:tagLst>
</file>

<file path=ppt/tags/tag162.xml><?xml version="1.0" encoding="utf-8"?>
<p:tagLst xmlns:a="http://schemas.openxmlformats.org/drawingml/2006/main" xmlns:r="http://schemas.openxmlformats.org/officeDocument/2006/relationships" xmlns:p="http://schemas.openxmlformats.org/presentationml/2006/main">
  <p:tag name="[SUBGRID]" val="[SubGrid]"/>
</p:tagLst>
</file>

<file path=ppt/tags/tag163.xml><?xml version="1.0" encoding="utf-8"?>
<p:tagLst xmlns:a="http://schemas.openxmlformats.org/drawingml/2006/main" xmlns:r="http://schemas.openxmlformats.org/officeDocument/2006/relationships" xmlns:p="http://schemas.openxmlformats.org/presentationml/2006/main">
  <p:tag name="[SUBGRID]" val="[SubGrid]"/>
</p:tagLst>
</file>

<file path=ppt/tags/tag164.xml><?xml version="1.0" encoding="utf-8"?>
<p:tagLst xmlns:a="http://schemas.openxmlformats.org/drawingml/2006/main" xmlns:r="http://schemas.openxmlformats.org/officeDocument/2006/relationships" xmlns:p="http://schemas.openxmlformats.org/presentationml/2006/main">
  <p:tag name="[SUBGRID]" val="[SubGrid]"/>
</p:tagLst>
</file>

<file path=ppt/tags/tag165.xml><?xml version="1.0" encoding="utf-8"?>
<p:tagLst xmlns:a="http://schemas.openxmlformats.org/drawingml/2006/main" xmlns:r="http://schemas.openxmlformats.org/officeDocument/2006/relationships" xmlns:p="http://schemas.openxmlformats.org/presentationml/2006/main">
  <p:tag name="[SUBGRID]" val="[SubGrid]"/>
</p:tagLst>
</file>

<file path=ppt/tags/tag166.xml><?xml version="1.0" encoding="utf-8"?>
<p:tagLst xmlns:a="http://schemas.openxmlformats.org/drawingml/2006/main" xmlns:r="http://schemas.openxmlformats.org/officeDocument/2006/relationships" xmlns:p="http://schemas.openxmlformats.org/presentationml/2006/main">
  <p:tag name="[SUBGRID]" val="[SubGrid]"/>
</p:tagLst>
</file>

<file path=ppt/tags/tag167.xml><?xml version="1.0" encoding="utf-8"?>
<p:tagLst xmlns:a="http://schemas.openxmlformats.org/drawingml/2006/main" xmlns:r="http://schemas.openxmlformats.org/officeDocument/2006/relationships" xmlns:p="http://schemas.openxmlformats.org/presentationml/2006/main">
  <p:tag name="[SUBGRID]" val="[SubGrid]"/>
</p:tagLst>
</file>

<file path=ppt/tags/tag168.xml><?xml version="1.0" encoding="utf-8"?>
<p:tagLst xmlns:a="http://schemas.openxmlformats.org/drawingml/2006/main" xmlns:r="http://schemas.openxmlformats.org/officeDocument/2006/relationships" xmlns:p="http://schemas.openxmlformats.org/presentationml/2006/main">
  <p:tag name="[SUBGRID]" val="[SubGrid]"/>
</p:tagLst>
</file>

<file path=ppt/tags/tag169.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70.xml><?xml version="1.0" encoding="utf-8"?>
<p:tagLst xmlns:a="http://schemas.openxmlformats.org/drawingml/2006/main" xmlns:r="http://schemas.openxmlformats.org/officeDocument/2006/relationships" xmlns:p="http://schemas.openxmlformats.org/presentationml/2006/main">
  <p:tag name="[SUBGRID]" val="[SubGrid]"/>
</p:tagLst>
</file>

<file path=ppt/tags/tag171.xml><?xml version="1.0" encoding="utf-8"?>
<p:tagLst xmlns:a="http://schemas.openxmlformats.org/drawingml/2006/main" xmlns:r="http://schemas.openxmlformats.org/officeDocument/2006/relationships" xmlns:p="http://schemas.openxmlformats.org/presentationml/2006/main">
  <p:tag name="[SUBGRID]" val="[SubGrid]"/>
</p:tagLst>
</file>

<file path=ppt/tags/tag172.xml><?xml version="1.0" encoding="utf-8"?>
<p:tagLst xmlns:a="http://schemas.openxmlformats.org/drawingml/2006/main" xmlns:r="http://schemas.openxmlformats.org/officeDocument/2006/relationships" xmlns:p="http://schemas.openxmlformats.org/presentationml/2006/main">
  <p:tag name="[SUBGRID]" val="[SubGrid]"/>
</p:tagLst>
</file>

<file path=ppt/tags/tag173.xml><?xml version="1.0" encoding="utf-8"?>
<p:tagLst xmlns:a="http://schemas.openxmlformats.org/drawingml/2006/main" xmlns:r="http://schemas.openxmlformats.org/officeDocument/2006/relationships" xmlns:p="http://schemas.openxmlformats.org/presentationml/2006/main">
  <p:tag name="[SUBGRID]" val="[SubGrid]"/>
</p:tagLst>
</file>

<file path=ppt/tags/tag174.xml><?xml version="1.0" encoding="utf-8"?>
<p:tagLst xmlns:a="http://schemas.openxmlformats.org/drawingml/2006/main" xmlns:r="http://schemas.openxmlformats.org/officeDocument/2006/relationships" xmlns:p="http://schemas.openxmlformats.org/presentationml/2006/main">
  <p:tag name="[SUBGRID]" val="[SubGrid]"/>
</p:tagLst>
</file>

<file path=ppt/tags/tag175.xml><?xml version="1.0" encoding="utf-8"?>
<p:tagLst xmlns:a="http://schemas.openxmlformats.org/drawingml/2006/main" xmlns:r="http://schemas.openxmlformats.org/officeDocument/2006/relationships" xmlns:p="http://schemas.openxmlformats.org/presentationml/2006/main">
  <p:tag name="[SUBGRID]" val="[SubGrid]"/>
</p:tagLst>
</file>

<file path=ppt/tags/tag176.xml><?xml version="1.0" encoding="utf-8"?>
<p:tagLst xmlns:a="http://schemas.openxmlformats.org/drawingml/2006/main" xmlns:r="http://schemas.openxmlformats.org/officeDocument/2006/relationships" xmlns:p="http://schemas.openxmlformats.org/presentationml/2006/main">
  <p:tag name="[SUBGRID]" val="[SubGrid]"/>
</p:tagLst>
</file>

<file path=ppt/tags/tag177.xml><?xml version="1.0" encoding="utf-8"?>
<p:tagLst xmlns:a="http://schemas.openxmlformats.org/drawingml/2006/main" xmlns:r="http://schemas.openxmlformats.org/officeDocument/2006/relationships" xmlns:p="http://schemas.openxmlformats.org/presentationml/2006/main">
  <p:tag name="[SUBGRID]" val="[SubGrid]"/>
</p:tagLst>
</file>

<file path=ppt/tags/tag178.xml><?xml version="1.0" encoding="utf-8"?>
<p:tagLst xmlns:a="http://schemas.openxmlformats.org/drawingml/2006/main" xmlns:r="http://schemas.openxmlformats.org/officeDocument/2006/relationships" xmlns:p="http://schemas.openxmlformats.org/presentationml/2006/main">
  <p:tag name="SHAPE_LOCKS" val="1983"/>
</p:tagLst>
</file>

<file path=ppt/tags/tag179.xml><?xml version="1.0" encoding="utf-8"?>
<p:tagLst xmlns:a="http://schemas.openxmlformats.org/drawingml/2006/main" xmlns:r="http://schemas.openxmlformats.org/officeDocument/2006/relationships" xmlns:p="http://schemas.openxmlformats.org/presentationml/2006/main">
  <p:tag name="SHAPE_LOCKS" val="1983"/>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80.xml><?xml version="1.0" encoding="utf-8"?>
<p:tagLst xmlns:a="http://schemas.openxmlformats.org/drawingml/2006/main" xmlns:r="http://schemas.openxmlformats.org/officeDocument/2006/relationships" xmlns:p="http://schemas.openxmlformats.org/presentationml/2006/main">
  <p:tag name="SHAPE_LOCKS" val="1983"/>
</p:tagLst>
</file>

<file path=ppt/tags/tag181.xml><?xml version="1.0" encoding="utf-8"?>
<p:tagLst xmlns:a="http://schemas.openxmlformats.org/drawingml/2006/main" xmlns:r="http://schemas.openxmlformats.org/officeDocument/2006/relationships" xmlns:p="http://schemas.openxmlformats.org/presentationml/2006/main">
  <p:tag name="SHAPE_LOCKS" val="1983"/>
</p:tagLst>
</file>

<file path=ppt/tags/tag182.xml><?xml version="1.0" encoding="utf-8"?>
<p:tagLst xmlns:a="http://schemas.openxmlformats.org/drawingml/2006/main" xmlns:r="http://schemas.openxmlformats.org/officeDocument/2006/relationships" xmlns:p="http://schemas.openxmlformats.org/presentationml/2006/main">
  <p:tag name="SHAPE_LOCKS" val="1983"/>
</p:tagLst>
</file>

<file path=ppt/tags/tag183.xml><?xml version="1.0" encoding="utf-8"?>
<p:tagLst xmlns:a="http://schemas.openxmlformats.org/drawingml/2006/main" xmlns:r="http://schemas.openxmlformats.org/officeDocument/2006/relationships" xmlns:p="http://schemas.openxmlformats.org/presentationml/2006/main">
  <p:tag name="SHAPE_LOCKS" val="1983"/>
</p:tagLst>
</file>

<file path=ppt/tags/tag184.xml><?xml version="1.0" encoding="utf-8"?>
<p:tagLst xmlns:a="http://schemas.openxmlformats.org/drawingml/2006/main" xmlns:r="http://schemas.openxmlformats.org/officeDocument/2006/relationships" xmlns:p="http://schemas.openxmlformats.org/presentationml/2006/main">
  <p:tag name="[SUBGRID]" val="[SubGrid]"/>
</p:tagLst>
</file>

<file path=ppt/tags/tag185.xml><?xml version="1.0" encoding="utf-8"?>
<p:tagLst xmlns:a="http://schemas.openxmlformats.org/drawingml/2006/main" xmlns:r="http://schemas.openxmlformats.org/officeDocument/2006/relationships" xmlns:p="http://schemas.openxmlformats.org/presentationml/2006/main">
  <p:tag name="[SUBGRID]" val="[SubGrid]"/>
</p:tagLst>
</file>

<file path=ppt/tags/tag186.xml><?xml version="1.0" encoding="utf-8"?>
<p:tagLst xmlns:a="http://schemas.openxmlformats.org/drawingml/2006/main" xmlns:r="http://schemas.openxmlformats.org/officeDocument/2006/relationships" xmlns:p="http://schemas.openxmlformats.org/presentationml/2006/main">
  <p:tag name="[SUBGRID]" val="[SubGrid]"/>
</p:tagLst>
</file>

<file path=ppt/tags/tag187.xml><?xml version="1.0" encoding="utf-8"?>
<p:tagLst xmlns:a="http://schemas.openxmlformats.org/drawingml/2006/main" xmlns:r="http://schemas.openxmlformats.org/officeDocument/2006/relationships" xmlns:p="http://schemas.openxmlformats.org/presentationml/2006/main">
  <p:tag name="[SUBGRID]" val="[SubGrid]"/>
</p:tagLst>
</file>

<file path=ppt/tags/tag188.xml><?xml version="1.0" encoding="utf-8"?>
<p:tagLst xmlns:a="http://schemas.openxmlformats.org/drawingml/2006/main" xmlns:r="http://schemas.openxmlformats.org/officeDocument/2006/relationships" xmlns:p="http://schemas.openxmlformats.org/presentationml/2006/main">
  <p:tag name="[SUBGRID]" val="[SubGrid]"/>
</p:tagLst>
</file>

<file path=ppt/tags/tag189.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190.xml><?xml version="1.0" encoding="utf-8"?>
<p:tagLst xmlns:a="http://schemas.openxmlformats.org/drawingml/2006/main" xmlns:r="http://schemas.openxmlformats.org/officeDocument/2006/relationships" xmlns:p="http://schemas.openxmlformats.org/presentationml/2006/main">
  <p:tag name="[SUBGRID]" val="[SubGrid]"/>
</p:tagLst>
</file>

<file path=ppt/tags/tag191.xml><?xml version="1.0" encoding="utf-8"?>
<p:tagLst xmlns:a="http://schemas.openxmlformats.org/drawingml/2006/main" xmlns:r="http://schemas.openxmlformats.org/officeDocument/2006/relationships" xmlns:p="http://schemas.openxmlformats.org/presentationml/2006/main">
  <p:tag name="[SUBGRID]" val="[SubGrid]"/>
</p:tagLst>
</file>

<file path=ppt/tags/tag192.xml><?xml version="1.0" encoding="utf-8"?>
<p:tagLst xmlns:a="http://schemas.openxmlformats.org/drawingml/2006/main" xmlns:r="http://schemas.openxmlformats.org/officeDocument/2006/relationships" xmlns:p="http://schemas.openxmlformats.org/presentationml/2006/main">
  <p:tag name="[SUBGRID]" val="[SubGrid]"/>
</p:tagLst>
</file>

<file path=ppt/tags/tag193.xml><?xml version="1.0" encoding="utf-8"?>
<p:tagLst xmlns:a="http://schemas.openxmlformats.org/drawingml/2006/main" xmlns:r="http://schemas.openxmlformats.org/officeDocument/2006/relationships" xmlns:p="http://schemas.openxmlformats.org/presentationml/2006/main">
  <p:tag name="[SUBGRID]" val="[SubGrid]"/>
</p:tagLst>
</file>

<file path=ppt/tags/tag194.xml><?xml version="1.0" encoding="utf-8"?>
<p:tagLst xmlns:a="http://schemas.openxmlformats.org/drawingml/2006/main" xmlns:r="http://schemas.openxmlformats.org/officeDocument/2006/relationships" xmlns:p="http://schemas.openxmlformats.org/presentationml/2006/main">
  <p:tag name="[SUBGRID]" val="[SubGrid]"/>
</p:tagLst>
</file>

<file path=ppt/tags/tag195.xml><?xml version="1.0" encoding="utf-8"?>
<p:tagLst xmlns:a="http://schemas.openxmlformats.org/drawingml/2006/main" xmlns:r="http://schemas.openxmlformats.org/officeDocument/2006/relationships" xmlns:p="http://schemas.openxmlformats.org/presentationml/2006/main">
  <p:tag name="[SUBGRID]" val="[SubGrid]"/>
</p:tagLst>
</file>

<file path=ppt/tags/tag196.xml><?xml version="1.0" encoding="utf-8"?>
<p:tagLst xmlns:a="http://schemas.openxmlformats.org/drawingml/2006/main" xmlns:r="http://schemas.openxmlformats.org/officeDocument/2006/relationships" xmlns:p="http://schemas.openxmlformats.org/presentationml/2006/main">
  <p:tag name="[SUBGRID]" val="[SubGrid]"/>
</p:tagLst>
</file>

<file path=ppt/tags/tag197.xml><?xml version="1.0" encoding="utf-8"?>
<p:tagLst xmlns:a="http://schemas.openxmlformats.org/drawingml/2006/main" xmlns:r="http://schemas.openxmlformats.org/officeDocument/2006/relationships" xmlns:p="http://schemas.openxmlformats.org/presentationml/2006/main">
  <p:tag name="[SUBGRID]" val="[SubGrid]"/>
</p:tagLst>
</file>

<file path=ppt/tags/tag198.xml><?xml version="1.0" encoding="utf-8"?>
<p:tagLst xmlns:a="http://schemas.openxmlformats.org/drawingml/2006/main" xmlns:r="http://schemas.openxmlformats.org/officeDocument/2006/relationships" xmlns:p="http://schemas.openxmlformats.org/presentationml/2006/main">
  <p:tag name="[SUBGRID]" val="[SubGrid]"/>
</p:tagLst>
</file>

<file path=ppt/tags/tag19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00.xml><?xml version="1.0" encoding="utf-8"?>
<p:tagLst xmlns:a="http://schemas.openxmlformats.org/drawingml/2006/main" xmlns:r="http://schemas.openxmlformats.org/officeDocument/2006/relationships" xmlns:p="http://schemas.openxmlformats.org/presentationml/2006/main">
  <p:tag name="[SUBGRID]" val="[SubGrid]"/>
</p:tagLst>
</file>

<file path=ppt/tags/tag201.xml><?xml version="1.0" encoding="utf-8"?>
<p:tagLst xmlns:a="http://schemas.openxmlformats.org/drawingml/2006/main" xmlns:r="http://schemas.openxmlformats.org/officeDocument/2006/relationships" xmlns:p="http://schemas.openxmlformats.org/presentationml/2006/main">
  <p:tag name="[SUBGRID]" val="[SubGrid]"/>
</p:tagLst>
</file>

<file path=ppt/tags/tag202.xml><?xml version="1.0" encoding="utf-8"?>
<p:tagLst xmlns:a="http://schemas.openxmlformats.org/drawingml/2006/main" xmlns:r="http://schemas.openxmlformats.org/officeDocument/2006/relationships" xmlns:p="http://schemas.openxmlformats.org/presentationml/2006/main">
  <p:tag name="[SUBGRID]" val="[SubGrid]"/>
</p:tagLst>
</file>

<file path=ppt/tags/tag203.xml><?xml version="1.0" encoding="utf-8"?>
<p:tagLst xmlns:a="http://schemas.openxmlformats.org/drawingml/2006/main" xmlns:r="http://schemas.openxmlformats.org/officeDocument/2006/relationships" xmlns:p="http://schemas.openxmlformats.org/presentationml/2006/main">
  <p:tag name="[SUBGRID]" val="[SubGrid]"/>
</p:tagLst>
</file>

<file path=ppt/tags/tag204.xml><?xml version="1.0" encoding="utf-8"?>
<p:tagLst xmlns:a="http://schemas.openxmlformats.org/drawingml/2006/main" xmlns:r="http://schemas.openxmlformats.org/officeDocument/2006/relationships" xmlns:p="http://schemas.openxmlformats.org/presentationml/2006/main">
  <p:tag name="[SUBGRID]" val="[SubGrid]"/>
</p:tagLst>
</file>

<file path=ppt/tags/tag205.xml><?xml version="1.0" encoding="utf-8"?>
<p:tagLst xmlns:a="http://schemas.openxmlformats.org/drawingml/2006/main" xmlns:r="http://schemas.openxmlformats.org/officeDocument/2006/relationships" xmlns:p="http://schemas.openxmlformats.org/presentationml/2006/main">
  <p:tag name="[SUBGRID]" val="[SubGrid]"/>
</p:tagLst>
</file>

<file path=ppt/tags/tag206.xml><?xml version="1.0" encoding="utf-8"?>
<p:tagLst xmlns:a="http://schemas.openxmlformats.org/drawingml/2006/main" xmlns:r="http://schemas.openxmlformats.org/officeDocument/2006/relationships" xmlns:p="http://schemas.openxmlformats.org/presentationml/2006/main">
  <p:tag name="[SUBGRID]" val="[SubGrid]"/>
</p:tagLst>
</file>

<file path=ppt/tags/tag207.xml><?xml version="1.0" encoding="utf-8"?>
<p:tagLst xmlns:a="http://schemas.openxmlformats.org/drawingml/2006/main" xmlns:r="http://schemas.openxmlformats.org/officeDocument/2006/relationships" xmlns:p="http://schemas.openxmlformats.org/presentationml/2006/main">
  <p:tag name="[SUBGRID]" val="[SubGrid]"/>
</p:tagLst>
</file>

<file path=ppt/tags/tag208.xml><?xml version="1.0" encoding="utf-8"?>
<p:tagLst xmlns:a="http://schemas.openxmlformats.org/drawingml/2006/main" xmlns:r="http://schemas.openxmlformats.org/officeDocument/2006/relationships" xmlns:p="http://schemas.openxmlformats.org/presentationml/2006/main">
  <p:tag name="[SUBGRID]" val="[SubGrid]"/>
</p:tagLst>
</file>

<file path=ppt/tags/tag209.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10.xml><?xml version="1.0" encoding="utf-8"?>
<p:tagLst xmlns:a="http://schemas.openxmlformats.org/drawingml/2006/main" xmlns:r="http://schemas.openxmlformats.org/officeDocument/2006/relationships" xmlns:p="http://schemas.openxmlformats.org/presentationml/2006/main">
  <p:tag name="[SUBGRID]" val="[SubGrid]"/>
</p:tagLst>
</file>

<file path=ppt/tags/tag211.xml><?xml version="1.0" encoding="utf-8"?>
<p:tagLst xmlns:a="http://schemas.openxmlformats.org/drawingml/2006/main" xmlns:r="http://schemas.openxmlformats.org/officeDocument/2006/relationships" xmlns:p="http://schemas.openxmlformats.org/presentationml/2006/main">
  <p:tag name="[SUBGRID]" val="[SubGrid]"/>
</p:tagLst>
</file>

<file path=ppt/tags/tag212.xml><?xml version="1.0" encoding="utf-8"?>
<p:tagLst xmlns:a="http://schemas.openxmlformats.org/drawingml/2006/main" xmlns:r="http://schemas.openxmlformats.org/officeDocument/2006/relationships" xmlns:p="http://schemas.openxmlformats.org/presentationml/2006/main">
  <p:tag name="[SUBGRID]" val="[SubGrid]"/>
</p:tagLst>
</file>

<file path=ppt/tags/tag213.xml><?xml version="1.0" encoding="utf-8"?>
<p:tagLst xmlns:a="http://schemas.openxmlformats.org/drawingml/2006/main" xmlns:r="http://schemas.openxmlformats.org/officeDocument/2006/relationships" xmlns:p="http://schemas.openxmlformats.org/presentationml/2006/main">
  <p:tag name="[SUBGRID]" val="[SubGrid]"/>
</p:tagLst>
</file>

<file path=ppt/tags/tag214.xml><?xml version="1.0" encoding="utf-8"?>
<p:tagLst xmlns:a="http://schemas.openxmlformats.org/drawingml/2006/main" xmlns:r="http://schemas.openxmlformats.org/officeDocument/2006/relationships" xmlns:p="http://schemas.openxmlformats.org/presentationml/2006/main">
  <p:tag name="[SUBGRID]" val="[SubGrid]"/>
</p:tagLst>
</file>

<file path=ppt/tags/tag215.xml><?xml version="1.0" encoding="utf-8"?>
<p:tagLst xmlns:a="http://schemas.openxmlformats.org/drawingml/2006/main" xmlns:r="http://schemas.openxmlformats.org/officeDocument/2006/relationships" xmlns:p="http://schemas.openxmlformats.org/presentationml/2006/main">
  <p:tag name="[SUBGRID]" val="[SubGrid]"/>
</p:tagLst>
</file>

<file path=ppt/tags/tag216.xml><?xml version="1.0" encoding="utf-8"?>
<p:tagLst xmlns:a="http://schemas.openxmlformats.org/drawingml/2006/main" xmlns:r="http://schemas.openxmlformats.org/officeDocument/2006/relationships" xmlns:p="http://schemas.openxmlformats.org/presentationml/2006/main">
  <p:tag name="[SUBGRID]" val="[SubGrid]"/>
</p:tagLst>
</file>

<file path=ppt/tags/tag217.xml><?xml version="1.0" encoding="utf-8"?>
<p:tagLst xmlns:a="http://schemas.openxmlformats.org/drawingml/2006/main" xmlns:r="http://schemas.openxmlformats.org/officeDocument/2006/relationships" xmlns:p="http://schemas.openxmlformats.org/presentationml/2006/main">
  <p:tag name="[SUBGRID]" val="[SubGrid]"/>
</p:tagLst>
</file>

<file path=ppt/tags/tag218.xml><?xml version="1.0" encoding="utf-8"?>
<p:tagLst xmlns:a="http://schemas.openxmlformats.org/drawingml/2006/main" xmlns:r="http://schemas.openxmlformats.org/officeDocument/2006/relationships" xmlns:p="http://schemas.openxmlformats.org/presentationml/2006/main">
  <p:tag name="[SUBGRID]" val="[SubGrid]"/>
</p:tagLst>
</file>

<file path=ppt/tags/tag219.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20.xml><?xml version="1.0" encoding="utf-8"?>
<p:tagLst xmlns:a="http://schemas.openxmlformats.org/drawingml/2006/main" xmlns:r="http://schemas.openxmlformats.org/officeDocument/2006/relationships" xmlns:p="http://schemas.openxmlformats.org/presentationml/2006/main">
  <p:tag name="[SUBGRID]" val="[SubGrid]"/>
</p:tagLst>
</file>

<file path=ppt/tags/tag221.xml><?xml version="1.0" encoding="utf-8"?>
<p:tagLst xmlns:a="http://schemas.openxmlformats.org/drawingml/2006/main" xmlns:r="http://schemas.openxmlformats.org/officeDocument/2006/relationships" xmlns:p="http://schemas.openxmlformats.org/presentationml/2006/main">
  <p:tag name="[SUBGRID]" val="[SubGrid]"/>
</p:tagLst>
</file>

<file path=ppt/tags/tag222.xml><?xml version="1.0" encoding="utf-8"?>
<p:tagLst xmlns:a="http://schemas.openxmlformats.org/drawingml/2006/main" xmlns:r="http://schemas.openxmlformats.org/officeDocument/2006/relationships" xmlns:p="http://schemas.openxmlformats.org/presentationml/2006/main">
  <p:tag name="[SUBGRID]" val="[SubGrid]"/>
</p:tagLst>
</file>

<file path=ppt/tags/tag223.xml><?xml version="1.0" encoding="utf-8"?>
<p:tagLst xmlns:a="http://schemas.openxmlformats.org/drawingml/2006/main" xmlns:r="http://schemas.openxmlformats.org/officeDocument/2006/relationships" xmlns:p="http://schemas.openxmlformats.org/presentationml/2006/main">
  <p:tag name="[SUBGRID]" val="[SubGrid]"/>
</p:tagLst>
</file>

<file path=ppt/tags/tag224.xml><?xml version="1.0" encoding="utf-8"?>
<p:tagLst xmlns:a="http://schemas.openxmlformats.org/drawingml/2006/main" xmlns:r="http://schemas.openxmlformats.org/officeDocument/2006/relationships" xmlns:p="http://schemas.openxmlformats.org/presentationml/2006/main">
  <p:tag name="[SUBGRID]" val="[SubGrid]"/>
</p:tagLst>
</file>

<file path=ppt/tags/tag225.xml><?xml version="1.0" encoding="utf-8"?>
<p:tagLst xmlns:a="http://schemas.openxmlformats.org/drawingml/2006/main" xmlns:r="http://schemas.openxmlformats.org/officeDocument/2006/relationships" xmlns:p="http://schemas.openxmlformats.org/presentationml/2006/main">
  <p:tag name="[SUBGRID]" val="[SubGrid]"/>
</p:tagLst>
</file>

<file path=ppt/tags/tag226.xml><?xml version="1.0" encoding="utf-8"?>
<p:tagLst xmlns:a="http://schemas.openxmlformats.org/drawingml/2006/main" xmlns:r="http://schemas.openxmlformats.org/officeDocument/2006/relationships" xmlns:p="http://schemas.openxmlformats.org/presentationml/2006/main">
  <p:tag name="[SUBGRID]" val="[SubGrid]"/>
</p:tagLst>
</file>

<file path=ppt/tags/tag227.xml><?xml version="1.0" encoding="utf-8"?>
<p:tagLst xmlns:a="http://schemas.openxmlformats.org/drawingml/2006/main" xmlns:r="http://schemas.openxmlformats.org/officeDocument/2006/relationships" xmlns:p="http://schemas.openxmlformats.org/presentationml/2006/main">
  <p:tag name="[SUBGRID]" val="[SubGrid]"/>
</p:tagLst>
</file>

<file path=ppt/tags/tag228.xml><?xml version="1.0" encoding="utf-8"?>
<p:tagLst xmlns:a="http://schemas.openxmlformats.org/drawingml/2006/main" xmlns:r="http://schemas.openxmlformats.org/officeDocument/2006/relationships" xmlns:p="http://schemas.openxmlformats.org/presentationml/2006/main">
  <p:tag name="[SUBGRID]" val="[SubGrid]"/>
</p:tagLst>
</file>

<file path=ppt/tags/tag229.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30.xml><?xml version="1.0" encoding="utf-8"?>
<p:tagLst xmlns:a="http://schemas.openxmlformats.org/drawingml/2006/main" xmlns:r="http://schemas.openxmlformats.org/officeDocument/2006/relationships" xmlns:p="http://schemas.openxmlformats.org/presentationml/2006/main">
  <p:tag name="[SUBGRID]" val="[SubGrid]"/>
</p:tagLst>
</file>

<file path=ppt/tags/tag231.xml><?xml version="1.0" encoding="utf-8"?>
<p:tagLst xmlns:a="http://schemas.openxmlformats.org/drawingml/2006/main" xmlns:r="http://schemas.openxmlformats.org/officeDocument/2006/relationships" xmlns:p="http://schemas.openxmlformats.org/presentationml/2006/main">
  <p:tag name="[SUBGRID]" val="[SubGrid]"/>
</p:tagLst>
</file>

<file path=ppt/tags/tag232.xml><?xml version="1.0" encoding="utf-8"?>
<p:tagLst xmlns:a="http://schemas.openxmlformats.org/drawingml/2006/main" xmlns:r="http://schemas.openxmlformats.org/officeDocument/2006/relationships" xmlns:p="http://schemas.openxmlformats.org/presentationml/2006/main">
  <p:tag name="[SUBGRID]" val="[SubGrid]"/>
</p:tagLst>
</file>

<file path=ppt/tags/tag233.xml><?xml version="1.0" encoding="utf-8"?>
<p:tagLst xmlns:a="http://schemas.openxmlformats.org/drawingml/2006/main" xmlns:r="http://schemas.openxmlformats.org/officeDocument/2006/relationships" xmlns:p="http://schemas.openxmlformats.org/presentationml/2006/main">
  <p:tag name="[SUBGRID]" val="[SubGrid]"/>
</p:tagLst>
</file>

<file path=ppt/tags/tag234.xml><?xml version="1.0" encoding="utf-8"?>
<p:tagLst xmlns:a="http://schemas.openxmlformats.org/drawingml/2006/main" xmlns:r="http://schemas.openxmlformats.org/officeDocument/2006/relationships" xmlns:p="http://schemas.openxmlformats.org/presentationml/2006/main">
  <p:tag name="[SUBGRID]" val="[SubGrid]"/>
</p:tagLst>
</file>

<file path=ppt/tags/tag235.xml><?xml version="1.0" encoding="utf-8"?>
<p:tagLst xmlns:a="http://schemas.openxmlformats.org/drawingml/2006/main" xmlns:r="http://schemas.openxmlformats.org/officeDocument/2006/relationships" xmlns:p="http://schemas.openxmlformats.org/presentationml/2006/main">
  <p:tag name="[SUBGRID]" val="[SubGrid]"/>
</p:tagLst>
</file>

<file path=ppt/tags/tag236.xml><?xml version="1.0" encoding="utf-8"?>
<p:tagLst xmlns:a="http://schemas.openxmlformats.org/drawingml/2006/main" xmlns:r="http://schemas.openxmlformats.org/officeDocument/2006/relationships" xmlns:p="http://schemas.openxmlformats.org/presentationml/2006/main">
  <p:tag name="[SUBGRID]" val="[SubGrid]"/>
</p:tagLst>
</file>

<file path=ppt/tags/tag237.xml><?xml version="1.0" encoding="utf-8"?>
<p:tagLst xmlns:a="http://schemas.openxmlformats.org/drawingml/2006/main" xmlns:r="http://schemas.openxmlformats.org/officeDocument/2006/relationships" xmlns:p="http://schemas.openxmlformats.org/presentationml/2006/main">
  <p:tag name="[SUBGRID]" val="[SubGrid]"/>
</p:tagLst>
</file>

<file path=ppt/tags/tag238.xml><?xml version="1.0" encoding="utf-8"?>
<p:tagLst xmlns:a="http://schemas.openxmlformats.org/drawingml/2006/main" xmlns:r="http://schemas.openxmlformats.org/officeDocument/2006/relationships" xmlns:p="http://schemas.openxmlformats.org/presentationml/2006/main">
  <p:tag name="[SUBGRID]" val="[SubGrid]"/>
</p:tagLst>
</file>

<file path=ppt/tags/tag239.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40.xml><?xml version="1.0" encoding="utf-8"?>
<p:tagLst xmlns:a="http://schemas.openxmlformats.org/drawingml/2006/main" xmlns:r="http://schemas.openxmlformats.org/officeDocument/2006/relationships" xmlns:p="http://schemas.openxmlformats.org/presentationml/2006/main">
  <p:tag name="[SUBGRID]" val="[SubGrid]"/>
</p:tagLst>
</file>

<file path=ppt/tags/tag241.xml><?xml version="1.0" encoding="utf-8"?>
<p:tagLst xmlns:a="http://schemas.openxmlformats.org/drawingml/2006/main" xmlns:r="http://schemas.openxmlformats.org/officeDocument/2006/relationships" xmlns:p="http://schemas.openxmlformats.org/presentationml/2006/main">
  <p:tag name="[SUBGRID]" val="[SubGrid]"/>
</p:tagLst>
</file>

<file path=ppt/tags/tag242.xml><?xml version="1.0" encoding="utf-8"?>
<p:tagLst xmlns:a="http://schemas.openxmlformats.org/drawingml/2006/main" xmlns:r="http://schemas.openxmlformats.org/officeDocument/2006/relationships" xmlns:p="http://schemas.openxmlformats.org/presentationml/2006/main">
  <p:tag name="[SUBGRID]" val="[SubGrid]"/>
</p:tagLst>
</file>

<file path=ppt/tags/tag243.xml><?xml version="1.0" encoding="utf-8"?>
<p:tagLst xmlns:a="http://schemas.openxmlformats.org/drawingml/2006/main" xmlns:r="http://schemas.openxmlformats.org/officeDocument/2006/relationships" xmlns:p="http://schemas.openxmlformats.org/presentationml/2006/main">
  <p:tag name="[SUBGRID]" val="[SubGrid]"/>
</p:tagLst>
</file>

<file path=ppt/tags/tag244.xml><?xml version="1.0" encoding="utf-8"?>
<p:tagLst xmlns:a="http://schemas.openxmlformats.org/drawingml/2006/main" xmlns:r="http://schemas.openxmlformats.org/officeDocument/2006/relationships" xmlns:p="http://schemas.openxmlformats.org/presentationml/2006/main">
  <p:tag name="[SUBGRID]" val="[SubGrid]"/>
</p:tagLst>
</file>

<file path=ppt/tags/tag245.xml><?xml version="1.0" encoding="utf-8"?>
<p:tagLst xmlns:a="http://schemas.openxmlformats.org/drawingml/2006/main" xmlns:r="http://schemas.openxmlformats.org/officeDocument/2006/relationships" xmlns:p="http://schemas.openxmlformats.org/presentationml/2006/main">
  <p:tag name="[SUBGRID]" val="[SubGrid]"/>
</p:tagLst>
</file>

<file path=ppt/tags/tag246.xml><?xml version="1.0" encoding="utf-8"?>
<p:tagLst xmlns:a="http://schemas.openxmlformats.org/drawingml/2006/main" xmlns:r="http://schemas.openxmlformats.org/officeDocument/2006/relationships" xmlns:p="http://schemas.openxmlformats.org/presentationml/2006/main">
  <p:tag name="[SUBGRID]" val="[SubGrid]"/>
</p:tagLst>
</file>

<file path=ppt/tags/tag247.xml><?xml version="1.0" encoding="utf-8"?>
<p:tagLst xmlns:a="http://schemas.openxmlformats.org/drawingml/2006/main" xmlns:r="http://schemas.openxmlformats.org/officeDocument/2006/relationships" xmlns:p="http://schemas.openxmlformats.org/presentationml/2006/main">
  <p:tag name="[SUBGRID]" val="[SubGrid]"/>
</p:tagLst>
</file>

<file path=ppt/tags/tag248.xml><?xml version="1.0" encoding="utf-8"?>
<p:tagLst xmlns:a="http://schemas.openxmlformats.org/drawingml/2006/main" xmlns:r="http://schemas.openxmlformats.org/officeDocument/2006/relationships" xmlns:p="http://schemas.openxmlformats.org/presentationml/2006/main">
  <p:tag name="[SUBGRID]" val="[SubGrid]"/>
</p:tagLst>
</file>

<file path=ppt/tags/tag249.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50.xml><?xml version="1.0" encoding="utf-8"?>
<p:tagLst xmlns:a="http://schemas.openxmlformats.org/drawingml/2006/main" xmlns:r="http://schemas.openxmlformats.org/officeDocument/2006/relationships" xmlns:p="http://schemas.openxmlformats.org/presentationml/2006/main">
  <p:tag name="[SUBGRID]" val="[SubGrid]"/>
</p:tagLst>
</file>

<file path=ppt/tags/tag251.xml><?xml version="1.0" encoding="utf-8"?>
<p:tagLst xmlns:a="http://schemas.openxmlformats.org/drawingml/2006/main" xmlns:r="http://schemas.openxmlformats.org/officeDocument/2006/relationships" xmlns:p="http://schemas.openxmlformats.org/presentationml/2006/main">
  <p:tag name="[SUBGRID]" val="[SubGrid]"/>
</p:tagLst>
</file>

<file path=ppt/tags/tag252.xml><?xml version="1.0" encoding="utf-8"?>
<p:tagLst xmlns:a="http://schemas.openxmlformats.org/drawingml/2006/main" xmlns:r="http://schemas.openxmlformats.org/officeDocument/2006/relationships" xmlns:p="http://schemas.openxmlformats.org/presentationml/2006/main">
  <p:tag name="[SUBGRID]" val="[SubGrid]"/>
</p:tagLst>
</file>

<file path=ppt/tags/tag253.xml><?xml version="1.0" encoding="utf-8"?>
<p:tagLst xmlns:a="http://schemas.openxmlformats.org/drawingml/2006/main" xmlns:r="http://schemas.openxmlformats.org/officeDocument/2006/relationships" xmlns:p="http://schemas.openxmlformats.org/presentationml/2006/main">
  <p:tag name="[SUBGRID]" val="[SubGrid]"/>
</p:tagLst>
</file>

<file path=ppt/tags/tag254.xml><?xml version="1.0" encoding="utf-8"?>
<p:tagLst xmlns:a="http://schemas.openxmlformats.org/drawingml/2006/main" xmlns:r="http://schemas.openxmlformats.org/officeDocument/2006/relationships" xmlns:p="http://schemas.openxmlformats.org/presentationml/2006/main">
  <p:tag name="[SUBGRID]" val="[SubGrid]"/>
</p:tagLst>
</file>

<file path=ppt/tags/tag255.xml><?xml version="1.0" encoding="utf-8"?>
<p:tagLst xmlns:a="http://schemas.openxmlformats.org/drawingml/2006/main" xmlns:r="http://schemas.openxmlformats.org/officeDocument/2006/relationships" xmlns:p="http://schemas.openxmlformats.org/presentationml/2006/main">
  <p:tag name="[SUBGRID]" val="[SubGrid]"/>
</p:tagLst>
</file>

<file path=ppt/tags/tag256.xml><?xml version="1.0" encoding="utf-8"?>
<p:tagLst xmlns:a="http://schemas.openxmlformats.org/drawingml/2006/main" xmlns:r="http://schemas.openxmlformats.org/officeDocument/2006/relationships" xmlns:p="http://schemas.openxmlformats.org/presentationml/2006/main">
  <p:tag name="[SUBGRID]" val="[SubGrid]"/>
</p:tagLst>
</file>

<file path=ppt/tags/tag257.xml><?xml version="1.0" encoding="utf-8"?>
<p:tagLst xmlns:a="http://schemas.openxmlformats.org/drawingml/2006/main" xmlns:r="http://schemas.openxmlformats.org/officeDocument/2006/relationships" xmlns:p="http://schemas.openxmlformats.org/presentationml/2006/main">
  <p:tag name="[SUBGRID]" val="[SubGrid]"/>
</p:tagLst>
</file>

<file path=ppt/tags/tag258.xml><?xml version="1.0" encoding="utf-8"?>
<p:tagLst xmlns:a="http://schemas.openxmlformats.org/drawingml/2006/main" xmlns:r="http://schemas.openxmlformats.org/officeDocument/2006/relationships" xmlns:p="http://schemas.openxmlformats.org/presentationml/2006/main">
  <p:tag name="[SUBGRID]" val="[SubGrid]"/>
</p:tagLst>
</file>

<file path=ppt/tags/tag259.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60.xml><?xml version="1.0" encoding="utf-8"?>
<p:tagLst xmlns:a="http://schemas.openxmlformats.org/drawingml/2006/main" xmlns:r="http://schemas.openxmlformats.org/officeDocument/2006/relationships" xmlns:p="http://schemas.openxmlformats.org/presentationml/2006/main">
  <p:tag name="[SUBGRID]" val="[SubGrid]"/>
</p:tagLst>
</file>

<file path=ppt/tags/tag261.xml><?xml version="1.0" encoding="utf-8"?>
<p:tagLst xmlns:a="http://schemas.openxmlformats.org/drawingml/2006/main" xmlns:r="http://schemas.openxmlformats.org/officeDocument/2006/relationships" xmlns:p="http://schemas.openxmlformats.org/presentationml/2006/main">
  <p:tag name="[SUBGRID]" val="[SubGrid]"/>
</p:tagLst>
</file>

<file path=ppt/tags/tag262.xml><?xml version="1.0" encoding="utf-8"?>
<p:tagLst xmlns:a="http://schemas.openxmlformats.org/drawingml/2006/main" xmlns:r="http://schemas.openxmlformats.org/officeDocument/2006/relationships" xmlns:p="http://schemas.openxmlformats.org/presentationml/2006/main">
  <p:tag name="[SUBGRID]" val="[SubGrid]"/>
</p:tagLst>
</file>

<file path=ppt/tags/tag263.xml><?xml version="1.0" encoding="utf-8"?>
<p:tagLst xmlns:a="http://schemas.openxmlformats.org/drawingml/2006/main" xmlns:r="http://schemas.openxmlformats.org/officeDocument/2006/relationships" xmlns:p="http://schemas.openxmlformats.org/presentationml/2006/main">
  <p:tag name="[SUBGRID]" val="[SubGrid]"/>
</p:tagLst>
</file>

<file path=ppt/tags/tag264.xml><?xml version="1.0" encoding="utf-8"?>
<p:tagLst xmlns:a="http://schemas.openxmlformats.org/drawingml/2006/main" xmlns:r="http://schemas.openxmlformats.org/officeDocument/2006/relationships" xmlns:p="http://schemas.openxmlformats.org/presentationml/2006/main">
  <p:tag name="[SUBGRID]" val="[SubGrid]"/>
</p:tagLst>
</file>

<file path=ppt/tags/tag265.xml><?xml version="1.0" encoding="utf-8"?>
<p:tagLst xmlns:a="http://schemas.openxmlformats.org/drawingml/2006/main" xmlns:r="http://schemas.openxmlformats.org/officeDocument/2006/relationships" xmlns:p="http://schemas.openxmlformats.org/presentationml/2006/main">
  <p:tag name="[SUBGRID]" val="[SubGrid]"/>
</p:tagLst>
</file>

<file path=ppt/tags/tag266.xml><?xml version="1.0" encoding="utf-8"?>
<p:tagLst xmlns:a="http://schemas.openxmlformats.org/drawingml/2006/main" xmlns:r="http://schemas.openxmlformats.org/officeDocument/2006/relationships" xmlns:p="http://schemas.openxmlformats.org/presentationml/2006/main">
  <p:tag name="[SUBGRID]" val="[SubGrid]"/>
</p:tagLst>
</file>

<file path=ppt/tags/tag267.xml><?xml version="1.0" encoding="utf-8"?>
<p:tagLst xmlns:a="http://schemas.openxmlformats.org/drawingml/2006/main" xmlns:r="http://schemas.openxmlformats.org/officeDocument/2006/relationships" xmlns:p="http://schemas.openxmlformats.org/presentationml/2006/main">
  <p:tag name="[SUBGRID]" val="[SubGrid]"/>
</p:tagLst>
</file>

<file path=ppt/tags/tag268.xml><?xml version="1.0" encoding="utf-8"?>
<p:tagLst xmlns:a="http://schemas.openxmlformats.org/drawingml/2006/main" xmlns:r="http://schemas.openxmlformats.org/officeDocument/2006/relationships" xmlns:p="http://schemas.openxmlformats.org/presentationml/2006/main">
  <p:tag name="[SUBGRID]" val="[SubGrid]"/>
</p:tagLst>
</file>

<file path=ppt/tags/tag269.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70.xml><?xml version="1.0" encoding="utf-8"?>
<p:tagLst xmlns:a="http://schemas.openxmlformats.org/drawingml/2006/main" xmlns:r="http://schemas.openxmlformats.org/officeDocument/2006/relationships" xmlns:p="http://schemas.openxmlformats.org/presentationml/2006/main">
  <p:tag name="[SUBGRID]" val="[SubGrid]"/>
</p:tagLst>
</file>

<file path=ppt/tags/tag271.xml><?xml version="1.0" encoding="utf-8"?>
<p:tagLst xmlns:a="http://schemas.openxmlformats.org/drawingml/2006/main" xmlns:r="http://schemas.openxmlformats.org/officeDocument/2006/relationships" xmlns:p="http://schemas.openxmlformats.org/presentationml/2006/main">
  <p:tag name="[SUBGRID]" val="[SubGrid]"/>
</p:tagLst>
</file>

<file path=ppt/tags/tag272.xml><?xml version="1.0" encoding="utf-8"?>
<p:tagLst xmlns:a="http://schemas.openxmlformats.org/drawingml/2006/main" xmlns:r="http://schemas.openxmlformats.org/officeDocument/2006/relationships" xmlns:p="http://schemas.openxmlformats.org/presentationml/2006/main">
  <p:tag name="[SUBGRID]" val="[SubGrid]"/>
</p:tagLst>
</file>

<file path=ppt/tags/tag273.xml><?xml version="1.0" encoding="utf-8"?>
<p:tagLst xmlns:a="http://schemas.openxmlformats.org/drawingml/2006/main" xmlns:r="http://schemas.openxmlformats.org/officeDocument/2006/relationships" xmlns:p="http://schemas.openxmlformats.org/presentationml/2006/main">
  <p:tag name="[SUBGRID]" val="[SubGrid]"/>
</p:tagLst>
</file>

<file path=ppt/tags/tag274.xml><?xml version="1.0" encoding="utf-8"?>
<p:tagLst xmlns:a="http://schemas.openxmlformats.org/drawingml/2006/main" xmlns:r="http://schemas.openxmlformats.org/officeDocument/2006/relationships" xmlns:p="http://schemas.openxmlformats.org/presentationml/2006/main">
  <p:tag name="[SUBGRID]" val="[SubGrid]"/>
</p:tagLst>
</file>

<file path=ppt/tags/tag275.xml><?xml version="1.0" encoding="utf-8"?>
<p:tagLst xmlns:a="http://schemas.openxmlformats.org/drawingml/2006/main" xmlns:r="http://schemas.openxmlformats.org/officeDocument/2006/relationships" xmlns:p="http://schemas.openxmlformats.org/presentationml/2006/main">
  <p:tag name="[SUBGRID]" val="[SubGrid]"/>
</p:tagLst>
</file>

<file path=ppt/tags/tag276.xml><?xml version="1.0" encoding="utf-8"?>
<p:tagLst xmlns:a="http://schemas.openxmlformats.org/drawingml/2006/main" xmlns:r="http://schemas.openxmlformats.org/officeDocument/2006/relationships" xmlns:p="http://schemas.openxmlformats.org/presentationml/2006/main">
  <p:tag name="[SUBGRID]" val="[SubGrid]"/>
</p:tagLst>
</file>

<file path=ppt/tags/tag277.xml><?xml version="1.0" encoding="utf-8"?>
<p:tagLst xmlns:a="http://schemas.openxmlformats.org/drawingml/2006/main" xmlns:r="http://schemas.openxmlformats.org/officeDocument/2006/relationships" xmlns:p="http://schemas.openxmlformats.org/presentationml/2006/main">
  <p:tag name="[SUBGRID]" val="[SubGrid]"/>
</p:tagLst>
</file>

<file path=ppt/tags/tag278.xml><?xml version="1.0" encoding="utf-8"?>
<p:tagLst xmlns:a="http://schemas.openxmlformats.org/drawingml/2006/main" xmlns:r="http://schemas.openxmlformats.org/officeDocument/2006/relationships" xmlns:p="http://schemas.openxmlformats.org/presentationml/2006/main">
  <p:tag name="[SUBGRID]" val="[SubGrid]"/>
</p:tagLst>
</file>

<file path=ppt/tags/tag279.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80.xml><?xml version="1.0" encoding="utf-8"?>
<p:tagLst xmlns:a="http://schemas.openxmlformats.org/drawingml/2006/main" xmlns:r="http://schemas.openxmlformats.org/officeDocument/2006/relationships" xmlns:p="http://schemas.openxmlformats.org/presentationml/2006/main">
  <p:tag name="[SUBGRID]" val="[SubGrid]"/>
</p:tagLst>
</file>

<file path=ppt/tags/tag281.xml><?xml version="1.0" encoding="utf-8"?>
<p:tagLst xmlns:a="http://schemas.openxmlformats.org/drawingml/2006/main" xmlns:r="http://schemas.openxmlformats.org/officeDocument/2006/relationships" xmlns:p="http://schemas.openxmlformats.org/presentationml/2006/main">
  <p:tag name="[SUBGRID]" val="[SubGrid]"/>
</p:tagLst>
</file>

<file path=ppt/tags/tag282.xml><?xml version="1.0" encoding="utf-8"?>
<p:tagLst xmlns:a="http://schemas.openxmlformats.org/drawingml/2006/main" xmlns:r="http://schemas.openxmlformats.org/officeDocument/2006/relationships" xmlns:p="http://schemas.openxmlformats.org/presentationml/2006/main">
  <p:tag name="[SUBGRID]" val="[SubGrid]"/>
</p:tagLst>
</file>

<file path=ppt/tags/tag283.xml><?xml version="1.0" encoding="utf-8"?>
<p:tagLst xmlns:a="http://schemas.openxmlformats.org/drawingml/2006/main" xmlns:r="http://schemas.openxmlformats.org/officeDocument/2006/relationships" xmlns:p="http://schemas.openxmlformats.org/presentationml/2006/main">
  <p:tag name="[SUBGRID]" val="[SubGrid]"/>
</p:tagLst>
</file>

<file path=ppt/tags/tag284.xml><?xml version="1.0" encoding="utf-8"?>
<p:tagLst xmlns:a="http://schemas.openxmlformats.org/drawingml/2006/main" xmlns:r="http://schemas.openxmlformats.org/officeDocument/2006/relationships" xmlns:p="http://schemas.openxmlformats.org/presentationml/2006/main">
  <p:tag name="[SUBGRID]" val="[SubGrid]"/>
</p:tagLst>
</file>

<file path=ppt/tags/tag285.xml><?xml version="1.0" encoding="utf-8"?>
<p:tagLst xmlns:a="http://schemas.openxmlformats.org/drawingml/2006/main" xmlns:r="http://schemas.openxmlformats.org/officeDocument/2006/relationships" xmlns:p="http://schemas.openxmlformats.org/presentationml/2006/main">
  <p:tag name="[SUBGRID]" val="[SubGrid]"/>
</p:tagLst>
</file>

<file path=ppt/tags/tag286.xml><?xml version="1.0" encoding="utf-8"?>
<p:tagLst xmlns:a="http://schemas.openxmlformats.org/drawingml/2006/main" xmlns:r="http://schemas.openxmlformats.org/officeDocument/2006/relationships" xmlns:p="http://schemas.openxmlformats.org/presentationml/2006/main">
  <p:tag name="[SUBGRID]" val="[SubGrid]"/>
</p:tagLst>
</file>

<file path=ppt/tags/tag287.xml><?xml version="1.0" encoding="utf-8"?>
<p:tagLst xmlns:a="http://schemas.openxmlformats.org/drawingml/2006/main" xmlns:r="http://schemas.openxmlformats.org/officeDocument/2006/relationships" xmlns:p="http://schemas.openxmlformats.org/presentationml/2006/main">
  <p:tag name="[SUBGRID]" val="[SubGrid]"/>
</p:tagLst>
</file>

<file path=ppt/tags/tag288.xml><?xml version="1.0" encoding="utf-8"?>
<p:tagLst xmlns:a="http://schemas.openxmlformats.org/drawingml/2006/main" xmlns:r="http://schemas.openxmlformats.org/officeDocument/2006/relationships" xmlns:p="http://schemas.openxmlformats.org/presentationml/2006/main">
  <p:tag name="[SUBGRID]" val="[SubGrid]"/>
</p:tagLst>
</file>

<file path=ppt/tags/tag289.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290.xml><?xml version="1.0" encoding="utf-8"?>
<p:tagLst xmlns:a="http://schemas.openxmlformats.org/drawingml/2006/main" xmlns:r="http://schemas.openxmlformats.org/officeDocument/2006/relationships" xmlns:p="http://schemas.openxmlformats.org/presentationml/2006/main">
  <p:tag name="[SUBGRID]" val="[SubGrid]"/>
</p:tagLst>
</file>

<file path=ppt/tags/tag291.xml><?xml version="1.0" encoding="utf-8"?>
<p:tagLst xmlns:a="http://schemas.openxmlformats.org/drawingml/2006/main" xmlns:r="http://schemas.openxmlformats.org/officeDocument/2006/relationships" xmlns:p="http://schemas.openxmlformats.org/presentationml/2006/main">
  <p:tag name="[SUBGRID]" val="[SubGrid]"/>
</p:tagLst>
</file>

<file path=ppt/tags/tag292.xml><?xml version="1.0" encoding="utf-8"?>
<p:tagLst xmlns:a="http://schemas.openxmlformats.org/drawingml/2006/main" xmlns:r="http://schemas.openxmlformats.org/officeDocument/2006/relationships" xmlns:p="http://schemas.openxmlformats.org/presentationml/2006/main">
  <p:tag name="[SUBGRID]" val="[SubGrid]"/>
</p:tagLst>
</file>

<file path=ppt/tags/tag293.xml><?xml version="1.0" encoding="utf-8"?>
<p:tagLst xmlns:a="http://schemas.openxmlformats.org/drawingml/2006/main" xmlns:r="http://schemas.openxmlformats.org/officeDocument/2006/relationships" xmlns:p="http://schemas.openxmlformats.org/presentationml/2006/main">
  <p:tag name="[SUBGRID]" val="[SubGrid]"/>
</p:tagLst>
</file>

<file path=ppt/tags/tag294.xml><?xml version="1.0" encoding="utf-8"?>
<p:tagLst xmlns:a="http://schemas.openxmlformats.org/drawingml/2006/main" xmlns:r="http://schemas.openxmlformats.org/officeDocument/2006/relationships" xmlns:p="http://schemas.openxmlformats.org/presentationml/2006/main">
  <p:tag name="[SUBGRID]" val="[SubGrid]"/>
</p:tagLst>
</file>

<file path=ppt/tags/tag295.xml><?xml version="1.0" encoding="utf-8"?>
<p:tagLst xmlns:a="http://schemas.openxmlformats.org/drawingml/2006/main" xmlns:r="http://schemas.openxmlformats.org/officeDocument/2006/relationships" xmlns:p="http://schemas.openxmlformats.org/presentationml/2006/main">
  <p:tag name="[SUBGRID]" val="[SubGrid]"/>
</p:tagLst>
</file>

<file path=ppt/tags/tag296.xml><?xml version="1.0" encoding="utf-8"?>
<p:tagLst xmlns:a="http://schemas.openxmlformats.org/drawingml/2006/main" xmlns:r="http://schemas.openxmlformats.org/officeDocument/2006/relationships" xmlns:p="http://schemas.openxmlformats.org/presentationml/2006/main">
  <p:tag name="[SUBGRID]" val="[SubGrid]"/>
</p:tagLst>
</file>

<file path=ppt/tags/tag297.xml><?xml version="1.0" encoding="utf-8"?>
<p:tagLst xmlns:a="http://schemas.openxmlformats.org/drawingml/2006/main" xmlns:r="http://schemas.openxmlformats.org/officeDocument/2006/relationships" xmlns:p="http://schemas.openxmlformats.org/presentationml/2006/main">
  <p:tag name="[SUBGRID]" val="[SubGrid]"/>
</p:tagLst>
</file>

<file path=ppt/tags/tag298.xml><?xml version="1.0" encoding="utf-8"?>
<p:tagLst xmlns:a="http://schemas.openxmlformats.org/drawingml/2006/main" xmlns:r="http://schemas.openxmlformats.org/officeDocument/2006/relationships" xmlns:p="http://schemas.openxmlformats.org/presentationml/2006/main">
  <p:tag name="[SUBGRID]" val="[SubGrid]"/>
</p:tagLst>
</file>

<file path=ppt/tags/tag29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00.xml><?xml version="1.0" encoding="utf-8"?>
<p:tagLst xmlns:a="http://schemas.openxmlformats.org/drawingml/2006/main" xmlns:r="http://schemas.openxmlformats.org/officeDocument/2006/relationships" xmlns:p="http://schemas.openxmlformats.org/presentationml/2006/main">
  <p:tag name="[SUBGRID]" val="[SubGrid]"/>
</p:tagLst>
</file>

<file path=ppt/tags/tag301.xml><?xml version="1.0" encoding="utf-8"?>
<p:tagLst xmlns:a="http://schemas.openxmlformats.org/drawingml/2006/main" xmlns:r="http://schemas.openxmlformats.org/officeDocument/2006/relationships" xmlns:p="http://schemas.openxmlformats.org/presentationml/2006/main">
  <p:tag name="[SUBGRID]" val="[SubGrid]"/>
</p:tagLst>
</file>

<file path=ppt/tags/tag302.xml><?xml version="1.0" encoding="utf-8"?>
<p:tagLst xmlns:a="http://schemas.openxmlformats.org/drawingml/2006/main" xmlns:r="http://schemas.openxmlformats.org/officeDocument/2006/relationships" xmlns:p="http://schemas.openxmlformats.org/presentationml/2006/main">
  <p:tag name="[SUBGRID]" val="[SubGrid]"/>
</p:tagLst>
</file>

<file path=ppt/tags/tag303.xml><?xml version="1.0" encoding="utf-8"?>
<p:tagLst xmlns:a="http://schemas.openxmlformats.org/drawingml/2006/main" xmlns:r="http://schemas.openxmlformats.org/officeDocument/2006/relationships" xmlns:p="http://schemas.openxmlformats.org/presentationml/2006/main">
  <p:tag name="[SUBGRID]" val="[SubGrid]"/>
</p:tagLst>
</file>

<file path=ppt/tags/tag304.xml><?xml version="1.0" encoding="utf-8"?>
<p:tagLst xmlns:a="http://schemas.openxmlformats.org/drawingml/2006/main" xmlns:r="http://schemas.openxmlformats.org/officeDocument/2006/relationships" xmlns:p="http://schemas.openxmlformats.org/presentationml/2006/main">
  <p:tag name="[SUBGRID]" val="[SubGrid]"/>
</p:tagLst>
</file>

<file path=ppt/tags/tag305.xml><?xml version="1.0" encoding="utf-8"?>
<p:tagLst xmlns:a="http://schemas.openxmlformats.org/drawingml/2006/main" xmlns:r="http://schemas.openxmlformats.org/officeDocument/2006/relationships" xmlns:p="http://schemas.openxmlformats.org/presentationml/2006/main">
  <p:tag name="[SUBGRID]" val="[SubGrid]"/>
</p:tagLst>
</file>

<file path=ppt/tags/tag306.xml><?xml version="1.0" encoding="utf-8"?>
<p:tagLst xmlns:a="http://schemas.openxmlformats.org/drawingml/2006/main" xmlns:r="http://schemas.openxmlformats.org/officeDocument/2006/relationships" xmlns:p="http://schemas.openxmlformats.org/presentationml/2006/main">
  <p:tag name="[SUBGRID]" val="[SubGrid]"/>
</p:tagLst>
</file>

<file path=ppt/tags/tag307.xml><?xml version="1.0" encoding="utf-8"?>
<p:tagLst xmlns:a="http://schemas.openxmlformats.org/drawingml/2006/main" xmlns:r="http://schemas.openxmlformats.org/officeDocument/2006/relationships" xmlns:p="http://schemas.openxmlformats.org/presentationml/2006/main">
  <p:tag name="[SUBGRID]" val="[SubGrid]"/>
</p:tagLst>
</file>

<file path=ppt/tags/tag308.xml><?xml version="1.0" encoding="utf-8"?>
<p:tagLst xmlns:a="http://schemas.openxmlformats.org/drawingml/2006/main" xmlns:r="http://schemas.openxmlformats.org/officeDocument/2006/relationships" xmlns:p="http://schemas.openxmlformats.org/presentationml/2006/main">
  <p:tag name="[SUBGRID]" val="[SubGrid]"/>
</p:tagLst>
</file>

<file path=ppt/tags/tag309.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10.xml><?xml version="1.0" encoding="utf-8"?>
<p:tagLst xmlns:a="http://schemas.openxmlformats.org/drawingml/2006/main" xmlns:r="http://schemas.openxmlformats.org/officeDocument/2006/relationships" xmlns:p="http://schemas.openxmlformats.org/presentationml/2006/main">
  <p:tag name="[SUBGRID]" val="[SubGrid]"/>
</p:tagLst>
</file>

<file path=ppt/tags/tag311.xml><?xml version="1.0" encoding="utf-8"?>
<p:tagLst xmlns:a="http://schemas.openxmlformats.org/drawingml/2006/main" xmlns:r="http://schemas.openxmlformats.org/officeDocument/2006/relationships" xmlns:p="http://schemas.openxmlformats.org/presentationml/2006/main">
  <p:tag name="[SUBGRID]" val="[SubGrid]"/>
</p:tagLst>
</file>

<file path=ppt/tags/tag312.xml><?xml version="1.0" encoding="utf-8"?>
<p:tagLst xmlns:a="http://schemas.openxmlformats.org/drawingml/2006/main" xmlns:r="http://schemas.openxmlformats.org/officeDocument/2006/relationships" xmlns:p="http://schemas.openxmlformats.org/presentationml/2006/main">
  <p:tag name="[SUBGRID]" val="[SubGrid]"/>
</p:tagLst>
</file>

<file path=ppt/tags/tag313.xml><?xml version="1.0" encoding="utf-8"?>
<p:tagLst xmlns:a="http://schemas.openxmlformats.org/drawingml/2006/main" xmlns:r="http://schemas.openxmlformats.org/officeDocument/2006/relationships" xmlns:p="http://schemas.openxmlformats.org/presentationml/2006/main">
  <p:tag name="[SUBGRID]" val="[SubGrid]"/>
</p:tagLst>
</file>

<file path=ppt/tags/tag314.xml><?xml version="1.0" encoding="utf-8"?>
<p:tagLst xmlns:a="http://schemas.openxmlformats.org/drawingml/2006/main" xmlns:r="http://schemas.openxmlformats.org/officeDocument/2006/relationships" xmlns:p="http://schemas.openxmlformats.org/presentationml/2006/main">
  <p:tag name="[SUBGRID]" val="[SubGrid]"/>
</p:tagLst>
</file>

<file path=ppt/tags/tag315.xml><?xml version="1.0" encoding="utf-8"?>
<p:tagLst xmlns:a="http://schemas.openxmlformats.org/drawingml/2006/main" xmlns:r="http://schemas.openxmlformats.org/officeDocument/2006/relationships" xmlns:p="http://schemas.openxmlformats.org/presentationml/2006/main">
  <p:tag name="[SUBGRID]" val="[SubGrid]"/>
</p:tagLst>
</file>

<file path=ppt/tags/tag316.xml><?xml version="1.0" encoding="utf-8"?>
<p:tagLst xmlns:a="http://schemas.openxmlformats.org/drawingml/2006/main" xmlns:r="http://schemas.openxmlformats.org/officeDocument/2006/relationships" xmlns:p="http://schemas.openxmlformats.org/presentationml/2006/main">
  <p:tag name="[SUBGRID]" val="[SubGrid]"/>
</p:tagLst>
</file>

<file path=ppt/tags/tag317.xml><?xml version="1.0" encoding="utf-8"?>
<p:tagLst xmlns:a="http://schemas.openxmlformats.org/drawingml/2006/main" xmlns:r="http://schemas.openxmlformats.org/officeDocument/2006/relationships" xmlns:p="http://schemas.openxmlformats.org/presentationml/2006/main">
  <p:tag name="[SUBGRID]" val="[SubGrid]"/>
</p:tagLst>
</file>

<file path=ppt/tags/tag318.xml><?xml version="1.0" encoding="utf-8"?>
<p:tagLst xmlns:a="http://schemas.openxmlformats.org/drawingml/2006/main" xmlns:r="http://schemas.openxmlformats.org/officeDocument/2006/relationships" xmlns:p="http://schemas.openxmlformats.org/presentationml/2006/main">
  <p:tag name="[SUBGRID]" val="[SubGrid]"/>
</p:tagLst>
</file>

<file path=ppt/tags/tag319.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20.xml><?xml version="1.0" encoding="utf-8"?>
<p:tagLst xmlns:a="http://schemas.openxmlformats.org/drawingml/2006/main" xmlns:r="http://schemas.openxmlformats.org/officeDocument/2006/relationships" xmlns:p="http://schemas.openxmlformats.org/presentationml/2006/main">
  <p:tag name="[SUBGRID]" val="[SubGrid]"/>
</p:tagLst>
</file>

<file path=ppt/tags/tag321.xml><?xml version="1.0" encoding="utf-8"?>
<p:tagLst xmlns:a="http://schemas.openxmlformats.org/drawingml/2006/main" xmlns:r="http://schemas.openxmlformats.org/officeDocument/2006/relationships" xmlns:p="http://schemas.openxmlformats.org/presentationml/2006/main">
  <p:tag name="[SUBGRID]" val="[SubGrid]"/>
</p:tagLst>
</file>

<file path=ppt/tags/tag322.xml><?xml version="1.0" encoding="utf-8"?>
<p:tagLst xmlns:a="http://schemas.openxmlformats.org/drawingml/2006/main" xmlns:r="http://schemas.openxmlformats.org/officeDocument/2006/relationships" xmlns:p="http://schemas.openxmlformats.org/presentationml/2006/main">
  <p:tag name="[SUBGRID]" val="[SubGrid]"/>
</p:tagLst>
</file>

<file path=ppt/tags/tag323.xml><?xml version="1.0" encoding="utf-8"?>
<p:tagLst xmlns:a="http://schemas.openxmlformats.org/drawingml/2006/main" xmlns:r="http://schemas.openxmlformats.org/officeDocument/2006/relationships" xmlns:p="http://schemas.openxmlformats.org/presentationml/2006/main">
  <p:tag name="[SUBGRID]" val="[SubGrid]"/>
</p:tagLst>
</file>

<file path=ppt/tags/tag324.xml><?xml version="1.0" encoding="utf-8"?>
<p:tagLst xmlns:a="http://schemas.openxmlformats.org/drawingml/2006/main" xmlns:r="http://schemas.openxmlformats.org/officeDocument/2006/relationships" xmlns:p="http://schemas.openxmlformats.org/presentationml/2006/main">
  <p:tag name="[SUBGRID]" val="[SubGrid]"/>
</p:tagLst>
</file>

<file path=ppt/tags/tag325.xml><?xml version="1.0" encoding="utf-8"?>
<p:tagLst xmlns:a="http://schemas.openxmlformats.org/drawingml/2006/main" xmlns:r="http://schemas.openxmlformats.org/officeDocument/2006/relationships" xmlns:p="http://schemas.openxmlformats.org/presentationml/2006/main">
  <p:tag name="[SUBGRID]" val="[SubGrid]"/>
</p:tagLst>
</file>

<file path=ppt/tags/tag326.xml><?xml version="1.0" encoding="utf-8"?>
<p:tagLst xmlns:a="http://schemas.openxmlformats.org/drawingml/2006/main" xmlns:r="http://schemas.openxmlformats.org/officeDocument/2006/relationships" xmlns:p="http://schemas.openxmlformats.org/presentationml/2006/main">
  <p:tag name="[SUBGRID]" val="[SubGrid]"/>
</p:tagLst>
</file>

<file path=ppt/tags/tag327.xml><?xml version="1.0" encoding="utf-8"?>
<p:tagLst xmlns:a="http://schemas.openxmlformats.org/drawingml/2006/main" xmlns:r="http://schemas.openxmlformats.org/officeDocument/2006/relationships" xmlns:p="http://schemas.openxmlformats.org/presentationml/2006/main">
  <p:tag name="[SUBGRID]" val="[SubGrid]"/>
</p:tagLst>
</file>

<file path=ppt/tags/tag328.xml><?xml version="1.0" encoding="utf-8"?>
<p:tagLst xmlns:a="http://schemas.openxmlformats.org/drawingml/2006/main" xmlns:r="http://schemas.openxmlformats.org/officeDocument/2006/relationships" xmlns:p="http://schemas.openxmlformats.org/presentationml/2006/main">
  <p:tag name="[SUBGRID]" val="[SubGrid]"/>
</p:tagLst>
</file>

<file path=ppt/tags/tag329.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30.xml><?xml version="1.0" encoding="utf-8"?>
<p:tagLst xmlns:a="http://schemas.openxmlformats.org/drawingml/2006/main" xmlns:r="http://schemas.openxmlformats.org/officeDocument/2006/relationships" xmlns:p="http://schemas.openxmlformats.org/presentationml/2006/main">
  <p:tag name="[SUBGRID]" val="[SubGrid]"/>
</p:tagLst>
</file>

<file path=ppt/tags/tag331.xml><?xml version="1.0" encoding="utf-8"?>
<p:tagLst xmlns:a="http://schemas.openxmlformats.org/drawingml/2006/main" xmlns:r="http://schemas.openxmlformats.org/officeDocument/2006/relationships" xmlns:p="http://schemas.openxmlformats.org/presentationml/2006/main">
  <p:tag name="[SUBGRID]" val="[SubGrid]"/>
</p:tagLst>
</file>

<file path=ppt/tags/tag332.xml><?xml version="1.0" encoding="utf-8"?>
<p:tagLst xmlns:a="http://schemas.openxmlformats.org/drawingml/2006/main" xmlns:r="http://schemas.openxmlformats.org/officeDocument/2006/relationships" xmlns:p="http://schemas.openxmlformats.org/presentationml/2006/main">
  <p:tag name="[SUBGRID]" val="[SubGrid]"/>
</p:tagLst>
</file>

<file path=ppt/tags/tag333.xml><?xml version="1.0" encoding="utf-8"?>
<p:tagLst xmlns:a="http://schemas.openxmlformats.org/drawingml/2006/main" xmlns:r="http://schemas.openxmlformats.org/officeDocument/2006/relationships" xmlns:p="http://schemas.openxmlformats.org/presentationml/2006/main">
  <p:tag name="[SUBGRID]" val="[SubGrid]"/>
</p:tagLst>
</file>

<file path=ppt/tags/tag334.xml><?xml version="1.0" encoding="utf-8"?>
<p:tagLst xmlns:a="http://schemas.openxmlformats.org/drawingml/2006/main" xmlns:r="http://schemas.openxmlformats.org/officeDocument/2006/relationships" xmlns:p="http://schemas.openxmlformats.org/presentationml/2006/main">
  <p:tag name="[SUBGRID]" val="[SubGrid]"/>
</p:tagLst>
</file>

<file path=ppt/tags/tag335.xml><?xml version="1.0" encoding="utf-8"?>
<p:tagLst xmlns:a="http://schemas.openxmlformats.org/drawingml/2006/main" xmlns:r="http://schemas.openxmlformats.org/officeDocument/2006/relationships" xmlns:p="http://schemas.openxmlformats.org/presentationml/2006/main">
  <p:tag name="[SUBGRID]" val="[SubGrid]"/>
</p:tagLst>
</file>

<file path=ppt/tags/tag336.xml><?xml version="1.0" encoding="utf-8"?>
<p:tagLst xmlns:a="http://schemas.openxmlformats.org/drawingml/2006/main" xmlns:r="http://schemas.openxmlformats.org/officeDocument/2006/relationships" xmlns:p="http://schemas.openxmlformats.org/presentationml/2006/main">
  <p:tag name="[SUBGRID]" val="[SubGrid]"/>
</p:tagLst>
</file>

<file path=ppt/tags/tag337.xml><?xml version="1.0" encoding="utf-8"?>
<p:tagLst xmlns:a="http://schemas.openxmlformats.org/drawingml/2006/main" xmlns:r="http://schemas.openxmlformats.org/officeDocument/2006/relationships" xmlns:p="http://schemas.openxmlformats.org/presentationml/2006/main">
  <p:tag name="[SUBGRID]" val="[SubGrid]"/>
</p:tagLst>
</file>

<file path=ppt/tags/tag338.xml><?xml version="1.0" encoding="utf-8"?>
<p:tagLst xmlns:a="http://schemas.openxmlformats.org/drawingml/2006/main" xmlns:r="http://schemas.openxmlformats.org/officeDocument/2006/relationships" xmlns:p="http://schemas.openxmlformats.org/presentationml/2006/main">
  <p:tag name="[SUBGRID]" val="[SubGrid]"/>
</p:tagLst>
</file>

<file path=ppt/tags/tag339.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40.xml><?xml version="1.0" encoding="utf-8"?>
<p:tagLst xmlns:a="http://schemas.openxmlformats.org/drawingml/2006/main" xmlns:r="http://schemas.openxmlformats.org/officeDocument/2006/relationships" xmlns:p="http://schemas.openxmlformats.org/presentationml/2006/main">
  <p:tag name="[SUBGRID]" val="[SubGrid]"/>
</p:tagLst>
</file>

<file path=ppt/tags/tag341.xml><?xml version="1.0" encoding="utf-8"?>
<p:tagLst xmlns:a="http://schemas.openxmlformats.org/drawingml/2006/main" xmlns:r="http://schemas.openxmlformats.org/officeDocument/2006/relationships" xmlns:p="http://schemas.openxmlformats.org/presentationml/2006/main">
  <p:tag name="[SUBGRID]" val="[SubGrid]"/>
</p:tagLst>
</file>

<file path=ppt/tags/tag342.xml><?xml version="1.0" encoding="utf-8"?>
<p:tagLst xmlns:a="http://schemas.openxmlformats.org/drawingml/2006/main" xmlns:r="http://schemas.openxmlformats.org/officeDocument/2006/relationships" xmlns:p="http://schemas.openxmlformats.org/presentationml/2006/main">
  <p:tag name="[SUBGRID]" val="[SubGrid]"/>
</p:tagLst>
</file>

<file path=ppt/tags/tag343.xml><?xml version="1.0" encoding="utf-8"?>
<p:tagLst xmlns:a="http://schemas.openxmlformats.org/drawingml/2006/main" xmlns:r="http://schemas.openxmlformats.org/officeDocument/2006/relationships" xmlns:p="http://schemas.openxmlformats.org/presentationml/2006/main">
  <p:tag name="[SUBGRID]" val="[SubGrid]"/>
</p:tagLst>
</file>

<file path=ppt/tags/tag344.xml><?xml version="1.0" encoding="utf-8"?>
<p:tagLst xmlns:a="http://schemas.openxmlformats.org/drawingml/2006/main" xmlns:r="http://schemas.openxmlformats.org/officeDocument/2006/relationships" xmlns:p="http://schemas.openxmlformats.org/presentationml/2006/main">
  <p:tag name="[SUBGRID]" val="[SubGrid]"/>
</p:tagLst>
</file>

<file path=ppt/tags/tag345.xml><?xml version="1.0" encoding="utf-8"?>
<p:tagLst xmlns:a="http://schemas.openxmlformats.org/drawingml/2006/main" xmlns:r="http://schemas.openxmlformats.org/officeDocument/2006/relationships" xmlns:p="http://schemas.openxmlformats.org/presentationml/2006/main">
  <p:tag name="[SUBGRID]" val="[SubGrid]"/>
</p:tagLst>
</file>

<file path=ppt/tags/tag346.xml><?xml version="1.0" encoding="utf-8"?>
<p:tagLst xmlns:a="http://schemas.openxmlformats.org/drawingml/2006/main" xmlns:r="http://schemas.openxmlformats.org/officeDocument/2006/relationships" xmlns:p="http://schemas.openxmlformats.org/presentationml/2006/main">
  <p:tag name="[SUBGRID]" val="[SubGrid]"/>
</p:tagLst>
</file>

<file path=ppt/tags/tag347.xml><?xml version="1.0" encoding="utf-8"?>
<p:tagLst xmlns:a="http://schemas.openxmlformats.org/drawingml/2006/main" xmlns:r="http://schemas.openxmlformats.org/officeDocument/2006/relationships" xmlns:p="http://schemas.openxmlformats.org/presentationml/2006/main">
  <p:tag name="[SUBGRID]" val="[SubGrid]"/>
</p:tagLst>
</file>

<file path=ppt/tags/tag348.xml><?xml version="1.0" encoding="utf-8"?>
<p:tagLst xmlns:a="http://schemas.openxmlformats.org/drawingml/2006/main" xmlns:r="http://schemas.openxmlformats.org/officeDocument/2006/relationships" xmlns:p="http://schemas.openxmlformats.org/presentationml/2006/main">
  <p:tag name="[SUBGRID]" val="[SubGrid]"/>
</p:tagLst>
</file>

<file path=ppt/tags/tag349.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50.xml><?xml version="1.0" encoding="utf-8"?>
<p:tagLst xmlns:a="http://schemas.openxmlformats.org/drawingml/2006/main" xmlns:r="http://schemas.openxmlformats.org/officeDocument/2006/relationships" xmlns:p="http://schemas.openxmlformats.org/presentationml/2006/main">
  <p:tag name="[SUBGRID]" val="[SubGrid]"/>
</p:tagLst>
</file>

<file path=ppt/tags/tag351.xml><?xml version="1.0" encoding="utf-8"?>
<p:tagLst xmlns:a="http://schemas.openxmlformats.org/drawingml/2006/main" xmlns:r="http://schemas.openxmlformats.org/officeDocument/2006/relationships" xmlns:p="http://schemas.openxmlformats.org/presentationml/2006/main">
  <p:tag name="[SUBGRID]" val="[SubGrid]"/>
</p:tagLst>
</file>

<file path=ppt/tags/tag352.xml><?xml version="1.0" encoding="utf-8"?>
<p:tagLst xmlns:a="http://schemas.openxmlformats.org/drawingml/2006/main" xmlns:r="http://schemas.openxmlformats.org/officeDocument/2006/relationships" xmlns:p="http://schemas.openxmlformats.org/presentationml/2006/main">
  <p:tag name="[SUBGRID]" val="[SubGrid]"/>
</p:tagLst>
</file>

<file path=ppt/tags/tag353.xml><?xml version="1.0" encoding="utf-8"?>
<p:tagLst xmlns:a="http://schemas.openxmlformats.org/drawingml/2006/main" xmlns:r="http://schemas.openxmlformats.org/officeDocument/2006/relationships" xmlns:p="http://schemas.openxmlformats.org/presentationml/2006/main">
  <p:tag name="[SUBGRID]" val="[SubGrid]"/>
</p:tagLst>
</file>

<file path=ppt/tags/tag354.xml><?xml version="1.0" encoding="utf-8"?>
<p:tagLst xmlns:a="http://schemas.openxmlformats.org/drawingml/2006/main" xmlns:r="http://schemas.openxmlformats.org/officeDocument/2006/relationships" xmlns:p="http://schemas.openxmlformats.org/presentationml/2006/main">
  <p:tag name="[SUBGRID]" val="[SubGrid]"/>
</p:tagLst>
</file>

<file path=ppt/tags/tag355.xml><?xml version="1.0" encoding="utf-8"?>
<p:tagLst xmlns:a="http://schemas.openxmlformats.org/drawingml/2006/main" xmlns:r="http://schemas.openxmlformats.org/officeDocument/2006/relationships" xmlns:p="http://schemas.openxmlformats.org/presentationml/2006/main">
  <p:tag name="[SUBGRID]" val="[SubGrid]"/>
</p:tagLst>
</file>

<file path=ppt/tags/tag356.xml><?xml version="1.0" encoding="utf-8"?>
<p:tagLst xmlns:a="http://schemas.openxmlformats.org/drawingml/2006/main" xmlns:r="http://schemas.openxmlformats.org/officeDocument/2006/relationships" xmlns:p="http://schemas.openxmlformats.org/presentationml/2006/main">
  <p:tag name="[SUBGRID]" val="[SubGrid]"/>
</p:tagLst>
</file>

<file path=ppt/tags/tag357.xml><?xml version="1.0" encoding="utf-8"?>
<p:tagLst xmlns:a="http://schemas.openxmlformats.org/drawingml/2006/main" xmlns:r="http://schemas.openxmlformats.org/officeDocument/2006/relationships" xmlns:p="http://schemas.openxmlformats.org/presentationml/2006/main">
  <p:tag name="[SUBGRID]" val="[SubGrid]"/>
</p:tagLst>
</file>

<file path=ppt/tags/tag358.xml><?xml version="1.0" encoding="utf-8"?>
<p:tagLst xmlns:a="http://schemas.openxmlformats.org/drawingml/2006/main" xmlns:r="http://schemas.openxmlformats.org/officeDocument/2006/relationships" xmlns:p="http://schemas.openxmlformats.org/presentationml/2006/main">
  <p:tag name="[SUBGRID]" val="[SubGrid]"/>
</p:tagLst>
</file>

<file path=ppt/tags/tag359.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60.xml><?xml version="1.0" encoding="utf-8"?>
<p:tagLst xmlns:a="http://schemas.openxmlformats.org/drawingml/2006/main" xmlns:r="http://schemas.openxmlformats.org/officeDocument/2006/relationships" xmlns:p="http://schemas.openxmlformats.org/presentationml/2006/main">
  <p:tag name="[SUBGRID]" val="[SubGrid]"/>
</p:tagLst>
</file>

<file path=ppt/tags/tag361.xml><?xml version="1.0" encoding="utf-8"?>
<p:tagLst xmlns:a="http://schemas.openxmlformats.org/drawingml/2006/main" xmlns:r="http://schemas.openxmlformats.org/officeDocument/2006/relationships" xmlns:p="http://schemas.openxmlformats.org/presentationml/2006/main">
  <p:tag name="[SUBGRID]" val="[SubGrid]"/>
</p:tagLst>
</file>

<file path=ppt/tags/tag362.xml><?xml version="1.0" encoding="utf-8"?>
<p:tagLst xmlns:a="http://schemas.openxmlformats.org/drawingml/2006/main" xmlns:r="http://schemas.openxmlformats.org/officeDocument/2006/relationships" xmlns:p="http://schemas.openxmlformats.org/presentationml/2006/main">
  <p:tag name="[SUBGRID]" val="[SubGrid]"/>
</p:tagLst>
</file>

<file path=ppt/tags/tag363.xml><?xml version="1.0" encoding="utf-8"?>
<p:tagLst xmlns:a="http://schemas.openxmlformats.org/drawingml/2006/main" xmlns:r="http://schemas.openxmlformats.org/officeDocument/2006/relationships" xmlns:p="http://schemas.openxmlformats.org/presentationml/2006/main">
  <p:tag name="[SUBGRID]" val="[SubGrid]"/>
</p:tagLst>
</file>

<file path=ppt/tags/tag364.xml><?xml version="1.0" encoding="utf-8"?>
<p:tagLst xmlns:a="http://schemas.openxmlformats.org/drawingml/2006/main" xmlns:r="http://schemas.openxmlformats.org/officeDocument/2006/relationships" xmlns:p="http://schemas.openxmlformats.org/presentationml/2006/main">
  <p:tag name="[SUBGRID]" val="[SubGrid]"/>
</p:tagLst>
</file>

<file path=ppt/tags/tag365.xml><?xml version="1.0" encoding="utf-8"?>
<p:tagLst xmlns:a="http://schemas.openxmlformats.org/drawingml/2006/main" xmlns:r="http://schemas.openxmlformats.org/officeDocument/2006/relationships" xmlns:p="http://schemas.openxmlformats.org/presentationml/2006/main">
  <p:tag name="[SUBGRID]" val="[SubGrid]"/>
</p:tagLst>
</file>

<file path=ppt/tags/tag366.xml><?xml version="1.0" encoding="utf-8"?>
<p:tagLst xmlns:a="http://schemas.openxmlformats.org/drawingml/2006/main" xmlns:r="http://schemas.openxmlformats.org/officeDocument/2006/relationships" xmlns:p="http://schemas.openxmlformats.org/presentationml/2006/main">
  <p:tag name="[SUBGRID]" val="[SubGrid]"/>
</p:tagLst>
</file>

<file path=ppt/tags/tag367.xml><?xml version="1.0" encoding="utf-8"?>
<p:tagLst xmlns:a="http://schemas.openxmlformats.org/drawingml/2006/main" xmlns:r="http://schemas.openxmlformats.org/officeDocument/2006/relationships" xmlns:p="http://schemas.openxmlformats.org/presentationml/2006/main">
  <p:tag name="[SUBGRID]" val="[SubGrid]"/>
</p:tagLst>
</file>

<file path=ppt/tags/tag368.xml><?xml version="1.0" encoding="utf-8"?>
<p:tagLst xmlns:a="http://schemas.openxmlformats.org/drawingml/2006/main" xmlns:r="http://schemas.openxmlformats.org/officeDocument/2006/relationships" xmlns:p="http://schemas.openxmlformats.org/presentationml/2006/main">
  <p:tag name="[SUBGRID]" val="[SubGrid]"/>
</p:tagLst>
</file>

<file path=ppt/tags/tag369.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70.xml><?xml version="1.0" encoding="utf-8"?>
<p:tagLst xmlns:a="http://schemas.openxmlformats.org/drawingml/2006/main" xmlns:r="http://schemas.openxmlformats.org/officeDocument/2006/relationships" xmlns:p="http://schemas.openxmlformats.org/presentationml/2006/main">
  <p:tag name="[SUBGRID]" val="[SubGrid]"/>
</p:tagLst>
</file>

<file path=ppt/tags/tag371.xml><?xml version="1.0" encoding="utf-8"?>
<p:tagLst xmlns:a="http://schemas.openxmlformats.org/drawingml/2006/main" xmlns:r="http://schemas.openxmlformats.org/officeDocument/2006/relationships" xmlns:p="http://schemas.openxmlformats.org/presentationml/2006/main">
  <p:tag name="[SUBGRID]" val="[SubGrid]"/>
</p:tagLst>
</file>

<file path=ppt/tags/tag372.xml><?xml version="1.0" encoding="utf-8"?>
<p:tagLst xmlns:a="http://schemas.openxmlformats.org/drawingml/2006/main" xmlns:r="http://schemas.openxmlformats.org/officeDocument/2006/relationships" xmlns:p="http://schemas.openxmlformats.org/presentationml/2006/main">
  <p:tag name="[SUBGRID]" val="[SubGrid]"/>
</p:tagLst>
</file>

<file path=ppt/tags/tag373.xml><?xml version="1.0" encoding="utf-8"?>
<p:tagLst xmlns:a="http://schemas.openxmlformats.org/drawingml/2006/main" xmlns:r="http://schemas.openxmlformats.org/officeDocument/2006/relationships" xmlns:p="http://schemas.openxmlformats.org/presentationml/2006/main">
  <p:tag name="[SUBGRID]" val="[SubGrid]"/>
</p:tagLst>
</file>

<file path=ppt/tags/tag374.xml><?xml version="1.0" encoding="utf-8"?>
<p:tagLst xmlns:a="http://schemas.openxmlformats.org/drawingml/2006/main" xmlns:r="http://schemas.openxmlformats.org/officeDocument/2006/relationships" xmlns:p="http://schemas.openxmlformats.org/presentationml/2006/main">
  <p:tag name="[SUBGRID]" val="[SubGrid]"/>
</p:tagLst>
</file>

<file path=ppt/tags/tag375.xml><?xml version="1.0" encoding="utf-8"?>
<p:tagLst xmlns:a="http://schemas.openxmlformats.org/drawingml/2006/main" xmlns:r="http://schemas.openxmlformats.org/officeDocument/2006/relationships" xmlns:p="http://schemas.openxmlformats.org/presentationml/2006/main">
  <p:tag name="[SUBGRID]" val="[SubGrid]"/>
</p:tagLst>
</file>

<file path=ppt/tags/tag376.xml><?xml version="1.0" encoding="utf-8"?>
<p:tagLst xmlns:a="http://schemas.openxmlformats.org/drawingml/2006/main" xmlns:r="http://schemas.openxmlformats.org/officeDocument/2006/relationships" xmlns:p="http://schemas.openxmlformats.org/presentationml/2006/main">
  <p:tag name="[SUBGRID]" val="[SubGrid]"/>
</p:tagLst>
</file>

<file path=ppt/tags/tag377.xml><?xml version="1.0" encoding="utf-8"?>
<p:tagLst xmlns:a="http://schemas.openxmlformats.org/drawingml/2006/main" xmlns:r="http://schemas.openxmlformats.org/officeDocument/2006/relationships" xmlns:p="http://schemas.openxmlformats.org/presentationml/2006/main">
  <p:tag name="[SUBGRID]" val="[SubGrid]"/>
</p:tagLst>
</file>

<file path=ppt/tags/tag378.xml><?xml version="1.0" encoding="utf-8"?>
<p:tagLst xmlns:a="http://schemas.openxmlformats.org/drawingml/2006/main" xmlns:r="http://schemas.openxmlformats.org/officeDocument/2006/relationships" xmlns:p="http://schemas.openxmlformats.org/presentationml/2006/main">
  <p:tag name="[SUBGRID]" val="[SubGrid]"/>
</p:tagLst>
</file>

<file path=ppt/tags/tag379.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80.xml><?xml version="1.0" encoding="utf-8"?>
<p:tagLst xmlns:a="http://schemas.openxmlformats.org/drawingml/2006/main" xmlns:r="http://schemas.openxmlformats.org/officeDocument/2006/relationships" xmlns:p="http://schemas.openxmlformats.org/presentationml/2006/main">
  <p:tag name="[SUBGRID]" val="[SubGrid]"/>
</p:tagLst>
</file>

<file path=ppt/tags/tag381.xml><?xml version="1.0" encoding="utf-8"?>
<p:tagLst xmlns:a="http://schemas.openxmlformats.org/drawingml/2006/main" xmlns:r="http://schemas.openxmlformats.org/officeDocument/2006/relationships" xmlns:p="http://schemas.openxmlformats.org/presentationml/2006/main">
  <p:tag name="[SUBGRID]" val="[SubGrid]"/>
</p:tagLst>
</file>

<file path=ppt/tags/tag382.xml><?xml version="1.0" encoding="utf-8"?>
<p:tagLst xmlns:a="http://schemas.openxmlformats.org/drawingml/2006/main" xmlns:r="http://schemas.openxmlformats.org/officeDocument/2006/relationships" xmlns:p="http://schemas.openxmlformats.org/presentationml/2006/main">
  <p:tag name="[SUBGRID]" val="[SubGrid]"/>
</p:tagLst>
</file>

<file path=ppt/tags/tag383.xml><?xml version="1.0" encoding="utf-8"?>
<p:tagLst xmlns:a="http://schemas.openxmlformats.org/drawingml/2006/main" xmlns:r="http://schemas.openxmlformats.org/officeDocument/2006/relationships" xmlns:p="http://schemas.openxmlformats.org/presentationml/2006/main">
  <p:tag name="[SUBGRID]" val="[SubGrid]"/>
</p:tagLst>
</file>

<file path=ppt/tags/tag384.xml><?xml version="1.0" encoding="utf-8"?>
<p:tagLst xmlns:a="http://schemas.openxmlformats.org/drawingml/2006/main" xmlns:r="http://schemas.openxmlformats.org/officeDocument/2006/relationships" xmlns:p="http://schemas.openxmlformats.org/presentationml/2006/main">
  <p:tag name="[SUBGRID]" val="[SubGrid]"/>
</p:tagLst>
</file>

<file path=ppt/tags/tag385.xml><?xml version="1.0" encoding="utf-8"?>
<p:tagLst xmlns:a="http://schemas.openxmlformats.org/drawingml/2006/main" xmlns:r="http://schemas.openxmlformats.org/officeDocument/2006/relationships" xmlns:p="http://schemas.openxmlformats.org/presentationml/2006/main">
  <p:tag name="[SUBGRID]" val="[SubGrid]"/>
</p:tagLst>
</file>

<file path=ppt/tags/tag386.xml><?xml version="1.0" encoding="utf-8"?>
<p:tagLst xmlns:a="http://schemas.openxmlformats.org/drawingml/2006/main" xmlns:r="http://schemas.openxmlformats.org/officeDocument/2006/relationships" xmlns:p="http://schemas.openxmlformats.org/presentationml/2006/main">
  <p:tag name="[SUBGRID]" val="[SubGrid]"/>
</p:tagLst>
</file>

<file path=ppt/tags/tag387.xml><?xml version="1.0" encoding="utf-8"?>
<p:tagLst xmlns:a="http://schemas.openxmlformats.org/drawingml/2006/main" xmlns:r="http://schemas.openxmlformats.org/officeDocument/2006/relationships" xmlns:p="http://schemas.openxmlformats.org/presentationml/2006/main">
  <p:tag name="[SUBGRID]" val="[SubGrid]"/>
</p:tagLst>
</file>

<file path=ppt/tags/tag388.xml><?xml version="1.0" encoding="utf-8"?>
<p:tagLst xmlns:a="http://schemas.openxmlformats.org/drawingml/2006/main" xmlns:r="http://schemas.openxmlformats.org/officeDocument/2006/relationships" xmlns:p="http://schemas.openxmlformats.org/presentationml/2006/main">
  <p:tag name="[SUBGRID]" val="[SubGrid]"/>
</p:tagLst>
</file>

<file path=ppt/tags/tag389.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390.xml><?xml version="1.0" encoding="utf-8"?>
<p:tagLst xmlns:a="http://schemas.openxmlformats.org/drawingml/2006/main" xmlns:r="http://schemas.openxmlformats.org/officeDocument/2006/relationships" xmlns:p="http://schemas.openxmlformats.org/presentationml/2006/main">
  <p:tag name="[SUBGRID]" val="[SubGrid]"/>
</p:tagLst>
</file>

<file path=ppt/tags/tag391.xml><?xml version="1.0" encoding="utf-8"?>
<p:tagLst xmlns:a="http://schemas.openxmlformats.org/drawingml/2006/main" xmlns:r="http://schemas.openxmlformats.org/officeDocument/2006/relationships" xmlns:p="http://schemas.openxmlformats.org/presentationml/2006/main">
  <p:tag name="[SUBGRID]" val="[SubGrid]"/>
</p:tagLst>
</file>

<file path=ppt/tags/tag392.xml><?xml version="1.0" encoding="utf-8"?>
<p:tagLst xmlns:a="http://schemas.openxmlformats.org/drawingml/2006/main" xmlns:r="http://schemas.openxmlformats.org/officeDocument/2006/relationships" xmlns:p="http://schemas.openxmlformats.org/presentationml/2006/main">
  <p:tag name="[SUBGRID]" val="[SubGrid]"/>
</p:tagLst>
</file>

<file path=ppt/tags/tag393.xml><?xml version="1.0" encoding="utf-8"?>
<p:tagLst xmlns:a="http://schemas.openxmlformats.org/drawingml/2006/main" xmlns:r="http://schemas.openxmlformats.org/officeDocument/2006/relationships" xmlns:p="http://schemas.openxmlformats.org/presentationml/2006/main">
  <p:tag name="[SUBGRID]" val="[SubGrid]"/>
</p:tagLst>
</file>

<file path=ppt/tags/tag394.xml><?xml version="1.0" encoding="utf-8"?>
<p:tagLst xmlns:a="http://schemas.openxmlformats.org/drawingml/2006/main" xmlns:r="http://schemas.openxmlformats.org/officeDocument/2006/relationships" xmlns:p="http://schemas.openxmlformats.org/presentationml/2006/main">
  <p:tag name="[SUBGRID]" val="[SubGrid]"/>
</p:tagLst>
</file>

<file path=ppt/tags/tag395.xml><?xml version="1.0" encoding="utf-8"?>
<p:tagLst xmlns:a="http://schemas.openxmlformats.org/drawingml/2006/main" xmlns:r="http://schemas.openxmlformats.org/officeDocument/2006/relationships" xmlns:p="http://schemas.openxmlformats.org/presentationml/2006/main">
  <p:tag name="[SUBGRID]" val="[SubGrid]"/>
</p:tagLst>
</file>

<file path=ppt/tags/tag396.xml><?xml version="1.0" encoding="utf-8"?>
<p:tagLst xmlns:a="http://schemas.openxmlformats.org/drawingml/2006/main" xmlns:r="http://schemas.openxmlformats.org/officeDocument/2006/relationships" xmlns:p="http://schemas.openxmlformats.org/presentationml/2006/main">
  <p:tag name="[SUBGRID]" val="[SubGrid]"/>
</p:tagLst>
</file>

<file path=ppt/tags/tag397.xml><?xml version="1.0" encoding="utf-8"?>
<p:tagLst xmlns:a="http://schemas.openxmlformats.org/drawingml/2006/main" xmlns:r="http://schemas.openxmlformats.org/officeDocument/2006/relationships" xmlns:p="http://schemas.openxmlformats.org/presentationml/2006/main">
  <p:tag name="[SUBGRID]" val="[SubGrid]"/>
</p:tagLst>
</file>

<file path=ppt/tags/tag398.xml><?xml version="1.0" encoding="utf-8"?>
<p:tagLst xmlns:a="http://schemas.openxmlformats.org/drawingml/2006/main" xmlns:r="http://schemas.openxmlformats.org/officeDocument/2006/relationships" xmlns:p="http://schemas.openxmlformats.org/presentationml/2006/main">
  <p:tag name="[SUBGRID]" val="[SubGrid]"/>
</p:tagLst>
</file>

<file path=ppt/tags/tag39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00.xml><?xml version="1.0" encoding="utf-8"?>
<p:tagLst xmlns:a="http://schemas.openxmlformats.org/drawingml/2006/main" xmlns:r="http://schemas.openxmlformats.org/officeDocument/2006/relationships" xmlns:p="http://schemas.openxmlformats.org/presentationml/2006/main">
  <p:tag name="[SUBGRID]" val="[SubGrid]"/>
</p:tagLst>
</file>

<file path=ppt/tags/tag401.xml><?xml version="1.0" encoding="utf-8"?>
<p:tagLst xmlns:a="http://schemas.openxmlformats.org/drawingml/2006/main" xmlns:r="http://schemas.openxmlformats.org/officeDocument/2006/relationships" xmlns:p="http://schemas.openxmlformats.org/presentationml/2006/main">
  <p:tag name="[SUBGRID]" val="[SubGrid]"/>
</p:tagLst>
</file>

<file path=ppt/tags/tag402.xml><?xml version="1.0" encoding="utf-8"?>
<p:tagLst xmlns:a="http://schemas.openxmlformats.org/drawingml/2006/main" xmlns:r="http://schemas.openxmlformats.org/officeDocument/2006/relationships" xmlns:p="http://schemas.openxmlformats.org/presentationml/2006/main">
  <p:tag name="[SUBGRID]" val="[SubGrid]"/>
</p:tagLst>
</file>

<file path=ppt/tags/tag403.xml><?xml version="1.0" encoding="utf-8"?>
<p:tagLst xmlns:a="http://schemas.openxmlformats.org/drawingml/2006/main" xmlns:r="http://schemas.openxmlformats.org/officeDocument/2006/relationships" xmlns:p="http://schemas.openxmlformats.org/presentationml/2006/main">
  <p:tag name="[SUBGRID]" val="[SubGrid]"/>
</p:tagLst>
</file>

<file path=ppt/tags/tag404.xml><?xml version="1.0" encoding="utf-8"?>
<p:tagLst xmlns:a="http://schemas.openxmlformats.org/drawingml/2006/main" xmlns:r="http://schemas.openxmlformats.org/officeDocument/2006/relationships" xmlns:p="http://schemas.openxmlformats.org/presentationml/2006/main">
  <p:tag name="[SUBGRID]" val="[SubGrid]"/>
</p:tagLst>
</file>

<file path=ppt/tags/tag405.xml><?xml version="1.0" encoding="utf-8"?>
<p:tagLst xmlns:a="http://schemas.openxmlformats.org/drawingml/2006/main" xmlns:r="http://schemas.openxmlformats.org/officeDocument/2006/relationships" xmlns:p="http://schemas.openxmlformats.org/presentationml/2006/main">
  <p:tag name="[SUBGRID]" val="[SubGrid]"/>
</p:tagLst>
</file>

<file path=ppt/tags/tag406.xml><?xml version="1.0" encoding="utf-8"?>
<p:tagLst xmlns:a="http://schemas.openxmlformats.org/drawingml/2006/main" xmlns:r="http://schemas.openxmlformats.org/officeDocument/2006/relationships" xmlns:p="http://schemas.openxmlformats.org/presentationml/2006/main">
  <p:tag name="[SUBGRID]" val="[SubGrid]"/>
</p:tagLst>
</file>

<file path=ppt/tags/tag407.xml><?xml version="1.0" encoding="utf-8"?>
<p:tagLst xmlns:a="http://schemas.openxmlformats.org/drawingml/2006/main" xmlns:r="http://schemas.openxmlformats.org/officeDocument/2006/relationships" xmlns:p="http://schemas.openxmlformats.org/presentationml/2006/main">
  <p:tag name="[SUBGRID]" val="[SubGrid]"/>
</p:tagLst>
</file>

<file path=ppt/tags/tag408.xml><?xml version="1.0" encoding="utf-8"?>
<p:tagLst xmlns:a="http://schemas.openxmlformats.org/drawingml/2006/main" xmlns:r="http://schemas.openxmlformats.org/officeDocument/2006/relationships" xmlns:p="http://schemas.openxmlformats.org/presentationml/2006/main">
  <p:tag name="[SUBGRID]" val="[SubGrid]"/>
</p:tagLst>
</file>

<file path=ppt/tags/tag409.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10.xml><?xml version="1.0" encoding="utf-8"?>
<p:tagLst xmlns:a="http://schemas.openxmlformats.org/drawingml/2006/main" xmlns:r="http://schemas.openxmlformats.org/officeDocument/2006/relationships" xmlns:p="http://schemas.openxmlformats.org/presentationml/2006/main">
  <p:tag name="[SUBGRID]" val="[SubGrid]"/>
</p:tagLst>
</file>

<file path=ppt/tags/tag411.xml><?xml version="1.0" encoding="utf-8"?>
<p:tagLst xmlns:a="http://schemas.openxmlformats.org/drawingml/2006/main" xmlns:r="http://schemas.openxmlformats.org/officeDocument/2006/relationships" xmlns:p="http://schemas.openxmlformats.org/presentationml/2006/main">
  <p:tag name="[SUBGRID]" val="[SubGrid]"/>
</p:tagLst>
</file>

<file path=ppt/tags/tag412.xml><?xml version="1.0" encoding="utf-8"?>
<p:tagLst xmlns:a="http://schemas.openxmlformats.org/drawingml/2006/main" xmlns:r="http://schemas.openxmlformats.org/officeDocument/2006/relationships" xmlns:p="http://schemas.openxmlformats.org/presentationml/2006/main">
  <p:tag name="[SUBGRID]" val="[SubGrid]"/>
</p:tagLst>
</file>

<file path=ppt/tags/tag413.xml><?xml version="1.0" encoding="utf-8"?>
<p:tagLst xmlns:a="http://schemas.openxmlformats.org/drawingml/2006/main" xmlns:r="http://schemas.openxmlformats.org/officeDocument/2006/relationships" xmlns:p="http://schemas.openxmlformats.org/presentationml/2006/main">
  <p:tag name="[SUBGRID]" val="[SubGrid]"/>
</p:tagLst>
</file>

<file path=ppt/tags/tag414.xml><?xml version="1.0" encoding="utf-8"?>
<p:tagLst xmlns:a="http://schemas.openxmlformats.org/drawingml/2006/main" xmlns:r="http://schemas.openxmlformats.org/officeDocument/2006/relationships" xmlns:p="http://schemas.openxmlformats.org/presentationml/2006/main">
  <p:tag name="[SUBGRID]" val="[SubGrid]"/>
</p:tagLst>
</file>

<file path=ppt/tags/tag415.xml><?xml version="1.0" encoding="utf-8"?>
<p:tagLst xmlns:a="http://schemas.openxmlformats.org/drawingml/2006/main" xmlns:r="http://schemas.openxmlformats.org/officeDocument/2006/relationships" xmlns:p="http://schemas.openxmlformats.org/presentationml/2006/main">
  <p:tag name="[SUBGRID]" val="[SubGrid]"/>
</p:tagLst>
</file>

<file path=ppt/tags/tag416.xml><?xml version="1.0" encoding="utf-8"?>
<p:tagLst xmlns:a="http://schemas.openxmlformats.org/drawingml/2006/main" xmlns:r="http://schemas.openxmlformats.org/officeDocument/2006/relationships" xmlns:p="http://schemas.openxmlformats.org/presentationml/2006/main">
  <p:tag name="[SUBGRID]" val="[SubGrid]"/>
</p:tagLst>
</file>

<file path=ppt/tags/tag417.xml><?xml version="1.0" encoding="utf-8"?>
<p:tagLst xmlns:a="http://schemas.openxmlformats.org/drawingml/2006/main" xmlns:r="http://schemas.openxmlformats.org/officeDocument/2006/relationships" xmlns:p="http://schemas.openxmlformats.org/presentationml/2006/main">
  <p:tag name="[SUBGRID]" val="[SubGrid]"/>
</p:tagLst>
</file>

<file path=ppt/tags/tag418.xml><?xml version="1.0" encoding="utf-8"?>
<p:tagLst xmlns:a="http://schemas.openxmlformats.org/drawingml/2006/main" xmlns:r="http://schemas.openxmlformats.org/officeDocument/2006/relationships" xmlns:p="http://schemas.openxmlformats.org/presentationml/2006/main">
  <p:tag name="[SUBGRID]" val="[SubGrid]"/>
</p:tagLst>
</file>

<file path=ppt/tags/tag419.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20.xml><?xml version="1.0" encoding="utf-8"?>
<p:tagLst xmlns:a="http://schemas.openxmlformats.org/drawingml/2006/main" xmlns:r="http://schemas.openxmlformats.org/officeDocument/2006/relationships" xmlns:p="http://schemas.openxmlformats.org/presentationml/2006/main">
  <p:tag name="[SUBGRID]" val="[SubGrid]"/>
</p:tagLst>
</file>

<file path=ppt/tags/tag421.xml><?xml version="1.0" encoding="utf-8"?>
<p:tagLst xmlns:a="http://schemas.openxmlformats.org/drawingml/2006/main" xmlns:r="http://schemas.openxmlformats.org/officeDocument/2006/relationships" xmlns:p="http://schemas.openxmlformats.org/presentationml/2006/main">
  <p:tag name="[SUBGRID]" val="[SubGrid]"/>
</p:tagLst>
</file>

<file path=ppt/tags/tag422.xml><?xml version="1.0" encoding="utf-8"?>
<p:tagLst xmlns:a="http://schemas.openxmlformats.org/drawingml/2006/main" xmlns:r="http://schemas.openxmlformats.org/officeDocument/2006/relationships" xmlns:p="http://schemas.openxmlformats.org/presentationml/2006/main">
  <p:tag name="[SUBGRID]" val="[SubGrid]"/>
</p:tagLst>
</file>

<file path=ppt/tags/tag423.xml><?xml version="1.0" encoding="utf-8"?>
<p:tagLst xmlns:a="http://schemas.openxmlformats.org/drawingml/2006/main" xmlns:r="http://schemas.openxmlformats.org/officeDocument/2006/relationships" xmlns:p="http://schemas.openxmlformats.org/presentationml/2006/main">
  <p:tag name="[SUBGRID]" val="[SubGrid]"/>
</p:tagLst>
</file>

<file path=ppt/tags/tag424.xml><?xml version="1.0" encoding="utf-8"?>
<p:tagLst xmlns:a="http://schemas.openxmlformats.org/drawingml/2006/main" xmlns:r="http://schemas.openxmlformats.org/officeDocument/2006/relationships" xmlns:p="http://schemas.openxmlformats.org/presentationml/2006/main">
  <p:tag name="[SUBGRID]" val="[SubGrid]"/>
</p:tagLst>
</file>

<file path=ppt/tags/tag425.xml><?xml version="1.0" encoding="utf-8"?>
<p:tagLst xmlns:a="http://schemas.openxmlformats.org/drawingml/2006/main" xmlns:r="http://schemas.openxmlformats.org/officeDocument/2006/relationships" xmlns:p="http://schemas.openxmlformats.org/presentationml/2006/main">
  <p:tag name="[SUBGRID]" val="[SubGrid]"/>
</p:tagLst>
</file>

<file path=ppt/tags/tag426.xml><?xml version="1.0" encoding="utf-8"?>
<p:tagLst xmlns:a="http://schemas.openxmlformats.org/drawingml/2006/main" xmlns:r="http://schemas.openxmlformats.org/officeDocument/2006/relationships" xmlns:p="http://schemas.openxmlformats.org/presentationml/2006/main">
  <p:tag name="[SUBGRID]" val="[SubGrid]"/>
</p:tagLst>
</file>

<file path=ppt/tags/tag427.xml><?xml version="1.0" encoding="utf-8"?>
<p:tagLst xmlns:a="http://schemas.openxmlformats.org/drawingml/2006/main" xmlns:r="http://schemas.openxmlformats.org/officeDocument/2006/relationships" xmlns:p="http://schemas.openxmlformats.org/presentationml/2006/main">
  <p:tag name="[SUBGRID]" val="[SubGrid]"/>
</p:tagLst>
</file>

<file path=ppt/tags/tag428.xml><?xml version="1.0" encoding="utf-8"?>
<p:tagLst xmlns:a="http://schemas.openxmlformats.org/drawingml/2006/main" xmlns:r="http://schemas.openxmlformats.org/officeDocument/2006/relationships" xmlns:p="http://schemas.openxmlformats.org/presentationml/2006/main">
  <p:tag name="[SUBGRID]" val="[SubGrid]"/>
</p:tagLst>
</file>

<file path=ppt/tags/tag429.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30.xml><?xml version="1.0" encoding="utf-8"?>
<p:tagLst xmlns:a="http://schemas.openxmlformats.org/drawingml/2006/main" xmlns:r="http://schemas.openxmlformats.org/officeDocument/2006/relationships" xmlns:p="http://schemas.openxmlformats.org/presentationml/2006/main">
  <p:tag name="[SUBGRID]" val="[SubGrid]"/>
</p:tagLst>
</file>

<file path=ppt/tags/tag431.xml><?xml version="1.0" encoding="utf-8"?>
<p:tagLst xmlns:a="http://schemas.openxmlformats.org/drawingml/2006/main" xmlns:r="http://schemas.openxmlformats.org/officeDocument/2006/relationships" xmlns:p="http://schemas.openxmlformats.org/presentationml/2006/main">
  <p:tag name="[SUBGRID]" val="[SubGrid]"/>
</p:tagLst>
</file>

<file path=ppt/tags/tag432.xml><?xml version="1.0" encoding="utf-8"?>
<p:tagLst xmlns:a="http://schemas.openxmlformats.org/drawingml/2006/main" xmlns:r="http://schemas.openxmlformats.org/officeDocument/2006/relationships" xmlns:p="http://schemas.openxmlformats.org/presentationml/2006/main">
  <p:tag name="[SUBGRID]" val="[SubGrid]"/>
</p:tagLst>
</file>

<file path=ppt/tags/tag433.xml><?xml version="1.0" encoding="utf-8"?>
<p:tagLst xmlns:a="http://schemas.openxmlformats.org/drawingml/2006/main" xmlns:r="http://schemas.openxmlformats.org/officeDocument/2006/relationships" xmlns:p="http://schemas.openxmlformats.org/presentationml/2006/main">
  <p:tag name="[SUBGRID]" val="[SubGrid]"/>
</p:tagLst>
</file>

<file path=ppt/tags/tag434.xml><?xml version="1.0" encoding="utf-8"?>
<p:tagLst xmlns:a="http://schemas.openxmlformats.org/drawingml/2006/main" xmlns:r="http://schemas.openxmlformats.org/officeDocument/2006/relationships" xmlns:p="http://schemas.openxmlformats.org/presentationml/2006/main">
  <p:tag name="[SUBGRID]" val="[SubGrid]"/>
</p:tagLst>
</file>

<file path=ppt/tags/tag435.xml><?xml version="1.0" encoding="utf-8"?>
<p:tagLst xmlns:a="http://schemas.openxmlformats.org/drawingml/2006/main" xmlns:r="http://schemas.openxmlformats.org/officeDocument/2006/relationships" xmlns:p="http://schemas.openxmlformats.org/presentationml/2006/main">
  <p:tag name="[SUBGRID]" val="[SubGrid]"/>
</p:tagLst>
</file>

<file path=ppt/tags/tag436.xml><?xml version="1.0" encoding="utf-8"?>
<p:tagLst xmlns:a="http://schemas.openxmlformats.org/drawingml/2006/main" xmlns:r="http://schemas.openxmlformats.org/officeDocument/2006/relationships" xmlns:p="http://schemas.openxmlformats.org/presentationml/2006/main">
  <p:tag name="[SUBGRID]" val="[SubGrid]"/>
</p:tagLst>
</file>

<file path=ppt/tags/tag437.xml><?xml version="1.0" encoding="utf-8"?>
<p:tagLst xmlns:a="http://schemas.openxmlformats.org/drawingml/2006/main" xmlns:r="http://schemas.openxmlformats.org/officeDocument/2006/relationships" xmlns:p="http://schemas.openxmlformats.org/presentationml/2006/main">
  <p:tag name="[SUBGRID]" val="[SubGrid]"/>
</p:tagLst>
</file>

<file path=ppt/tags/tag438.xml><?xml version="1.0" encoding="utf-8"?>
<p:tagLst xmlns:a="http://schemas.openxmlformats.org/drawingml/2006/main" xmlns:r="http://schemas.openxmlformats.org/officeDocument/2006/relationships" xmlns:p="http://schemas.openxmlformats.org/presentationml/2006/main">
  <p:tag name="[SUBGRID]" val="[SubGrid]"/>
</p:tagLst>
</file>

<file path=ppt/tags/tag439.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40.xml><?xml version="1.0" encoding="utf-8"?>
<p:tagLst xmlns:a="http://schemas.openxmlformats.org/drawingml/2006/main" xmlns:r="http://schemas.openxmlformats.org/officeDocument/2006/relationships" xmlns:p="http://schemas.openxmlformats.org/presentationml/2006/main">
  <p:tag name="[SUBGRID]" val="[SubGrid]"/>
</p:tagLst>
</file>

<file path=ppt/tags/tag441.xml><?xml version="1.0" encoding="utf-8"?>
<p:tagLst xmlns:a="http://schemas.openxmlformats.org/drawingml/2006/main" xmlns:r="http://schemas.openxmlformats.org/officeDocument/2006/relationships" xmlns:p="http://schemas.openxmlformats.org/presentationml/2006/main">
  <p:tag name="[SUBGRID]" val="[SubGrid]"/>
</p:tagLst>
</file>

<file path=ppt/tags/tag442.xml><?xml version="1.0" encoding="utf-8"?>
<p:tagLst xmlns:a="http://schemas.openxmlformats.org/drawingml/2006/main" xmlns:r="http://schemas.openxmlformats.org/officeDocument/2006/relationships" xmlns:p="http://schemas.openxmlformats.org/presentationml/2006/main">
  <p:tag name="[SUBGRID]" val="[SubGrid]"/>
</p:tagLst>
</file>

<file path=ppt/tags/tag443.xml><?xml version="1.0" encoding="utf-8"?>
<p:tagLst xmlns:a="http://schemas.openxmlformats.org/drawingml/2006/main" xmlns:r="http://schemas.openxmlformats.org/officeDocument/2006/relationships" xmlns:p="http://schemas.openxmlformats.org/presentationml/2006/main">
  <p:tag name="[SUBGRID]" val="[SubGrid]"/>
</p:tagLst>
</file>

<file path=ppt/tags/tag444.xml><?xml version="1.0" encoding="utf-8"?>
<p:tagLst xmlns:a="http://schemas.openxmlformats.org/drawingml/2006/main" xmlns:r="http://schemas.openxmlformats.org/officeDocument/2006/relationships" xmlns:p="http://schemas.openxmlformats.org/presentationml/2006/main">
  <p:tag name="[SUBGRID]" val="[SubGrid]"/>
</p:tagLst>
</file>

<file path=ppt/tags/tag445.xml><?xml version="1.0" encoding="utf-8"?>
<p:tagLst xmlns:a="http://schemas.openxmlformats.org/drawingml/2006/main" xmlns:r="http://schemas.openxmlformats.org/officeDocument/2006/relationships" xmlns:p="http://schemas.openxmlformats.org/presentationml/2006/main">
  <p:tag name="[SUBGRID]" val="[SubGrid]"/>
</p:tagLst>
</file>

<file path=ppt/tags/tag446.xml><?xml version="1.0" encoding="utf-8"?>
<p:tagLst xmlns:a="http://schemas.openxmlformats.org/drawingml/2006/main" xmlns:r="http://schemas.openxmlformats.org/officeDocument/2006/relationships" xmlns:p="http://schemas.openxmlformats.org/presentationml/2006/main">
  <p:tag name="[SUBGRID]" val="[SubGrid]"/>
</p:tagLst>
</file>

<file path=ppt/tags/tag447.xml><?xml version="1.0" encoding="utf-8"?>
<p:tagLst xmlns:a="http://schemas.openxmlformats.org/drawingml/2006/main" xmlns:r="http://schemas.openxmlformats.org/officeDocument/2006/relationships" xmlns:p="http://schemas.openxmlformats.org/presentationml/2006/main">
  <p:tag name="[SUBGRID]" val="[SubGrid]"/>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50.xml><?xml version="1.0" encoding="utf-8"?>
<p:tagLst xmlns:a="http://schemas.openxmlformats.org/drawingml/2006/main" xmlns:r="http://schemas.openxmlformats.org/officeDocument/2006/relationships" xmlns:p="http://schemas.openxmlformats.org/presentationml/2006/main">
  <p:tag name="[SUBGRID]" val="[SubGrid]"/>
</p:tagLst>
</file>

<file path=ppt/tags/tag451.xml><?xml version="1.0" encoding="utf-8"?>
<p:tagLst xmlns:a="http://schemas.openxmlformats.org/drawingml/2006/main" xmlns:r="http://schemas.openxmlformats.org/officeDocument/2006/relationships" xmlns:p="http://schemas.openxmlformats.org/presentationml/2006/main">
  <p:tag name="[SUBGRID]" val="[SubGrid]"/>
</p:tagLst>
</file>

<file path=ppt/tags/tag452.xml><?xml version="1.0" encoding="utf-8"?>
<p:tagLst xmlns:a="http://schemas.openxmlformats.org/drawingml/2006/main" xmlns:r="http://schemas.openxmlformats.org/officeDocument/2006/relationships" xmlns:p="http://schemas.openxmlformats.org/presentationml/2006/main">
  <p:tag name="[SUBGRID]" val="[SubGrid]"/>
</p:tagLst>
</file>

<file path=ppt/tags/tag453.xml><?xml version="1.0" encoding="utf-8"?>
<p:tagLst xmlns:a="http://schemas.openxmlformats.org/drawingml/2006/main" xmlns:r="http://schemas.openxmlformats.org/officeDocument/2006/relationships" xmlns:p="http://schemas.openxmlformats.org/presentationml/2006/main">
  <p:tag name="[SUBGRID]" val="[SubGrid]"/>
</p:tagLst>
</file>

<file path=ppt/tags/tag454.xml><?xml version="1.0" encoding="utf-8"?>
<p:tagLst xmlns:a="http://schemas.openxmlformats.org/drawingml/2006/main" xmlns:r="http://schemas.openxmlformats.org/officeDocument/2006/relationships" xmlns:p="http://schemas.openxmlformats.org/presentationml/2006/main">
  <p:tag name="[SUBGRID]" val="[SubGrid]"/>
</p:tagLst>
</file>

<file path=ppt/tags/tag455.xml><?xml version="1.0" encoding="utf-8"?>
<p:tagLst xmlns:a="http://schemas.openxmlformats.org/drawingml/2006/main" xmlns:r="http://schemas.openxmlformats.org/officeDocument/2006/relationships" xmlns:p="http://schemas.openxmlformats.org/presentationml/2006/main">
  <p:tag name="[SUBGRID]" val="[SubGrid]"/>
</p:tagLst>
</file>

<file path=ppt/tags/tag456.xml><?xml version="1.0" encoding="utf-8"?>
<p:tagLst xmlns:a="http://schemas.openxmlformats.org/drawingml/2006/main" xmlns:r="http://schemas.openxmlformats.org/officeDocument/2006/relationships" xmlns:p="http://schemas.openxmlformats.org/presentationml/2006/main">
  <p:tag name="[SUBGRID]" val="[SubGrid]"/>
</p:tagLst>
</file>

<file path=ppt/tags/tag457.xml><?xml version="1.0" encoding="utf-8"?>
<p:tagLst xmlns:a="http://schemas.openxmlformats.org/drawingml/2006/main" xmlns:r="http://schemas.openxmlformats.org/officeDocument/2006/relationships" xmlns:p="http://schemas.openxmlformats.org/presentationml/2006/main">
  <p:tag name="[SUBGRID]" val="[SubGrid]"/>
</p:tagLst>
</file>

<file path=ppt/tags/tag458.xml><?xml version="1.0" encoding="utf-8"?>
<p:tagLst xmlns:a="http://schemas.openxmlformats.org/drawingml/2006/main" xmlns:r="http://schemas.openxmlformats.org/officeDocument/2006/relationships" xmlns:p="http://schemas.openxmlformats.org/presentationml/2006/main">
  <p:tag name="[SUBGRID]" val="[SubGrid]"/>
</p:tagLst>
</file>

<file path=ppt/tags/tag459.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60.xml><?xml version="1.0" encoding="utf-8"?>
<p:tagLst xmlns:a="http://schemas.openxmlformats.org/drawingml/2006/main" xmlns:r="http://schemas.openxmlformats.org/officeDocument/2006/relationships" xmlns:p="http://schemas.openxmlformats.org/presentationml/2006/main">
  <p:tag name="[SUBGRID]" val="[SubGrid]"/>
</p:tagLst>
</file>

<file path=ppt/tags/tag461.xml><?xml version="1.0" encoding="utf-8"?>
<p:tagLst xmlns:a="http://schemas.openxmlformats.org/drawingml/2006/main" xmlns:r="http://schemas.openxmlformats.org/officeDocument/2006/relationships" xmlns:p="http://schemas.openxmlformats.org/presentationml/2006/main">
  <p:tag name="[SUBGRID]" val="[SubGrid]"/>
</p:tagLst>
</file>

<file path=ppt/tags/tag462.xml><?xml version="1.0" encoding="utf-8"?>
<p:tagLst xmlns:a="http://schemas.openxmlformats.org/drawingml/2006/main" xmlns:r="http://schemas.openxmlformats.org/officeDocument/2006/relationships" xmlns:p="http://schemas.openxmlformats.org/presentationml/2006/main">
  <p:tag name="[SUBGRID]" val="[SubGrid]"/>
</p:tagLst>
</file>

<file path=ppt/tags/tag463.xml><?xml version="1.0" encoding="utf-8"?>
<p:tagLst xmlns:a="http://schemas.openxmlformats.org/drawingml/2006/main" xmlns:r="http://schemas.openxmlformats.org/officeDocument/2006/relationships" xmlns:p="http://schemas.openxmlformats.org/presentationml/2006/main">
  <p:tag name="[SUBGRID]" val="[SubGrid]"/>
</p:tagLst>
</file>

<file path=ppt/tags/tag464.xml><?xml version="1.0" encoding="utf-8"?>
<p:tagLst xmlns:a="http://schemas.openxmlformats.org/drawingml/2006/main" xmlns:r="http://schemas.openxmlformats.org/officeDocument/2006/relationships" xmlns:p="http://schemas.openxmlformats.org/presentationml/2006/main">
  <p:tag name="[SUBGRID]" val="[SubGrid]"/>
</p:tagLst>
</file>

<file path=ppt/tags/tag465.xml><?xml version="1.0" encoding="utf-8"?>
<p:tagLst xmlns:a="http://schemas.openxmlformats.org/drawingml/2006/main" xmlns:r="http://schemas.openxmlformats.org/officeDocument/2006/relationships" xmlns:p="http://schemas.openxmlformats.org/presentationml/2006/main">
  <p:tag name="[SUBGRID]" val="[SubGrid]"/>
</p:tagLst>
</file>

<file path=ppt/tags/tag466.xml><?xml version="1.0" encoding="utf-8"?>
<p:tagLst xmlns:a="http://schemas.openxmlformats.org/drawingml/2006/main" xmlns:r="http://schemas.openxmlformats.org/officeDocument/2006/relationships" xmlns:p="http://schemas.openxmlformats.org/presentationml/2006/main">
  <p:tag name="[SUBGRID]" val="[SubGrid]"/>
</p:tagLst>
</file>

<file path=ppt/tags/tag467.xml><?xml version="1.0" encoding="utf-8"?>
<p:tagLst xmlns:a="http://schemas.openxmlformats.org/drawingml/2006/main" xmlns:r="http://schemas.openxmlformats.org/officeDocument/2006/relationships" xmlns:p="http://schemas.openxmlformats.org/presentationml/2006/main">
  <p:tag name="[SUBGRID]" val="[SubGrid]"/>
</p:tagLst>
</file>

<file path=ppt/tags/tag468.xml><?xml version="1.0" encoding="utf-8"?>
<p:tagLst xmlns:a="http://schemas.openxmlformats.org/drawingml/2006/main" xmlns:r="http://schemas.openxmlformats.org/officeDocument/2006/relationships" xmlns:p="http://schemas.openxmlformats.org/presentationml/2006/main">
  <p:tag name="[SUBGRID]" val="[SubGrid]"/>
</p:tagLst>
</file>

<file path=ppt/tags/tag469.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70.xml><?xml version="1.0" encoding="utf-8"?>
<p:tagLst xmlns:a="http://schemas.openxmlformats.org/drawingml/2006/main" xmlns:r="http://schemas.openxmlformats.org/officeDocument/2006/relationships" xmlns:p="http://schemas.openxmlformats.org/presentationml/2006/main">
  <p:tag name="[SUBGRID]" val="[SubGrid]"/>
</p:tagLst>
</file>

<file path=ppt/tags/tag471.xml><?xml version="1.0" encoding="utf-8"?>
<p:tagLst xmlns:a="http://schemas.openxmlformats.org/drawingml/2006/main" xmlns:r="http://schemas.openxmlformats.org/officeDocument/2006/relationships" xmlns:p="http://schemas.openxmlformats.org/presentationml/2006/main">
  <p:tag name="[SUBGRID]" val="[SubGrid]"/>
</p:tagLst>
</file>

<file path=ppt/tags/tag472.xml><?xml version="1.0" encoding="utf-8"?>
<p:tagLst xmlns:a="http://schemas.openxmlformats.org/drawingml/2006/main" xmlns:r="http://schemas.openxmlformats.org/officeDocument/2006/relationships" xmlns:p="http://schemas.openxmlformats.org/presentationml/2006/main">
  <p:tag name="[SUBGRID]" val="[SubGrid]"/>
</p:tagLst>
</file>

<file path=ppt/tags/tag473.xml><?xml version="1.0" encoding="utf-8"?>
<p:tagLst xmlns:a="http://schemas.openxmlformats.org/drawingml/2006/main" xmlns:r="http://schemas.openxmlformats.org/officeDocument/2006/relationships" xmlns:p="http://schemas.openxmlformats.org/presentationml/2006/main">
  <p:tag name="[SUBGRID]" val="[SubGrid]"/>
</p:tagLst>
</file>

<file path=ppt/tags/tag474.xml><?xml version="1.0" encoding="utf-8"?>
<p:tagLst xmlns:a="http://schemas.openxmlformats.org/drawingml/2006/main" xmlns:r="http://schemas.openxmlformats.org/officeDocument/2006/relationships" xmlns:p="http://schemas.openxmlformats.org/presentationml/2006/main">
  <p:tag name="[SUBGRID]" val="[SubGrid]"/>
</p:tagLst>
</file>

<file path=ppt/tags/tag475.xml><?xml version="1.0" encoding="utf-8"?>
<p:tagLst xmlns:a="http://schemas.openxmlformats.org/drawingml/2006/main" xmlns:r="http://schemas.openxmlformats.org/officeDocument/2006/relationships" xmlns:p="http://schemas.openxmlformats.org/presentationml/2006/main">
  <p:tag name="[SUBGRID]" val="[SubGrid]"/>
</p:tagLst>
</file>

<file path=ppt/tags/tag476.xml><?xml version="1.0" encoding="utf-8"?>
<p:tagLst xmlns:a="http://schemas.openxmlformats.org/drawingml/2006/main" xmlns:r="http://schemas.openxmlformats.org/officeDocument/2006/relationships" xmlns:p="http://schemas.openxmlformats.org/presentationml/2006/main">
  <p:tag name="[SUBGRID]" val="[SubGrid]"/>
</p:tagLst>
</file>

<file path=ppt/tags/tag477.xml><?xml version="1.0" encoding="utf-8"?>
<p:tagLst xmlns:a="http://schemas.openxmlformats.org/drawingml/2006/main" xmlns:r="http://schemas.openxmlformats.org/officeDocument/2006/relationships" xmlns:p="http://schemas.openxmlformats.org/presentationml/2006/main">
  <p:tag name="[SUBGRID]" val="[SubGrid]"/>
</p:tagLst>
</file>

<file path=ppt/tags/tag478.xml><?xml version="1.0" encoding="utf-8"?>
<p:tagLst xmlns:a="http://schemas.openxmlformats.org/drawingml/2006/main" xmlns:r="http://schemas.openxmlformats.org/officeDocument/2006/relationships" xmlns:p="http://schemas.openxmlformats.org/presentationml/2006/main">
  <p:tag name="[SUBGRID]" val="[SubGrid]"/>
</p:tagLst>
</file>

<file path=ppt/tags/tag479.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80.xml><?xml version="1.0" encoding="utf-8"?>
<p:tagLst xmlns:a="http://schemas.openxmlformats.org/drawingml/2006/main" xmlns:r="http://schemas.openxmlformats.org/officeDocument/2006/relationships" xmlns:p="http://schemas.openxmlformats.org/presentationml/2006/main">
  <p:tag name="[SUBGRID]" val="[SubGrid]"/>
</p:tagLst>
</file>

<file path=ppt/tags/tag481.xml><?xml version="1.0" encoding="utf-8"?>
<p:tagLst xmlns:a="http://schemas.openxmlformats.org/drawingml/2006/main" xmlns:r="http://schemas.openxmlformats.org/officeDocument/2006/relationships" xmlns:p="http://schemas.openxmlformats.org/presentationml/2006/main">
  <p:tag name="[SUBGRID]" val="[SubGrid]"/>
</p:tagLst>
</file>

<file path=ppt/tags/tag482.xml><?xml version="1.0" encoding="utf-8"?>
<p:tagLst xmlns:a="http://schemas.openxmlformats.org/drawingml/2006/main" xmlns:r="http://schemas.openxmlformats.org/officeDocument/2006/relationships" xmlns:p="http://schemas.openxmlformats.org/presentationml/2006/main">
  <p:tag name="[SUBGRID]" val="[SubGrid]"/>
</p:tagLst>
</file>

<file path=ppt/tags/tag483.xml><?xml version="1.0" encoding="utf-8"?>
<p:tagLst xmlns:a="http://schemas.openxmlformats.org/drawingml/2006/main" xmlns:r="http://schemas.openxmlformats.org/officeDocument/2006/relationships" xmlns:p="http://schemas.openxmlformats.org/presentationml/2006/main">
  <p:tag name="[SUBGRID]" val="[SubGrid]"/>
</p:tagLst>
</file>

<file path=ppt/tags/tag484.xml><?xml version="1.0" encoding="utf-8"?>
<p:tagLst xmlns:a="http://schemas.openxmlformats.org/drawingml/2006/main" xmlns:r="http://schemas.openxmlformats.org/officeDocument/2006/relationships" xmlns:p="http://schemas.openxmlformats.org/presentationml/2006/main">
  <p:tag name="[SUBGRID]" val="[SubGrid]"/>
</p:tagLst>
</file>

<file path=ppt/tags/tag485.xml><?xml version="1.0" encoding="utf-8"?>
<p:tagLst xmlns:a="http://schemas.openxmlformats.org/drawingml/2006/main" xmlns:r="http://schemas.openxmlformats.org/officeDocument/2006/relationships" xmlns:p="http://schemas.openxmlformats.org/presentationml/2006/main">
  <p:tag name="[SUBGRID]" val="[SubGrid]"/>
</p:tagLst>
</file>

<file path=ppt/tags/tag486.xml><?xml version="1.0" encoding="utf-8"?>
<p:tagLst xmlns:a="http://schemas.openxmlformats.org/drawingml/2006/main" xmlns:r="http://schemas.openxmlformats.org/officeDocument/2006/relationships" xmlns:p="http://schemas.openxmlformats.org/presentationml/2006/main">
  <p:tag name="[SUBGRID]" val="[SubGrid]"/>
</p:tagLst>
</file>

<file path=ppt/tags/tag487.xml><?xml version="1.0" encoding="utf-8"?>
<p:tagLst xmlns:a="http://schemas.openxmlformats.org/drawingml/2006/main" xmlns:r="http://schemas.openxmlformats.org/officeDocument/2006/relationships" xmlns:p="http://schemas.openxmlformats.org/presentationml/2006/main">
  <p:tag name="[SUBGRID]" val="[SubGrid]"/>
</p:tagLst>
</file>

<file path=ppt/tags/tag488.xml><?xml version="1.0" encoding="utf-8"?>
<p:tagLst xmlns:a="http://schemas.openxmlformats.org/drawingml/2006/main" xmlns:r="http://schemas.openxmlformats.org/officeDocument/2006/relationships" xmlns:p="http://schemas.openxmlformats.org/presentationml/2006/main">
  <p:tag name="[SUBGRID]" val="[SubGrid]"/>
</p:tagLst>
</file>

<file path=ppt/tags/tag489.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490.xml><?xml version="1.0" encoding="utf-8"?>
<p:tagLst xmlns:a="http://schemas.openxmlformats.org/drawingml/2006/main" xmlns:r="http://schemas.openxmlformats.org/officeDocument/2006/relationships" xmlns:p="http://schemas.openxmlformats.org/presentationml/2006/main">
  <p:tag name="[SUBGRID]" val="[SubGrid]"/>
</p:tagLst>
</file>

<file path=ppt/tags/tag491.xml><?xml version="1.0" encoding="utf-8"?>
<p:tagLst xmlns:a="http://schemas.openxmlformats.org/drawingml/2006/main" xmlns:r="http://schemas.openxmlformats.org/officeDocument/2006/relationships" xmlns:p="http://schemas.openxmlformats.org/presentationml/2006/main">
  <p:tag name="[SUBGRID]" val="[SubGrid]"/>
</p:tagLst>
</file>

<file path=ppt/tags/tag492.xml><?xml version="1.0" encoding="utf-8"?>
<p:tagLst xmlns:a="http://schemas.openxmlformats.org/drawingml/2006/main" xmlns:r="http://schemas.openxmlformats.org/officeDocument/2006/relationships" xmlns:p="http://schemas.openxmlformats.org/presentationml/2006/main">
  <p:tag name="[SUBGRID]" val="[SubGrid]"/>
</p:tagLst>
</file>

<file path=ppt/tags/tag493.xml><?xml version="1.0" encoding="utf-8"?>
<p:tagLst xmlns:a="http://schemas.openxmlformats.org/drawingml/2006/main" xmlns:r="http://schemas.openxmlformats.org/officeDocument/2006/relationships" xmlns:p="http://schemas.openxmlformats.org/presentationml/2006/main">
  <p:tag name="[SUBGRID]" val="[SubGrid]"/>
</p:tagLst>
</file>

<file path=ppt/tags/tag494.xml><?xml version="1.0" encoding="utf-8"?>
<p:tagLst xmlns:a="http://schemas.openxmlformats.org/drawingml/2006/main" xmlns:r="http://schemas.openxmlformats.org/officeDocument/2006/relationships" xmlns:p="http://schemas.openxmlformats.org/presentationml/2006/main">
  <p:tag name="[SUBGRID]" val="[SubGrid]"/>
</p:tagLst>
</file>

<file path=ppt/tags/tag495.xml><?xml version="1.0" encoding="utf-8"?>
<p:tagLst xmlns:a="http://schemas.openxmlformats.org/drawingml/2006/main" xmlns:r="http://schemas.openxmlformats.org/officeDocument/2006/relationships" xmlns:p="http://schemas.openxmlformats.org/presentationml/2006/main">
  <p:tag name="[SUBGRID]" val="[SubGrid]"/>
</p:tagLst>
</file>

<file path=ppt/tags/tag496.xml><?xml version="1.0" encoding="utf-8"?>
<p:tagLst xmlns:a="http://schemas.openxmlformats.org/drawingml/2006/main" xmlns:r="http://schemas.openxmlformats.org/officeDocument/2006/relationships" xmlns:p="http://schemas.openxmlformats.org/presentationml/2006/main">
  <p:tag name="[SUBGRID]" val="[SubGrid]"/>
</p:tagLst>
</file>

<file path=ppt/tags/tag497.xml><?xml version="1.0" encoding="utf-8"?>
<p:tagLst xmlns:a="http://schemas.openxmlformats.org/drawingml/2006/main" xmlns:r="http://schemas.openxmlformats.org/officeDocument/2006/relationships" xmlns:p="http://schemas.openxmlformats.org/presentationml/2006/main">
  <p:tag name="[SUBGRID]" val="[SubGrid]"/>
</p:tagLst>
</file>

<file path=ppt/tags/tag498.xml><?xml version="1.0" encoding="utf-8"?>
<p:tagLst xmlns:a="http://schemas.openxmlformats.org/drawingml/2006/main" xmlns:r="http://schemas.openxmlformats.org/officeDocument/2006/relationships" xmlns:p="http://schemas.openxmlformats.org/presentationml/2006/main">
  <p:tag name="[SUBGRID]" val="[SubGrid]"/>
</p:tagLst>
</file>

<file path=ppt/tags/tag49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00.xml><?xml version="1.0" encoding="utf-8"?>
<p:tagLst xmlns:a="http://schemas.openxmlformats.org/drawingml/2006/main" xmlns:r="http://schemas.openxmlformats.org/officeDocument/2006/relationships" xmlns:p="http://schemas.openxmlformats.org/presentationml/2006/main">
  <p:tag name="[SUBGRID]" val="[SubGrid]"/>
</p:tagLst>
</file>

<file path=ppt/tags/tag501.xml><?xml version="1.0" encoding="utf-8"?>
<p:tagLst xmlns:a="http://schemas.openxmlformats.org/drawingml/2006/main" xmlns:r="http://schemas.openxmlformats.org/officeDocument/2006/relationships" xmlns:p="http://schemas.openxmlformats.org/presentationml/2006/main">
  <p:tag name="[SUBGRID]" val="[SubGrid]"/>
</p:tagLst>
</file>

<file path=ppt/tags/tag502.xml><?xml version="1.0" encoding="utf-8"?>
<p:tagLst xmlns:a="http://schemas.openxmlformats.org/drawingml/2006/main" xmlns:r="http://schemas.openxmlformats.org/officeDocument/2006/relationships" xmlns:p="http://schemas.openxmlformats.org/presentationml/2006/main">
  <p:tag name="[SUBGRID]" val="[SubGrid]"/>
</p:tagLst>
</file>

<file path=ppt/tags/tag503.xml><?xml version="1.0" encoding="utf-8"?>
<p:tagLst xmlns:a="http://schemas.openxmlformats.org/drawingml/2006/main" xmlns:r="http://schemas.openxmlformats.org/officeDocument/2006/relationships" xmlns:p="http://schemas.openxmlformats.org/presentationml/2006/main">
  <p:tag name="[SUBGRID]" val="[SubGrid]"/>
</p:tagLst>
</file>

<file path=ppt/tags/tag504.xml><?xml version="1.0" encoding="utf-8"?>
<p:tagLst xmlns:a="http://schemas.openxmlformats.org/drawingml/2006/main" xmlns:r="http://schemas.openxmlformats.org/officeDocument/2006/relationships" xmlns:p="http://schemas.openxmlformats.org/presentationml/2006/main">
  <p:tag name="[SUBGRID]" val="[SubGrid]"/>
</p:tagLst>
</file>

<file path=ppt/tags/tag505.xml><?xml version="1.0" encoding="utf-8"?>
<p:tagLst xmlns:a="http://schemas.openxmlformats.org/drawingml/2006/main" xmlns:r="http://schemas.openxmlformats.org/officeDocument/2006/relationships" xmlns:p="http://schemas.openxmlformats.org/presentationml/2006/main">
  <p:tag name="[SUBGRID]" val="[SubGrid]"/>
</p:tagLst>
</file>

<file path=ppt/tags/tag506.xml><?xml version="1.0" encoding="utf-8"?>
<p:tagLst xmlns:a="http://schemas.openxmlformats.org/drawingml/2006/main" xmlns:r="http://schemas.openxmlformats.org/officeDocument/2006/relationships" xmlns:p="http://schemas.openxmlformats.org/presentationml/2006/main">
  <p:tag name="[SUBGRID]" val="[SubGrid]"/>
</p:tagLst>
</file>

<file path=ppt/tags/tag507.xml><?xml version="1.0" encoding="utf-8"?>
<p:tagLst xmlns:a="http://schemas.openxmlformats.org/drawingml/2006/main" xmlns:r="http://schemas.openxmlformats.org/officeDocument/2006/relationships" xmlns:p="http://schemas.openxmlformats.org/presentationml/2006/main">
  <p:tag name="[SUBGRID]" val="[SubGrid]"/>
</p:tagLst>
</file>

<file path=ppt/tags/tag508.xml><?xml version="1.0" encoding="utf-8"?>
<p:tagLst xmlns:a="http://schemas.openxmlformats.org/drawingml/2006/main" xmlns:r="http://schemas.openxmlformats.org/officeDocument/2006/relationships" xmlns:p="http://schemas.openxmlformats.org/presentationml/2006/main">
  <p:tag name="[SUBGRID]" val="[SubGrid]"/>
</p:tagLst>
</file>

<file path=ppt/tags/tag509.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10.xml><?xml version="1.0" encoding="utf-8"?>
<p:tagLst xmlns:a="http://schemas.openxmlformats.org/drawingml/2006/main" xmlns:r="http://schemas.openxmlformats.org/officeDocument/2006/relationships" xmlns:p="http://schemas.openxmlformats.org/presentationml/2006/main">
  <p:tag name="[SUBGRID]" val="[SubGrid]"/>
</p:tagLst>
</file>

<file path=ppt/tags/tag511.xml><?xml version="1.0" encoding="utf-8"?>
<p:tagLst xmlns:a="http://schemas.openxmlformats.org/drawingml/2006/main" xmlns:r="http://schemas.openxmlformats.org/officeDocument/2006/relationships" xmlns:p="http://schemas.openxmlformats.org/presentationml/2006/main">
  <p:tag name="[SUBGRID]" val="[SubGrid]"/>
</p:tagLst>
</file>

<file path=ppt/tags/tag512.xml><?xml version="1.0" encoding="utf-8"?>
<p:tagLst xmlns:a="http://schemas.openxmlformats.org/drawingml/2006/main" xmlns:r="http://schemas.openxmlformats.org/officeDocument/2006/relationships" xmlns:p="http://schemas.openxmlformats.org/presentationml/2006/main">
  <p:tag name="[SUBGRID]" val="[SubGrid]"/>
</p:tagLst>
</file>

<file path=ppt/tags/tag513.xml><?xml version="1.0" encoding="utf-8"?>
<p:tagLst xmlns:a="http://schemas.openxmlformats.org/drawingml/2006/main" xmlns:r="http://schemas.openxmlformats.org/officeDocument/2006/relationships" xmlns:p="http://schemas.openxmlformats.org/presentationml/2006/main">
  <p:tag name="[SUBGRID]" val="[SubGrid]"/>
</p:tagLst>
</file>

<file path=ppt/tags/tag514.xml><?xml version="1.0" encoding="utf-8"?>
<p:tagLst xmlns:a="http://schemas.openxmlformats.org/drawingml/2006/main" xmlns:r="http://schemas.openxmlformats.org/officeDocument/2006/relationships" xmlns:p="http://schemas.openxmlformats.org/presentationml/2006/main">
  <p:tag name="[SUBGRID]" val="[SubGrid]"/>
</p:tagLst>
</file>

<file path=ppt/tags/tag515.xml><?xml version="1.0" encoding="utf-8"?>
<p:tagLst xmlns:a="http://schemas.openxmlformats.org/drawingml/2006/main" xmlns:r="http://schemas.openxmlformats.org/officeDocument/2006/relationships" xmlns:p="http://schemas.openxmlformats.org/presentationml/2006/main">
  <p:tag name="[SUBGRID]" val="[SubGrid]"/>
</p:tagLst>
</file>

<file path=ppt/tags/tag516.xml><?xml version="1.0" encoding="utf-8"?>
<p:tagLst xmlns:a="http://schemas.openxmlformats.org/drawingml/2006/main" xmlns:r="http://schemas.openxmlformats.org/officeDocument/2006/relationships" xmlns:p="http://schemas.openxmlformats.org/presentationml/2006/main">
  <p:tag name="[SUBGRID]" val="[SubGrid]"/>
</p:tagLst>
</file>

<file path=ppt/tags/tag517.xml><?xml version="1.0" encoding="utf-8"?>
<p:tagLst xmlns:a="http://schemas.openxmlformats.org/drawingml/2006/main" xmlns:r="http://schemas.openxmlformats.org/officeDocument/2006/relationships" xmlns:p="http://schemas.openxmlformats.org/presentationml/2006/main">
  <p:tag name="[SUBGRID]" val="[SubGrid]"/>
</p:tagLst>
</file>

<file path=ppt/tags/tag518.xml><?xml version="1.0" encoding="utf-8"?>
<p:tagLst xmlns:a="http://schemas.openxmlformats.org/drawingml/2006/main" xmlns:r="http://schemas.openxmlformats.org/officeDocument/2006/relationships" xmlns:p="http://schemas.openxmlformats.org/presentationml/2006/main">
  <p:tag name="[SUBGRID]" val="[SubGrid]"/>
</p:tagLst>
</file>

<file path=ppt/tags/tag519.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20.xml><?xml version="1.0" encoding="utf-8"?>
<p:tagLst xmlns:a="http://schemas.openxmlformats.org/drawingml/2006/main" xmlns:r="http://schemas.openxmlformats.org/officeDocument/2006/relationships" xmlns:p="http://schemas.openxmlformats.org/presentationml/2006/main">
  <p:tag name="[SUBGRID]" val="[SubGrid]"/>
</p:tagLst>
</file>

<file path=ppt/tags/tag521.xml><?xml version="1.0" encoding="utf-8"?>
<p:tagLst xmlns:a="http://schemas.openxmlformats.org/drawingml/2006/main" xmlns:r="http://schemas.openxmlformats.org/officeDocument/2006/relationships" xmlns:p="http://schemas.openxmlformats.org/presentationml/2006/main">
  <p:tag name="[SUBGRID]" val="[SubGrid]"/>
</p:tagLst>
</file>

<file path=ppt/tags/tag522.xml><?xml version="1.0" encoding="utf-8"?>
<p:tagLst xmlns:a="http://schemas.openxmlformats.org/drawingml/2006/main" xmlns:r="http://schemas.openxmlformats.org/officeDocument/2006/relationships" xmlns:p="http://schemas.openxmlformats.org/presentationml/2006/main">
  <p:tag name="[SUBGRID]" val="[SubGrid]"/>
</p:tagLst>
</file>

<file path=ppt/tags/tag523.xml><?xml version="1.0" encoding="utf-8"?>
<p:tagLst xmlns:a="http://schemas.openxmlformats.org/drawingml/2006/main" xmlns:r="http://schemas.openxmlformats.org/officeDocument/2006/relationships" xmlns:p="http://schemas.openxmlformats.org/presentationml/2006/main">
  <p:tag name="[SUBGRID]" val="[SubGrid]"/>
</p:tagLst>
</file>

<file path=ppt/tags/tag524.xml><?xml version="1.0" encoding="utf-8"?>
<p:tagLst xmlns:a="http://schemas.openxmlformats.org/drawingml/2006/main" xmlns:r="http://schemas.openxmlformats.org/officeDocument/2006/relationships" xmlns:p="http://schemas.openxmlformats.org/presentationml/2006/main">
  <p:tag name="[SUBGRID]" val="[SubGrid]"/>
</p:tagLst>
</file>

<file path=ppt/tags/tag525.xml><?xml version="1.0" encoding="utf-8"?>
<p:tagLst xmlns:a="http://schemas.openxmlformats.org/drawingml/2006/main" xmlns:r="http://schemas.openxmlformats.org/officeDocument/2006/relationships" xmlns:p="http://schemas.openxmlformats.org/presentationml/2006/main">
  <p:tag name="[SUBGRID]" val="[SubGrid]"/>
</p:tagLst>
</file>

<file path=ppt/tags/tag526.xml><?xml version="1.0" encoding="utf-8"?>
<p:tagLst xmlns:a="http://schemas.openxmlformats.org/drawingml/2006/main" xmlns:r="http://schemas.openxmlformats.org/officeDocument/2006/relationships" xmlns:p="http://schemas.openxmlformats.org/presentationml/2006/main">
  <p:tag name="[SUBGRID]" val="[SubGrid]"/>
</p:tagLst>
</file>

<file path=ppt/tags/tag527.xml><?xml version="1.0" encoding="utf-8"?>
<p:tagLst xmlns:a="http://schemas.openxmlformats.org/drawingml/2006/main" xmlns:r="http://schemas.openxmlformats.org/officeDocument/2006/relationships" xmlns:p="http://schemas.openxmlformats.org/presentationml/2006/main">
  <p:tag name="[SUBGRID]" val="[SubGrid]"/>
</p:tagLst>
</file>

<file path=ppt/tags/tag528.xml><?xml version="1.0" encoding="utf-8"?>
<p:tagLst xmlns:a="http://schemas.openxmlformats.org/drawingml/2006/main" xmlns:r="http://schemas.openxmlformats.org/officeDocument/2006/relationships" xmlns:p="http://schemas.openxmlformats.org/presentationml/2006/main">
  <p:tag name="[SUBGRID]" val="[SubGrid]"/>
</p:tagLst>
</file>

<file path=ppt/tags/tag529.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30.xml><?xml version="1.0" encoding="utf-8"?>
<p:tagLst xmlns:a="http://schemas.openxmlformats.org/drawingml/2006/main" xmlns:r="http://schemas.openxmlformats.org/officeDocument/2006/relationships" xmlns:p="http://schemas.openxmlformats.org/presentationml/2006/main">
  <p:tag name="[SUBGRID]" val="[SubGrid]"/>
</p:tagLst>
</file>

<file path=ppt/tags/tag531.xml><?xml version="1.0" encoding="utf-8"?>
<p:tagLst xmlns:a="http://schemas.openxmlformats.org/drawingml/2006/main" xmlns:r="http://schemas.openxmlformats.org/officeDocument/2006/relationships" xmlns:p="http://schemas.openxmlformats.org/presentationml/2006/main">
  <p:tag name="[SUBGRID]" val="[SubGrid]"/>
</p:tagLst>
</file>

<file path=ppt/tags/tag532.xml><?xml version="1.0" encoding="utf-8"?>
<p:tagLst xmlns:a="http://schemas.openxmlformats.org/drawingml/2006/main" xmlns:r="http://schemas.openxmlformats.org/officeDocument/2006/relationships" xmlns:p="http://schemas.openxmlformats.org/presentationml/2006/main">
  <p:tag name="[SUBGRID]" val="[SubGrid]"/>
</p:tagLst>
</file>

<file path=ppt/tags/tag533.xml><?xml version="1.0" encoding="utf-8"?>
<p:tagLst xmlns:a="http://schemas.openxmlformats.org/drawingml/2006/main" xmlns:r="http://schemas.openxmlformats.org/officeDocument/2006/relationships" xmlns:p="http://schemas.openxmlformats.org/presentationml/2006/main">
  <p:tag name="[SUBGRID]" val="[SubGrid]"/>
</p:tagLst>
</file>

<file path=ppt/tags/tag534.xml><?xml version="1.0" encoding="utf-8"?>
<p:tagLst xmlns:a="http://schemas.openxmlformats.org/drawingml/2006/main" xmlns:r="http://schemas.openxmlformats.org/officeDocument/2006/relationships" xmlns:p="http://schemas.openxmlformats.org/presentationml/2006/main">
  <p:tag name="[SUBGRID]" val="[SubGrid]"/>
</p:tagLst>
</file>

<file path=ppt/tags/tag535.xml><?xml version="1.0" encoding="utf-8"?>
<p:tagLst xmlns:a="http://schemas.openxmlformats.org/drawingml/2006/main" xmlns:r="http://schemas.openxmlformats.org/officeDocument/2006/relationships" xmlns:p="http://schemas.openxmlformats.org/presentationml/2006/main">
  <p:tag name="[SUBGRID]" val="[SubGrid]"/>
</p:tagLst>
</file>

<file path=ppt/tags/tag536.xml><?xml version="1.0" encoding="utf-8"?>
<p:tagLst xmlns:a="http://schemas.openxmlformats.org/drawingml/2006/main" xmlns:r="http://schemas.openxmlformats.org/officeDocument/2006/relationships" xmlns:p="http://schemas.openxmlformats.org/presentationml/2006/main">
  <p:tag name="[SUBGRID]" val="[SubGrid]"/>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SELECTED" val="YES"/>
</p:tagLst>
</file>

<file path=ppt/tags/tag539.xml><?xml version="1.0" encoding="utf-8"?>
<p:tagLst xmlns:a="http://schemas.openxmlformats.org/drawingml/2006/main" xmlns:r="http://schemas.openxmlformats.org/officeDocument/2006/relationships" xmlns:p="http://schemas.openxmlformats.org/presentationml/2006/main">
  <p:tag name="PS_COMPARE_SLIDE_ID" val="4bd8aa3e-a349-4299-b016-7da6bca813e8"/>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40.xml><?xml version="1.0" encoding="utf-8"?>
<p:tagLst xmlns:a="http://schemas.openxmlformats.org/drawingml/2006/main" xmlns:r="http://schemas.openxmlformats.org/officeDocument/2006/relationships" xmlns:p="http://schemas.openxmlformats.org/presentationml/2006/main">
  <p:tag name="PS_COMPARE_SHAPE_ID" val="54d5f9ab-58b2-42a9-a483-bf44b07ca74f"/>
</p:tagLst>
</file>

<file path=ppt/tags/tag541.xml><?xml version="1.0" encoding="utf-8"?>
<p:tagLst xmlns:a="http://schemas.openxmlformats.org/drawingml/2006/main" xmlns:r="http://schemas.openxmlformats.org/officeDocument/2006/relationships" xmlns:p="http://schemas.openxmlformats.org/presentationml/2006/main">
  <p:tag name="PS_COMPARE_SHAPE_ID" val="6aeacfad-a2a9-4f33-870a-4051aed9dcfa"/>
</p:tagLst>
</file>

<file path=ppt/tags/tag542.xml><?xml version="1.0" encoding="utf-8"?>
<p:tagLst xmlns:a="http://schemas.openxmlformats.org/drawingml/2006/main" xmlns:r="http://schemas.openxmlformats.org/officeDocument/2006/relationships" xmlns:p="http://schemas.openxmlformats.org/presentationml/2006/main">
  <p:tag name="PS_COMPARE_SHAPE_ID" val="38221d19-fe38-4f45-8679-a6409fe39fe4"/>
</p:tagLst>
</file>

<file path=ppt/tags/tag543.xml><?xml version="1.0" encoding="utf-8"?>
<p:tagLst xmlns:a="http://schemas.openxmlformats.org/drawingml/2006/main" xmlns:r="http://schemas.openxmlformats.org/officeDocument/2006/relationships" xmlns:p="http://schemas.openxmlformats.org/presentationml/2006/main">
  <p:tag name="PS_COMPARE_SHAPE_ID" val="4a3fab8b-ae08-4c72-89c9-3f61b5ec9ca7"/>
</p:tagLst>
</file>

<file path=ppt/tags/tag544.xml><?xml version="1.0" encoding="utf-8"?>
<p:tagLst xmlns:a="http://schemas.openxmlformats.org/drawingml/2006/main" xmlns:r="http://schemas.openxmlformats.org/officeDocument/2006/relationships" xmlns:p="http://schemas.openxmlformats.org/presentationml/2006/main">
  <p:tag name="PS_COMPARE_SHAPE_ID" val="31518226-9597-4893-98a5-f54727019bee"/>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SUBGRID]" val="[SubGrid]"/>
</p:tagLst>
</file>

<file path=ppt/tags/tag91.xml><?xml version="1.0" encoding="utf-8"?>
<p:tagLst xmlns:a="http://schemas.openxmlformats.org/drawingml/2006/main" xmlns:r="http://schemas.openxmlformats.org/officeDocument/2006/relationships" xmlns:p="http://schemas.openxmlformats.org/presentationml/2006/main">
  <p:tag name="[SUBGRID]" val="[SubGrid]"/>
</p:tagLst>
</file>

<file path=ppt/tags/tag92.xml><?xml version="1.0" encoding="utf-8"?>
<p:tagLst xmlns:a="http://schemas.openxmlformats.org/drawingml/2006/main" xmlns:r="http://schemas.openxmlformats.org/officeDocument/2006/relationships" xmlns:p="http://schemas.openxmlformats.org/presentationml/2006/main">
  <p:tag name="[SUBGRID]" val="[SubGrid]"/>
</p:tagLst>
</file>

<file path=ppt/tags/tag93.xml><?xml version="1.0" encoding="utf-8"?>
<p:tagLst xmlns:a="http://schemas.openxmlformats.org/drawingml/2006/main" xmlns:r="http://schemas.openxmlformats.org/officeDocument/2006/relationships" xmlns:p="http://schemas.openxmlformats.org/presentationml/2006/main">
  <p:tag name="[SUBGRID]" val="[SubGrid]"/>
</p:tagLst>
</file>

<file path=ppt/tags/tag94.xml><?xml version="1.0" encoding="utf-8"?>
<p:tagLst xmlns:a="http://schemas.openxmlformats.org/drawingml/2006/main" xmlns:r="http://schemas.openxmlformats.org/officeDocument/2006/relationships" xmlns:p="http://schemas.openxmlformats.org/presentationml/2006/main">
  <p:tag name="[SUBGRID]" val="[SubGrid]"/>
</p:tagLst>
</file>

<file path=ppt/tags/tag95.xml><?xml version="1.0" encoding="utf-8"?>
<p:tagLst xmlns:a="http://schemas.openxmlformats.org/drawingml/2006/main" xmlns:r="http://schemas.openxmlformats.org/officeDocument/2006/relationships" xmlns:p="http://schemas.openxmlformats.org/presentationml/2006/main">
  <p:tag name="[SUBGRID]" val="[SubGrid]"/>
</p:tagLst>
</file>

<file path=ppt/tags/tag96.xml><?xml version="1.0" encoding="utf-8"?>
<p:tagLst xmlns:a="http://schemas.openxmlformats.org/drawingml/2006/main" xmlns:r="http://schemas.openxmlformats.org/officeDocument/2006/relationships" xmlns:p="http://schemas.openxmlformats.org/presentationml/2006/main">
  <p:tag name="[SUBGRID]" val="[SubGrid]"/>
</p:tagLst>
</file>

<file path=ppt/tags/tag97.xml><?xml version="1.0" encoding="utf-8"?>
<p:tagLst xmlns:a="http://schemas.openxmlformats.org/drawingml/2006/main" xmlns:r="http://schemas.openxmlformats.org/officeDocument/2006/relationships" xmlns:p="http://schemas.openxmlformats.org/presentationml/2006/main">
  <p:tag name="[SUBGRID]" val="[SubGrid]"/>
</p:tagLst>
</file>

<file path=ppt/tags/tag98.xml><?xml version="1.0" encoding="utf-8"?>
<p:tagLst xmlns:a="http://schemas.openxmlformats.org/drawingml/2006/main" xmlns:r="http://schemas.openxmlformats.org/officeDocument/2006/relationships" xmlns:p="http://schemas.openxmlformats.org/presentationml/2006/main">
  <p:tag name="[SUBGRID]" val="[SubGrid]"/>
</p:tagLst>
</file>

<file path=ppt/tags/tag99.xml><?xml version="1.0" encoding="utf-8"?>
<p:tagLst xmlns:a="http://schemas.openxmlformats.org/drawingml/2006/main" xmlns:r="http://schemas.openxmlformats.org/officeDocument/2006/relationships" xmlns:p="http://schemas.openxmlformats.org/presentationml/2006/main">
  <p:tag name="[SUBGRID]" val="[SubGrid]"/>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95000" t="-106500" r="5000" b="2065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2020 Novo Nordisk widescreen">
  <a:themeElements>
    <a:clrScheme name="NN 2020 Rebrand">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for Office">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3.xml><?xml version="1.0" encoding="utf-8"?>
<a:theme xmlns:a="http://schemas.openxmlformats.org/drawingml/2006/main" name="2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Novo Nordisk">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E74F5A70-44BF-4AEF-9F91-978B11132E07}" vid="{565FA72A-7CC8-47B7-A269-0957194D19A6}"/>
    </a:ext>
  </a:extLst>
</a:theme>
</file>

<file path=ppt/theme/theme4.xml><?xml version="1.0" encoding="utf-8"?>
<a:theme xmlns:a="http://schemas.openxmlformats.org/drawingml/2006/main" name="1_2020 Novo Nordisk widescreen">
  <a:themeElements>
    <a:clrScheme name="NN 2020 Rebrand">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for Office">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5.xml><?xml version="1.0" encoding="utf-8"?>
<a:theme xmlns:a="http://schemas.openxmlformats.org/drawingml/2006/main" name="4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Novo Nordisk">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Novo Nordisk template 2023.pptx" id="{A4B325A4-D7E1-4A28-875F-ABE97A165AA8}" vid="{65125BF6-BC4A-4759-A16E-02C6E997CB83}"/>
    </a:ext>
  </a:extLst>
</a:theme>
</file>

<file path=ppt/theme/theme6.xml><?xml version="1.0" encoding="utf-8"?>
<a:theme xmlns:a="http://schemas.openxmlformats.org/drawingml/2006/main" name="6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Novo Nordisk">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E74F5A70-44BF-4AEF-9F91-978B11132E07}" vid="{565FA72A-7CC8-47B7-A269-0957194D19A6}"/>
    </a:ext>
  </a:extLst>
</a:theme>
</file>

<file path=ppt/theme/theme7.xml><?xml version="1.0" encoding="utf-8"?>
<a:theme xmlns:a="http://schemas.openxmlformats.org/drawingml/2006/main" name="7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19F1F4CC-E50E-4E34-8EB9-E9E372C62EB9}" vid="{18D152BD-36C0-43FC-891C-4E416CFD594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SlideFormConfiguration><![CDATA[{"formFields":[],"formDataEntries":[]}]]></TemplafySlideFormConfiguration>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547540c9-414c-4743-b21b-0b4c003749ea">
      <Terms xmlns="http://schemas.microsoft.com/office/infopath/2007/PartnerControls"/>
    </lcf76f155ced4ddcb4097134ff3c332f>
    <TaxCatchAll xmlns="6f4094ed-625f-4e1e-a45f-6f602885dc8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352323191115078","enableDocumentContentUpdater":true,"version":"1.1"}]]></TemplafySlideTemplateConfiguration>
</file>

<file path=customXml/item6.xml><?xml version="1.0" encoding="utf-8"?>
<TemplafySlideTemplateConfiguration><![CDATA[{"slideVersion":1,"isValidatorEnabled":false,"isLocked":false,"elementsMetadata":[],"slideId":"1270266909700915200","enableDocumentContentUpdater":false,"version":"2.0"}]]></TemplafySlideTemplateConfiguration>
</file>

<file path=customXml/item7.xml><?xml version="1.0" encoding="utf-8"?>
<ct:contentTypeSchema xmlns:ct="http://schemas.microsoft.com/office/2006/metadata/contentType" xmlns:ma="http://schemas.microsoft.com/office/2006/metadata/properties/metaAttributes" ct:_="" ma:_="" ma:contentTypeName="Document" ma:contentTypeID="0x01010092D51E5A9766E047BE16E03B2CD1A708" ma:contentTypeVersion="18" ma:contentTypeDescription="Create a new document." ma:contentTypeScope="" ma:versionID="69fa9dd1c105a77ac7e7b5f349d1778a">
  <xsd:schema xmlns:xsd="http://www.w3.org/2001/XMLSchema" xmlns:xs="http://www.w3.org/2001/XMLSchema" xmlns:p="http://schemas.microsoft.com/office/2006/metadata/properties" xmlns:ns1="http://schemas.microsoft.com/sharepoint/v3" xmlns:ns2="547540c9-414c-4743-b21b-0b4c003749ea" xmlns:ns3="6f4094ed-625f-4e1e-a45f-6f602885dc85" targetNamespace="http://schemas.microsoft.com/office/2006/metadata/properties" ma:root="true" ma:fieldsID="d3ac03252f11b0e42e3cf410a4dbbb0d" ns1:_="" ns2:_="" ns3:_="">
    <xsd:import namespace="http://schemas.microsoft.com/sharepoint/v3"/>
    <xsd:import namespace="547540c9-414c-4743-b21b-0b4c003749ea"/>
    <xsd:import namespace="6f4094ed-625f-4e1e-a45f-6f602885dc8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LengthInSeconds" minOccurs="0"/>
                <xsd:element ref="ns1:_ip_UnifiedCompliancePolicyProperties" minOccurs="0"/>
                <xsd:element ref="ns1:_ip_UnifiedCompliancePolicyUIAction"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7540c9-414c-4743-b21b-0b4c003749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a09db7ae-f210-430f-9df8-1b54465afd48"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4" nillable="true" ma:displayName="Location" ma:indexed="true" ma:internalName="MediaServiceLocation" ma:readOnly="true">
      <xsd:simpleType>
        <xsd:restriction base="dms:Text"/>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f4094ed-625f-4e1e-a45f-6f602885dc8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f4e65b8e-86b1-496d-aed1-32292ac71869}" ma:internalName="TaxCatchAll" ma:showField="CatchAllData" ma:web="6f4094ed-625f-4e1e-a45f-6f602885dc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3D72517-3209-4553-A63C-44A456ABBE6F}">
  <ds:schemaRefs/>
</ds:datastoreItem>
</file>

<file path=customXml/itemProps2.xml><?xml version="1.0" encoding="utf-8"?>
<ds:datastoreItem xmlns:ds="http://schemas.openxmlformats.org/officeDocument/2006/customXml" ds:itemID="{C55F7A4E-EAE7-4DCC-87F2-EE8488845164}">
  <ds:schemaRefs>
    <ds:schemaRef ds:uri="http://purl.org/dc/elements/1.1/"/>
    <ds:schemaRef ds:uri="547540c9-414c-4743-b21b-0b4c003749ea"/>
    <ds:schemaRef ds:uri="http://schemas.microsoft.com/sharepoint/v3"/>
    <ds:schemaRef ds:uri="6f4094ed-625f-4e1e-a45f-6f602885dc85"/>
    <ds:schemaRef ds:uri="http://purl.org/dc/dcmitype/"/>
    <ds:schemaRef ds:uri="http://purl.org/dc/terms/"/>
    <ds:schemaRef ds:uri="http://www.w3.org/XML/1998/namespace"/>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s>
</ds:datastoreItem>
</file>

<file path=customXml/itemProps3.xml><?xml version="1.0" encoding="utf-8"?>
<ds:datastoreItem xmlns:ds="http://schemas.openxmlformats.org/officeDocument/2006/customXml" ds:itemID="{792D1249-4A28-4B92-9CBA-D9F6844BBEEA}">
  <ds:schemaRefs>
    <ds:schemaRef ds:uri="http://schemas.microsoft.com/sharepoint/v3/contenttype/forms"/>
  </ds:schemaRefs>
</ds:datastoreItem>
</file>

<file path=customXml/itemProps4.xml><?xml version="1.0" encoding="utf-8"?>
<ds:datastoreItem xmlns:ds="http://schemas.openxmlformats.org/officeDocument/2006/customXml" ds:itemID="{D944D454-8635-45BD-B66B-DCDD1600C1DF}">
  <ds:schemaRefs/>
</ds:datastoreItem>
</file>

<file path=customXml/itemProps5.xml><?xml version="1.0" encoding="utf-8"?>
<ds:datastoreItem xmlns:ds="http://schemas.openxmlformats.org/officeDocument/2006/customXml" ds:itemID="{17A503A0-FB70-402E-A8D9-5BB3166FFCEA}">
  <ds:schemaRefs/>
</ds:datastoreItem>
</file>

<file path=customXml/itemProps6.xml><?xml version="1.0" encoding="utf-8"?>
<ds:datastoreItem xmlns:ds="http://schemas.openxmlformats.org/officeDocument/2006/customXml" ds:itemID="{BC5D588A-D24B-4654-8E58-8A9F18A934FF}">
  <ds:schemaRefs/>
</ds:datastoreItem>
</file>

<file path=customXml/itemProps7.xml><?xml version="1.0" encoding="utf-8"?>
<ds:datastoreItem xmlns:ds="http://schemas.openxmlformats.org/officeDocument/2006/customXml" ds:itemID="{E64C4B1E-8592-4777-B287-A684A87165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47540c9-414c-4743-b21b-0b4c003749ea"/>
    <ds:schemaRef ds:uri="6f4094ed-625f-4e1e-a45f-6f602885dc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Concourse</Template>
  <TotalTime>539</TotalTime>
  <Words>9775</Words>
  <Application>Microsoft Office PowerPoint</Application>
  <PresentationFormat>Widescreen</PresentationFormat>
  <Paragraphs>1105</Paragraphs>
  <Slides>58</Slides>
  <Notes>30</Notes>
  <HiddenSlides>0</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58</vt:i4>
      </vt:variant>
    </vt:vector>
  </HeadingPairs>
  <TitlesOfParts>
    <vt:vector size="83" baseType="lpstr">
      <vt:lpstr>__Inter_aaf875</vt:lpstr>
      <vt:lpstr>Apis</vt:lpstr>
      <vt:lpstr>BlinkMacSystemFont</vt:lpstr>
      <vt:lpstr>Google Sans</vt:lpstr>
      <vt:lpstr>ui-sans-serif</vt:lpstr>
      <vt:lpstr>Aldhabi</vt:lpstr>
      <vt:lpstr>Apis For Office</vt:lpstr>
      <vt:lpstr>Apis For Office Light</vt:lpstr>
      <vt:lpstr>Aptos</vt:lpstr>
      <vt:lpstr>Arial</vt:lpstr>
      <vt:lpstr>Calibri</vt:lpstr>
      <vt:lpstr>Cambria</vt:lpstr>
      <vt:lpstr>Lucida Sans Unicode</vt:lpstr>
      <vt:lpstr>Verdana</vt:lpstr>
      <vt:lpstr>Wingdings</vt:lpstr>
      <vt:lpstr>Wingdings 2</vt:lpstr>
      <vt:lpstr>Wingdings 3</vt:lpstr>
      <vt:lpstr>Concourse</vt:lpstr>
      <vt:lpstr>2020 Novo Nordisk widescreen</vt:lpstr>
      <vt:lpstr>2_Novo Nordisk 16:9</vt:lpstr>
      <vt:lpstr>1_2020 Novo Nordisk widescreen</vt:lpstr>
      <vt:lpstr>4_Novo Nordisk 16:9</vt:lpstr>
      <vt:lpstr>6_Novo Nordisk 16:9</vt:lpstr>
      <vt:lpstr>7_Novo Nordisk 16:9</vt:lpstr>
      <vt:lpstr>think-cell Slide</vt:lpstr>
      <vt:lpstr>PowerPoint Presentation</vt:lpstr>
      <vt:lpstr>Novo Nordisk Disclaimer and Disclosure</vt:lpstr>
      <vt:lpstr>OBESITY PARADIGM</vt:lpstr>
      <vt:lpstr>DEFINITION   OBESITY IS DEFINED AS A CHRONIC, RELAPSING, PROGRESSIVE DISEASE STATE1</vt:lpstr>
      <vt:lpstr>Obesity is recognised as a disease and a health issue</vt:lpstr>
      <vt:lpstr>Prevalence of obesity</vt:lpstr>
      <vt:lpstr>AETIOLOGY OF OBESITY</vt:lpstr>
      <vt:lpstr>Hard truth: BMI – mortality link </vt:lpstr>
      <vt:lpstr>Obesity is associated with multiple comorbidities and complications Metabolic, mechanical and mental </vt:lpstr>
      <vt:lpstr>PowerPoint Presentation</vt:lpstr>
      <vt:lpstr>Obesity remains underdiagnosed and undertreated</vt:lpstr>
      <vt:lpstr>PATIENT CHALLENGES </vt:lpstr>
      <vt:lpstr>How successful are lifestyle interventions in chronic  weight management?</vt:lpstr>
      <vt:lpstr>PowerPoint Presentation</vt:lpstr>
      <vt:lpstr>OBESITY MANAGEMENT </vt:lpstr>
      <vt:lpstr>WEIGH LESS WEIGHTLOSS TIPS 19851</vt:lpstr>
      <vt:lpstr>The effect of weight loss on complications </vt:lpstr>
      <vt:lpstr>PowerPoint Presentation</vt:lpstr>
      <vt:lpstr>Semaglutide mechanism of action Appetite and weight regulation </vt:lpstr>
      <vt:lpstr>The cardiometabolic effects of GLP-1RAs GLP-1RAs have a multitude of pharmacological effects and CV benefits</vt:lpstr>
      <vt:lpstr>Weight loss across STEP 1-4 Semaglutide Treatment Effect in People with Obesity Semaglutide 2.4 mg once-weekly in subjects with overweight or obesity</vt:lpstr>
      <vt:lpstr>Categorical body weight loss STEP 1</vt:lpstr>
      <vt:lpstr>STEP 1 extension: Treatment approach of obesity as chronic disease PwO require ongoing treatment in order to sustain weight loss and other health benefits</vt:lpstr>
      <vt:lpstr>Body weight change (week 0–68) STEP 4</vt:lpstr>
      <vt:lpstr>Body weight change (week 20–68) STEP 4</vt:lpstr>
      <vt:lpstr>Categorical body weight loss (week 0–68) STEP 4</vt:lpstr>
      <vt:lpstr>Waist circumference STEP 4 </vt:lpstr>
      <vt:lpstr>Overweight or obesity increases the risk of CV events even in the absence of other metabolic abnormalities  Body size, metabolic status and CVD events in 3.5 million UK adults* </vt:lpstr>
      <vt:lpstr>Weight loss improves CV risk factors </vt:lpstr>
      <vt:lpstr>Primary objective SELECT</vt:lpstr>
      <vt:lpstr>Cumulative incidence of MACE SELECT: Primary cardiovascular composite endpoint</vt:lpstr>
      <vt:lpstr>SEMALEAN study</vt:lpstr>
      <vt:lpstr>Trial design SEMALEAN: prospective, longitudinal, real-world cohort </vt:lpstr>
      <vt:lpstr>Baseline characteristics of trial participants  N=106</vt:lpstr>
      <vt:lpstr>Muscle Function Hand grip and Sarcopenia</vt:lpstr>
      <vt:lpstr>Results Body Weight </vt:lpstr>
      <vt:lpstr>Results  Change in Body Composition (DXA) and Hand grip Strenght</vt:lpstr>
      <vt:lpstr>Results  Change in resting energy expenditure (REE)</vt:lpstr>
      <vt:lpstr>Results  Change in Sarcopenia</vt:lpstr>
      <vt:lpstr>Conclusion</vt:lpstr>
      <vt:lpstr>PowerPoint Presentation</vt:lpstr>
      <vt:lpstr>Comparative Summary Table  (GLP-1 VS Caloric Restriction)</vt:lpstr>
      <vt:lpstr>CASE STUDY</vt:lpstr>
      <vt:lpstr>PowerPoint Presentation</vt:lpstr>
      <vt:lpstr>WEIGHTLOSS HXN</vt:lpstr>
      <vt:lpstr>RELEVANT DETAILS IN HISTORY</vt:lpstr>
      <vt:lpstr>DIETARY</vt:lpstr>
      <vt:lpstr>O/E CENTRAL ADIPOSITY</vt:lpstr>
      <vt:lpstr>BLOOD RESULTS</vt:lpstr>
      <vt:lpstr>TREATMENT PLAN</vt:lpstr>
      <vt:lpstr>EXERCISE </vt:lpstr>
      <vt:lpstr>FOLLOW UP</vt:lpstr>
      <vt:lpstr> TWO MONTHS FOLLOW UP</vt:lpstr>
      <vt:lpstr>FOLLOW UP (3 MONTHS LATER)</vt:lpstr>
      <vt:lpstr>FOLLOW UP</vt:lpstr>
      <vt:lpstr>BODY COMPOSITION ANALYSI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dc:title>
  <dc:creator>User</dc:creator>
  <cp:lastModifiedBy>SWGV (Shaldon Govender)</cp:lastModifiedBy>
  <cp:revision>37</cp:revision>
  <dcterms:created xsi:type="dcterms:W3CDTF">2026-04-13T07:21:21Z</dcterms:created>
  <dcterms:modified xsi:type="dcterms:W3CDTF">2026-04-17T09:1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D51E5A9766E047BE16E03B2CD1A708</vt:lpwstr>
  </property>
  <property fmtid="{D5CDD505-2E9C-101B-9397-08002B2CF9AE}" pid="3" name="MediaServiceImageTags">
    <vt:lpwstr/>
  </property>
</Properties>
</file>